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notesSlides/notesSlide7.xml" ContentType="application/vnd.openxmlformats-officedocument.presentationml.notesSlide+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156"/>
  </p:notesMasterIdLst>
  <p:handoutMasterIdLst>
    <p:handoutMasterId r:id="rId157"/>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 id="370" r:id="rId23"/>
    <p:sldId id="371" r:id="rId24"/>
    <p:sldId id="372" r:id="rId25"/>
    <p:sldId id="571" r:id="rId26"/>
    <p:sldId id="373" r:id="rId27"/>
    <p:sldId id="375" r:id="rId28"/>
    <p:sldId id="382" r:id="rId29"/>
    <p:sldId id="383" r:id="rId30"/>
    <p:sldId id="384" r:id="rId31"/>
    <p:sldId id="385" r:id="rId32"/>
    <p:sldId id="388" r:id="rId33"/>
    <p:sldId id="389" r:id="rId34"/>
    <p:sldId id="390" r:id="rId35"/>
    <p:sldId id="391" r:id="rId36"/>
    <p:sldId id="421" r:id="rId37"/>
    <p:sldId id="395" r:id="rId38"/>
    <p:sldId id="392" r:id="rId39"/>
    <p:sldId id="393" r:id="rId40"/>
    <p:sldId id="394" r:id="rId41"/>
    <p:sldId id="396" r:id="rId42"/>
    <p:sldId id="397" r:id="rId43"/>
    <p:sldId id="398" r:id="rId44"/>
    <p:sldId id="399" r:id="rId45"/>
    <p:sldId id="400" r:id="rId46"/>
    <p:sldId id="401" r:id="rId47"/>
    <p:sldId id="402" r:id="rId48"/>
    <p:sldId id="403" r:id="rId49"/>
    <p:sldId id="404" r:id="rId50"/>
    <p:sldId id="405" r:id="rId51"/>
    <p:sldId id="406" r:id="rId52"/>
    <p:sldId id="407" r:id="rId53"/>
    <p:sldId id="408" r:id="rId54"/>
    <p:sldId id="409" r:id="rId55"/>
    <p:sldId id="411" r:id="rId56"/>
    <p:sldId id="412" r:id="rId57"/>
    <p:sldId id="413" r:id="rId58"/>
    <p:sldId id="410" r:id="rId59"/>
    <p:sldId id="414" r:id="rId60"/>
    <p:sldId id="415" r:id="rId61"/>
    <p:sldId id="416" r:id="rId62"/>
    <p:sldId id="417" r:id="rId63"/>
    <p:sldId id="418" r:id="rId64"/>
    <p:sldId id="419" r:id="rId65"/>
    <p:sldId id="420"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8" r:id="rId82"/>
    <p:sldId id="439" r:id="rId83"/>
    <p:sldId id="440" r:id="rId84"/>
    <p:sldId id="441" r:id="rId85"/>
    <p:sldId id="442" r:id="rId86"/>
    <p:sldId id="443" r:id="rId87"/>
    <p:sldId id="444" r:id="rId88"/>
    <p:sldId id="445" r:id="rId89"/>
    <p:sldId id="446" r:id="rId90"/>
    <p:sldId id="447" r:id="rId91"/>
    <p:sldId id="448" r:id="rId92"/>
    <p:sldId id="449" r:id="rId93"/>
    <p:sldId id="450" r:id="rId94"/>
    <p:sldId id="451" r:id="rId95"/>
    <p:sldId id="452" r:id="rId96"/>
    <p:sldId id="453" r:id="rId97"/>
    <p:sldId id="454" r:id="rId98"/>
    <p:sldId id="455" r:id="rId99"/>
    <p:sldId id="456" r:id="rId100"/>
    <p:sldId id="459" r:id="rId101"/>
    <p:sldId id="460" r:id="rId102"/>
    <p:sldId id="458" r:id="rId103"/>
    <p:sldId id="572" r:id="rId104"/>
    <p:sldId id="573" r:id="rId105"/>
    <p:sldId id="457" r:id="rId106"/>
    <p:sldId id="462" r:id="rId107"/>
    <p:sldId id="463" r:id="rId108"/>
    <p:sldId id="464" r:id="rId109"/>
    <p:sldId id="465" r:id="rId110"/>
    <p:sldId id="466" r:id="rId111"/>
    <p:sldId id="467" r:id="rId112"/>
    <p:sldId id="468" r:id="rId113"/>
    <p:sldId id="469" r:id="rId114"/>
    <p:sldId id="470" r:id="rId115"/>
    <p:sldId id="471" r:id="rId116"/>
    <p:sldId id="473" r:id="rId117"/>
    <p:sldId id="474" r:id="rId118"/>
    <p:sldId id="475" r:id="rId119"/>
    <p:sldId id="476" r:id="rId120"/>
    <p:sldId id="477" r:id="rId121"/>
    <p:sldId id="478" r:id="rId122"/>
    <p:sldId id="479" r:id="rId123"/>
    <p:sldId id="574" r:id="rId124"/>
    <p:sldId id="575" r:id="rId125"/>
    <p:sldId id="576" r:id="rId126"/>
    <p:sldId id="578" r:id="rId127"/>
    <p:sldId id="579" r:id="rId128"/>
    <p:sldId id="580" r:id="rId129"/>
    <p:sldId id="480" r:id="rId130"/>
    <p:sldId id="481" r:id="rId131"/>
    <p:sldId id="482" r:id="rId132"/>
    <p:sldId id="483" r:id="rId133"/>
    <p:sldId id="484" r:id="rId134"/>
    <p:sldId id="485" r:id="rId135"/>
    <p:sldId id="486" r:id="rId136"/>
    <p:sldId id="487" r:id="rId137"/>
    <p:sldId id="488" r:id="rId138"/>
    <p:sldId id="489" r:id="rId139"/>
    <p:sldId id="490" r:id="rId140"/>
    <p:sldId id="491" r:id="rId141"/>
    <p:sldId id="492" r:id="rId142"/>
    <p:sldId id="493" r:id="rId143"/>
    <p:sldId id="494" r:id="rId144"/>
    <p:sldId id="495" r:id="rId145"/>
    <p:sldId id="496" r:id="rId146"/>
    <p:sldId id="497" r:id="rId147"/>
    <p:sldId id="498" r:id="rId148"/>
    <p:sldId id="499" r:id="rId149"/>
    <p:sldId id="500" r:id="rId150"/>
    <p:sldId id="501" r:id="rId151"/>
    <p:sldId id="502" r:id="rId152"/>
    <p:sldId id="503" r:id="rId153"/>
    <p:sldId id="504" r:id="rId154"/>
    <p:sldId id="507" r:id="rId155"/>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6"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53" autoAdjust="0"/>
    <p:restoredTop sz="94434" autoAdjust="0"/>
  </p:normalViewPr>
  <p:slideViewPr>
    <p:cSldViewPr snapToGrid="0">
      <p:cViewPr varScale="1">
        <p:scale>
          <a:sx n="137" d="100"/>
          <a:sy n="137" d="100"/>
        </p:scale>
        <p:origin x="912" y="96"/>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100" d="100"/>
        <a:sy n="100" d="100"/>
      </p:scale>
      <p:origin x="0" y="-33516"/>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presProps" Target="presProp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viewProps" Target="viewProp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notesMaster" Target="notesMasters/notesMaster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handoutMaster" Target="handoutMasters/handoutMaster1.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2/12/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0.933"/>
    </inkml:context>
    <inkml:brush xml:id="br0">
      <inkml:brushProperty name="width" value="0.025" units="cm"/>
      <inkml:brushProperty name="height" value="0.025" units="cm"/>
      <inkml:brushProperty name="ignorePressure" value="1"/>
    </inkml:brush>
  </inkml:definitions>
  <inkml:trace contextRef="#ctx0" brushRef="#br0">37 1,'0'3,"0"5,0 4,0 3,-3 3,-1 1,0 0,1 2,0-1,2 0,-3 0,-1 0,1-1,0 1,2-4</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1.573"/>
    </inkml:context>
    <inkml:brush xml:id="br0">
      <inkml:brushProperty name="width" value="0.025" units="cm"/>
      <inkml:brushProperty name="height" value="0.025" units="cm"/>
      <inkml:brushProperty name="ignorePressure" value="1"/>
    </inkml:brush>
  </inkml:definitions>
  <inkml:trace contextRef="#ctx0" brushRef="#br0">41 1,'-4'3,"0"5,0 4,0 3,2 3,-3 1,0 1,0 0,2 1,0-1,2-4</inkml:trace>
</inkml:ink>
</file>

<file path=ppt/ink/ink1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34:56.579"/>
    </inkml:context>
    <inkml:brush xml:id="br0">
      <inkml:brushProperty name="width" value="0.05292" units="cm"/>
      <inkml:brushProperty name="height" value="0.05292" units="cm"/>
      <inkml:brushProperty name="color" value="#0070C0"/>
    </inkml:brush>
  </inkml:definitions>
  <inkml:trace contextRef="#ctx0" brushRef="#br0">13705 1323 0,'80'-13'0,"-41"13"0,-12 0 15,13 0-15,13-14 0,-14 14 0,1 0 0,13 0 16,0-13-16,39 13 0,-39 0 16,-13 0-16,0 0 0,26 0 15,-40 0-15,-13 0 0,14 0 16,-14 0-16</inkml:trace>
  <inkml:trace contextRef="#ctx0" brushRef="#br0" timeOffset="223.01">13705 1495 0,'159'-13'16,"-106"13"0,0 0-16,0 0 0,0-14 0,0 14 15,13 0-15,40 0 0,-14 0 16,-39 0-16,-13 0 16,0 0-16,13-13 0</inkml:trace>
  <inkml:trace contextRef="#ctx0" brushRef="#br0" timeOffset="8449.82">11708 3678 0,'26'0'78,"27"0"-63,27 0-15,52 0 0,0 0 16,67 0 0,-14 0-16,66 0 0,172 0 15,14 0-15,105 0 16,-184 0 0,65 0-16,-53 0 15,-12 0-15,-67 0 16,-119 0-16,26 0 15,-66 0 1,-39 0-16,13 0 0,-67 0 16,-25 0-16,-1 0 15</inkml:trace>
</inkml:ink>
</file>

<file path=ppt/ink/ink10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35:18.182"/>
    </inkml:context>
    <inkml:brush xml:id="br0">
      <inkml:brushProperty name="width" value="0.05292" units="cm"/>
      <inkml:brushProperty name="height" value="0.05292" units="cm"/>
      <inkml:brushProperty name="color" value="#0070C0"/>
    </inkml:brush>
  </inkml:definitions>
  <inkml:trace contextRef="#ctx0" brushRef="#br0">1495 1204 0,'26'0'47,"27"0"-32,53 0-15,13 0 16,40 0-16,13 0 16,0 0-1,13 0-15,-53 0 0,14 0 16,-1 0-16,27 0 16,-158 0-1,12 0-15</inkml:trace>
  <inkml:trace contextRef="#ctx0" brushRef="#br0" timeOffset="981.99">5940 1376 0,'53'0'63,"158"26"-48,-65-26-15,26 0 16,0 0-16,53 0 16,185 0-1,-172 0-15,-26 0 16,-14 0-16,-66 0 16,-39 0-16,-40 0 15,-40 0 1</inkml:trace>
  <inkml:trace contextRef="#ctx0" brushRef="#br0" timeOffset="3915.1">4180 10134 0,'-13'26'0,"0"0"0,13-12 15,-13 12-15,0 1 0,-1 12 16,-12 54-16,13-27 0,-1-13 16,1 13-16,0 0 0,-14 14 0,14-1 15,-13 14-15,-1-1 0,-26 107 16,27-107-16,-14 14 0,14 0 15,-1 0-15,1-14 0,-1 1 16,1 0-16,-1-1 0,-12 1 0,12-1 0,1-12 16,-1-1-16,1-13 0,-1 0 15,1 1-15,0-1 0,-1 0 16,14-13-16,-14 0 0,14 0 0,0-14 0,0-12 16,0-1-16,-1 14 15,1-27-15,0-13 16,0-13-1,13 0-15</inkml:trace>
  <inkml:trace contextRef="#ctx0" brushRef="#br0" timeOffset="4480.14">3109 12277 0,'79'13'16,"-26"0"-16,185 14 15,-158-27-15,12 13 0,1-13 16,13 13-16,13 0 0,13-13 0,14 13 16,-14 1-16,13-1 0,1 0 15,-1 0-15,1 1 0,158-1 16,-145 0-16,0 0 0,-1 1 16,1-1-16,0-13 0,-14 13 0,14 0 15,132 14-15,-132-14 16,-13 0-16,-14 0 0,0 1 0,-13-1 15,0 13-15,-26-12 0,-1-14 0,-12 13 16,-1 0-16,1 0 0,25 14 16,-65-27-16,-13 13 0,-1-13 15,-13 0-15,0 0 0,-13 13 16,14-13-16</inkml:trace>
  <inkml:trace contextRef="#ctx0" brushRef="#br0" timeOffset="6998.09">3717 12316 0,'14'14'0,"12"-14"0,-13 0 0,1 0 15,-1 0-15,0 0 0,0 0 16,14 0-16,-14 0 0,13 0 16,-12 0-16,12 0 0,1 0 0,-1-14 15,0 14-15,1-13 0,13 13 16,-1-13-16,1 13 0,0-13 0,-14-1 16,14 14-16,-1-13 0,1 0 15,0 0-15,0 13 0,26-27 16,-40 27-16,1-13 0,-1 13 15,1-13-15,-1 0 0,-13 13 16,14-14-16,-1 14 0,1-13 0,-1 0 16,-13 13-16,14-13 0,-14-1 0,0 14 15,14-13-15,-14 13 0,0-13 16,0 0-16,1 13 0,12-13 0,-13-1 16,0 14-16,1-13 0,-1 0 0,0 0 15,14-1 1,-1-12-16,-13 13 0,1-1 0,12 1 15,-13 0-15,14-13 16,-14 12-16,0 1 16,27-27-16,-14 14 15,-12 13-15,12 0 0,-13-1 0,0 1 16,40-40-16,-39 40 16,12 0-16,-13-1 0,1 1 0,-1 0 15,0-13-15,0 12 16,14 1-16,-14 0 0,13-14 0,-12 1 15,-1 13-15,13-14 0,-13 14 16,1 0-16,-14 0 0,13-1 16,0 1-16,-13 0 0,13 0 15,1-1-15,-14 1 0,13 0 16,-13 0-16,0-1 0,13 1 16,0 0-16,-13 0 0,14-14 15,-1 14-15,-13 0 16,26-14-16,-13 1 15,1 13-15,-1-14 16,-13 14-16,13 0 16,0 0-16,-13-1 0,0 1 15,27-13 1,-14 12-16,0 1 0,14-13 16,-14 13-1,13-1-15,-12 1 16,-1 0-16,0 0 15,14-1-15,-1 1 0,-13 13 16,14-13-16,-14 13 16,0 0-16,0-13 0,14 13 15,-14 0-15,14-14 16,25 14-16,-38 0 16,25 0-16,-12 14 0,13-14 15,-27 0-15,13 13 0,-13-13 16,1 0-16,12 0 0,1 13 15,-14 0-15,13-13 16,-12 14-16,-1-14 0,0 13 16,0 0-16,0 0 15,-13 1-15,14-14 16,-14 13-16,13-13 0,-13 13 0,13 0 16,-13 0-16,0 1 15,13-14-15,-13 26 16,14 1-16,-14-14 15,13 0-15,-13 0 16,13 0-16,-13 14 0,13-1 16,1-12-16,-14-1 15,0 0-15,13 14 16,-13-1 0,13 0-16,-13-12 15,0-1-15,13 0 0,-13 0 0,0 1 16,13 12-1,-13-13-15,0 14 0,0-1 16,14 1-16,-1-14 16,-13 0-16,0 14 15,13-14-15,-13 0 16,13 14-16,-13-14 16,14 0-16,-14 0 0,13 14 15,-13-14-15,13 13 16,-13-12-16,13 25 15,0-12-15,-13-14 16,14 27 0,-1-27-16,13 27 15,1-1-15,-14-12 16,0-14-16,14 27 16,-1-1-1,-13-12-15,1-14 16,-1 0-16,0 14 15,-13-14-15,13-13 0,-13 13 16,14 14-16,-1-14 16,0 0-16,0 27 15,1-27 1,-1 13-16,-13 1 16,13-14-1,0 0-15,0 1 0,-13 12 16,14-13-16,-1 0 15,-13 1-15,13-1 16,0 0-16,1 14 16,-1-14-16,13 13 15,-13-12 1,14-1-16,-1 0 16,-12 0-16,-1-13 15,13 13-15,1 1 0,12-1 16,41 13-1,-54-12-15,1-14 16,12 13 0,-12-13-1,-1 0-15,-12-27 16,-14 14 0,0-13-16,-14 12 15</inkml:trace>
  <inkml:trace contextRef="#ctx0" brushRef="#br0" timeOffset="7695.43">6191 10954 0,'0'13'16,"0"0"-1,-26 27-15,-1 0 16,27-27-16,-13 13 16</inkml:trace>
  <inkml:trace contextRef="#ctx0" brushRef="#br0" timeOffset="7828.85">6032 11470 0,'-13'26'0,"13"-13"15,13-52-15,-39 92 0,26-40 16,-13 0-16,13 0 0,-13 1 16,13-1-16,-14 13 15</inkml:trace>
  <inkml:trace contextRef="#ctx0" brushRef="#br0" timeOffset="7960.83">5966 11946 0,'-13'53'16,"0"-40"-16,13 14 0,-13-14 15,-14 13-15,14 1 16,0-14-16,-14 40 0,14-40 16,0 0-16,13 1 15,-13-14-15</inkml:trace>
  <inkml:trace contextRef="#ctx0" brushRef="#br0" timeOffset="8636.79">6324 11814 0,'26'0'16,"-13"-14"-16,0 14 15,1 0-15,-1 0 0,0 0 16,0 0-16,-39 14 31,-1-14-15,14 13-16,0 0 15,0-13-15,0 0 16,-1 13-16,14 1 31,14-1-31,-1 0 16,13 0-16,-13-13 15,-13 13 1,14 1-16,-14-1 16,-14 0-16,1 0 15,0-13-15,0 14 0,-27-1 32,27-13-32,0 13 15</inkml:trace>
  <inkml:trace contextRef="#ctx0" brushRef="#br0" timeOffset="8892.07">6482 11946 0,'-13'26'0,"13"-12"0,0-1 15,13-13-15,-13 13 16,14-13-16,-1 0 15,0 0-15,0-13 16,14 0-16,-14-14 16,-13 14-1,0 0-15,0-1 16,-27-12 0,14 13-16,0 13 0,-27 0 15,27 0-15,-13 0 0</inkml:trace>
  <inkml:trace contextRef="#ctx0" brushRef="#br0" timeOffset="9627">5133 12025 0,'13'0'16,"-39"14"-1,-1-1 1,14 0-16,0-13 0,0 0 16,13 13-1,-14 0-15,28 1 16,-1-1 0,0-13-1,-13 13-15,13-13 0,0 13 16,-13 1-1,-26-1 1,13 0 0,-14-13-16,14 13 0,0-13 15,0 0-15,-1 0 0,-12 14 16,13-28 0</inkml:trace>
  <inkml:trace contextRef="#ctx0" brushRef="#br0" timeOffset="9928.95">5199 12065 0,'-13'26'0,"13"-12"15,0 12-15,13-26 16,-13 13-16,13-13 0,1 14 15,-1-14-15,0 0 0,13 0 0,-12 0 16,-1 0-16,0 0 0,0 0 16,-13-14-16,14 14 15,-14-13-15,-14-13 16,1 26-16,0-14 16,-14 1-16,14 0 15,0 13-15,0 0 16,-14 0-16,14 13 15,0-13-15</inkml:trace>
  <inkml:trace contextRef="#ctx0" brushRef="#br0" timeOffset="10120.23">5556 11959 0,'0'13'16,"-13"14"0,-13-1-1,26-12-15,-14-1 0,1 0 0,13 13 16,-13-12-16,0-14 0,-1 26 16,1-26-16,13 13 0</inkml:trace>
  <inkml:trace contextRef="#ctx0" brushRef="#br0" timeOffset="10249.12">5437 11972 0,'-13'0'0,"0"0"16,0 0-1</inkml:trace>
  <inkml:trace contextRef="#ctx0" brushRef="#br0" timeOffset="10383.19">5622 12091 0,'14'14'16,"-14"-28"-16</inkml:trace>
  <inkml:trace contextRef="#ctx0" brushRef="#br0" timeOffset="10936.24">6813 11906 0,'-26'27'16,"12"-14"-1,-12 13-15,13 1 16,-14-1-16,14-12 15,-13 12-15,12 0 16,1-12-16,0-1 16</inkml:trace>
  <inkml:trace contextRef="#ctx0" brushRef="#br0" timeOffset="11083.83">6694 11867 0,'0'-14'0,"-13"14"0,0 14 16,-1-1-16,14 0 15</inkml:trace>
  <inkml:trace contextRef="#ctx0" brushRef="#br0" timeOffset="11204.91">6879 12091 0,'-13'-13'32</inkml:trace>
  <inkml:trace contextRef="#ctx0" brushRef="#br0" timeOffset="12006.86">8930 10345 0,'26'106'16,"-52"13"-16,12 27 0,1-67 15,0 27-15,-27 119 16,1 0-16,12-106 15,1 0-15,-27 106 0,26-106 16,1-13-16,13-1 0,-1 1 16,1-26-16,0-14 0,0 13 0,13-13 15,-14 0-15,14-13 0,-13 0 16,13-13-16,0-14 0,0 1 16,-13-1-16,13-12 0</inkml:trace>
  <inkml:trace contextRef="#ctx0" brushRef="#br0" timeOffset="12403.75">8162 12065 0,'40'0'16,"0"0"-16,39 13 16,-26-13-16,13 13 0,80 1 15,-67-1-15,14-13 16,-1 13-16,146 0 0,-105 1 15,-1-14-15,0 0 0,14 13 16,132 0-16,-146-13 0,0 13 16,1-13-16,-1 14 0,93-1 15,-119-13-15,-14 13 0,1-13 0,-1 13 16,-12-13-16,-14 0 0,0 13 16,13-13-16,-52 0 15,-14 0-15,0 0 0,1 0 0</inkml:trace>
  <inkml:trace contextRef="#ctx0" brushRef="#br0" timeOffset="13967.93">8718 12052 0,'40'-27'47,"-40"14"-47,13 13 0,0-13 15,0 0-15,1-1 0,-1 1 16,0-13-16,0 12 0,1-12 0,12-27 15,0-13-15,-12 40 16,-1-14-16,0 13 0,0-12 16,1 12-16,-1-12 0,0 12 15,-13 1-15,13-1 0,1-13 0,-1 27 16,0-13-16,0-1 0,-13 14 0,13-13 16,1-1-16,-1 14 0,0-14 15,0-12-15,14-14 16,-14 26-16,0-12 0,1 12 15,-1 1-15,0-1 0,0-12 0,14-14 16,-1-13-16,-26 52 16,13-12-16,14-14 15,-27 27-15,13 0 0,-13 0 16,13-1-16,0 1 0,-13 0 16,14 0-16,-1-1 15,0 1-15,0 0 0,1 13 16,-14-13-16,13 13 15,0 0-15,0 0 16,-13 13-16,0 0 16,14 0-16,-14 1 0,0-1 15,0 0-15,0 0 16,0 14-16,0-14 0,0 13 0,0 1 16,0-14-16,0 14 0,0-14 15,0 13-15,-14 1 0,14-14 0,0 13 16,0 1-16,0-14 0,0 14 15,0-1-15,0-13 0,0 14 16,0-1-16,0-13 0,0 14 0,0-14 16,14 27-16,-14-14 0,0-13 15,0 14-15,0-14 16,0 14-16,13-1 0,-13 1 16,0-14-16,0 13 0,0-13 0,13 14 0,-13-14 15,0 0-15,0 14 16,13-14-16,-13 14 0,0-14 0,0 0 15,13 13-15,1 1 0,-14-1 16,0-12-16,13-1 0,-13 13 16,0-12-16,13-1 0,0 0 0,-13 0 15,14 0-15,-1 14 0,0-14 16,0 0-16,1 1 16,12-1-16,-13-13 0,27 26 0,-14-13 15,1-13-15,-1 14 0,1-1 16,-1 0-16,27 0 15,13 1-15,-26-1 0,13 13 16,13-12-16,-40-1 16,14 0-16,0 0 0,26 0 15,-26 1-15,-1-1 16,41 0-16,-41 0 0,1 1 0,0-14 16,39 13-16,1 13 15,-1-12-15,-39-14 16,26 13-16,13 0 15,-52-13-15,12 0 0,54 13 16,13 0 0,-80-13-1,1 0-15,12 14 0,-12-14 16,-14 0-16,0 0 0,14 0 16,-1 0-16,1 0 15,-14 0 1,0 0-1,-13-14 32</inkml:trace>
  <inkml:trace contextRef="#ctx0" brushRef="#br0" timeOffset="14785.28">12250 10769 0,'13'158'15,"-26"-105"-15,13 27 0,-13-14 16,-13 119-16,-1 27 15,14-107-15,-14 94 16,14-93-16,13-27 0,-26 80 16,12 0-16,1-93 15,-13 66-15,13-26 16,13-66-16,-14 26 16,1-27-16,0-25 0,0-1 15,-1-26 1,14-1-1</inkml:trace>
  <inkml:trace contextRef="#ctx0" brushRef="#br0" timeOffset="15171.9">11642 12065 0,'66'13'32,"-40"-13"-32,14 0 0,0 13 0,13-13 0,92 14 15,14-14 1,-67 13-16,107 0 0,-80-13 15,13 13-15,120 1 0,-41 12 16,-105-26 0,79 27-16,14-14 15,-41 0-15,-78-13 0,-1 0 16,27 13-16,-53-13 16,13 0-16,-53 0 15,14 0-15,-14 0 0,0-13 16,-39 0-1,-1 0-15,1 13 0</inkml:trace>
  <inkml:trace contextRef="#ctx0" brushRef="#br0" timeOffset="16470.65">12303 11972 0,'66'27'16,"-53"-27"-16,1 13 16,25-13-16,14 13 15,-13-13-15,-14 0 0,41 0 16,-28 0-16,-12 0 0,12 0 16,1 0-16,-13 0 0,39 0 15,-40 0-15,27-13 16,0 13-16,-13-13 15,-14 13-15,14-13 16,0-1-16,12 1 16,-25 0-16,-1 0 15,1-1-15,-1 1 0,-12 0 16,12 0-16,-13 0 16,0-1-16,-13 1 0,14 0 0,-1 13 15,0-40-15,14 14 16,-14-1-1,0 14-15,0 0 0,1-14 16,12-12-16,-13 12 16,0 1-1,1-14-15,-1 27 16,0 0-16,0-27 0,1 27 0,-1-27 16,26-13-1,-39 40-15,14-14 16,-1 1-16,0-14 15,0 27-15,-13 0 16,14 0-16,-14-1 16,13 28 31,-13-1-47,0 13 15,13-13 1,-13 14-16,0-1 15,0 1-15,0-1 16,0 1-16,13 12 16,-13-25-16,14 12 15,-14-13-15,13 40 16,0-26-16,0 12 16,0-12-16,1 26 15,12-13 1,-26-1-1,13-12-15,1-1 16,-14 1-16,13-14 16,-13 0-16,0 0 0,13 14 15,-13-14-15,13 13 16,1-12-16,-1 12 16,0-13-1,13 14-15,-12-14 16,12 0-16,-13-13 15,1 13 1,12-13-16,1 0 16,-1-13-16,-13 13 15,0-13-15</inkml:trace>
  <inkml:trace contextRef="#ctx0" brushRef="#br0" timeOffset="21507.12">3043 3334 0,'26'0'0,"1"13"0,26-13 15,-14 0-15,14 0 0,0 13 16,0-13-16,92 13 15,-65-13-15,-1 14 0,1-14 0,-1 13 16,67 0-16,-67-13 16,-26 0-16,0 13 0,0-13 0,0 0 15,-1 0-15,-12 0 0,-13 0 0,-1 0 16,1 0-16,-1 0 0,-13 0 16,14 0-16,-14-13 0,0 13 0,0 0 15,14 0-15</inkml:trace>
  <inkml:trace contextRef="#ctx0" brushRef="#br0" timeOffset="22148.12">6535 3466 0,'66'0'16,"80"0"-1,-67 13-15,1-13 0,92 13 16,-80-13-16,-12 14 0,12-14 0,-12 13 15,12-13-15,-12 0 16,12 0-16,-12 13 0,-14-13 0,0 0 16,-13 13-16,0-13 0,-14 0 0,14 0 15,-13 0-15,-14 0 16,1 0-16,-14 14 0,14-14 0,-14 0 0,0 0 16,0 0-16,0 13 15,-13 0-15</inkml:trace>
  <inkml:trace contextRef="#ctx0" brushRef="#br0" timeOffset="26278.04">17132 3400 0,'-40'-13'16,"27"13"-16,39 0 16,-12-14-1,52 14-15,40 0 0,52 0 16,107-13 0,-173 13-16,120 0 15,-80-13-15,-26 13 0,0 0 0,-13 0 16,13 0-16,-14-13 0,80 13 15,-93 0-15,-12 0 0,-14 0 16,-14 0-16,41 0 16,-67 0-16,13 0 15,-12 0-15,-1 0 0,0 0 16,0 0-16,0 0 16</inkml:trace>
  <inkml:trace contextRef="#ctx0" brushRef="#br0" timeOffset="28047.46">5649 4194 0,'145'-27'16,"1"14"-16,118-13 16,-171 26-16,145-14 15,-105 14-15,-1-13 0,0 13 16,-26 0-16,0 0 0,0-13 15,92 13-15,-105 0 0,92 0 16,-106 0-16,1 0 0,-27 0 16,13 0-16,-27 0 0,1 0 15,0 0-15,-14 0 0,1 0 0,-14 0 16,0 0-16,14 0 0,-14 0 16,0 0-16,0 0 0,0 0 15,1 0-15,-1 0 16,0 0-1</inkml:trace>
  <inkml:trace contextRef="#ctx0" brushRef="#br0" timeOffset="29928.05">18203 10186 0,'14'199'0,"-14"-120"0,-14 40 15,-12 0-15,13 14 0,-1-1 16,1 13-16,-13 14 0,13-13 16,-27 158-16,27-158 0,-1-14 15,1 0-15,0-13 0,13 0 0,0 0 16,-13-39-16,13-1 0,0 0 15,0 41-15,0-68 0,0-12 16,-14 0-16,14 0 0</inkml:trace>
  <inkml:trace contextRef="#ctx0" brushRef="#br0" timeOffset="30317.75">17013 12528 0,'304'0'15,"-106"0"-15,-65 13 16,12-13-16,1 13 0,13-13 0,-1 14 0,173 25 16,-146-25-16,371 39 15,-173-27 1,-184-13-16,171 14 0,-198-14 16,0 0-16,-13 0 0,0 1 15,-27-14-15,0 13 0,-26-13 16,66 0-16,-92 0 0,-28 0 15,41 0-15,-66-13 0,-14 13 16,0 0-16,-13-14 0,13 14 16</inkml:trace>
  <inkml:trace contextRef="#ctx0" brushRef="#br0" timeOffset="31269.19">18269 12396 0,'93'0'0,"-40"-14"15,-27-12-15,14 13 0,-13 0 16,12-14-16,-12 14 0,39-40 16,-26 13-16,-1 1 0,-12 12 15,12-13-15,41-52 16,-54 52-16,14-13 0,39-53 15,-39 40-15,26-40 16,-26 40-16,0 0 0,-1 0 0,54-93 16,-53 80-16,65-67 15,-52 67-15,53-67 16,13 14-16,-66 53 0,-13 26 16,52-53-16,-39 40 0,0 13 15,0 13-15,0-13 16,0 14-16,0-1 0,0 0 0,53-26 15,-1 26-15,-38 14 16,-28 26-16,-12 0 16,-1 0-16,14 26 0,-14-12 15,14 52-15,-27-26 0,0-1 16,1 27-16,-1 133 16,-13-133-16,0 13 15,13 1-15,-13-1 0,-13 0 0,13 14 16,13-14-16,-13 1 0,13 12 0,-13-12 15,27 12-15,-14-12 0,27-1 16,-14 1-16,40 39 0,27-14 16,-53-52-16,13 0 15,-14-13-15,14 0 0,-13-14 0,39 40 16,-52-39-16,-1-14 0,1 13 16,-1-12-16,-13-1 0,14 0 15,-14-13-15,0 13 0</inkml:trace>
  <inkml:trace contextRef="#ctx0" brushRef="#br0" timeOffset="32401.01">17820 12290 0,'39'0'16,"-25"0"-16,-1 0 0,27-13 16,26-1-1,53-25 1,-80 26-16,-12-1 0,13 1 15,-14 0-15,14 0 0,-1-1 16,-12 1-16,13 0 0,26-27 0,-27 27 16,1 0-16,39-14 15,-39 1-15,0 13 0,-1-1 16,1 1-16,0 0 0,52-14 16,-39 14-16,27 0 0,-27 0 15,-14 13-15,1-13 0,0 13 16,-1 0-16,-12 0 0,13 0 15,13 0-15,-14 13 0,14-13 0,0 0 16,-13 13-16,13-13 0,0 13 0,-1-13 16,1 13-16,40 1 15,-40-1-15,0 0 0,0 0 16,0 1-16,0-14 0,-1 13 0,1 13 16,66 1-16,-66-1 0,53 14 15,-53-14-15,0-12 16,13 12-16,0 1 0,67 12 15,-54-26-15,-13 1 0,27 12 0,-14-13 16,14 1-16,-1-1 0,14 13 16,66 1-16,-92-14 0,-14-13 15,13 13-15,-13 0 0,-13-13 16,-13 14-16,-1-1 0,14-13 16,-26 13-16,-1-13 0,1 0 0,-1 13 15,1-13-15,-1 0 0,-13 0 0,14 0 16,-1 14-16</inkml:trace>
  <inkml:trace contextRef="#ctx0" brushRef="#br0" timeOffset="38412.18">3836 4934 0,'133'-13'16,"-94"13"-16,1 0 16,13 0-16,0 0 0,0 0 0,0 0 15,13 0-15,40 0 0,-53 0 16,0 0-16,0 0 0,-14 13 16,-12-13-16,12 0 0,-12 0 0,-1 0 15,1 0-15,12 0 16,-12-13-16,-14 13 0,0 0 15,1 0-15</inkml:trace>
  <inkml:trace contextRef="#ctx0" brushRef="#br0" timeOffset="39992.5">18230 4961 0,'66'-13'16,"-40"13"-16,14 0 15,0 0-15,-14 0 0,1 0 16,12 0-16,-12 0 0,13 0 0,-14 0 16,14 0-16,-14 0 0,1 0 15,-1 0-15,0 0 0,14 0 16,-27 13-16,1-13 0,-1 0 0</inkml:trace>
  <inkml:trace contextRef="#ctx0" brushRef="#br0" timeOffset="40286.1">18243 5054 0,'106'0'0,"-80"0"0,14 0 15,-14 0-15,1 0 0,13 0 0,65 0 16,-25 0 15,-67 0-31,0 0 0,14 0 0,-14 0 16,0 0-16,0 0 16,1 0-16,-1 0 15,0 0-15,0-14 16</inkml:trace>
  <inkml:trace contextRef="#ctx0" brushRef="#br0" timeOffset="51073.37">22119 9962 0,'0'-14'0,"-26"28"31,12 12-15,14-13-16,0 0 16,0 14-16,0-14 0,-13 0 15,13 14-15,0-14 0,13 0 16,-13 1-16,0-1 0,14-13 15,-1 13-15,0-13 16,0 0-16,1 0 0,-1 0 0,13-13 16,1 0-16,-14-1 15,0 1-15,-13 0 0,13 0 0,-13-14 16,0 14-16,0-14 0,-13 14 16,13 0-16,-13 0 0,13 0 15,-13-1-15,0 1 0,-1 0 0,1 13 16,13-13-16,-13 13 0,0-14 0,-1 14 15,1 0-15,0 0 16,13 14-16,-13-14 0,-1 0 16,14 13-16</inkml:trace>
  <inkml:trace contextRef="#ctx0" brushRef="#br0" timeOffset="51446.11">22344 9909 0,'-13'-14'15,"0"28"1,13 25 0,0-25-16,0-1 15,0 0-15,0 13 0,0 1 16,0-14-16,13-13 15,-13 13-15,13 1 0,0-14 16,1 13-16,-1-13 0,0-13 16,0 13-16,0-14 0,14 1 15,-14 0-15,0 0 0,1-1 16,12-25-16,-26 26 0,13-14 0,-13 14 16,13 13-16,-13-13 15,0-1-15,14 1 0,-14 0 16,-14 13-1,1 13-15,0-13 16,0 13 0</inkml:trace>
  <inkml:trace contextRef="#ctx0" brushRef="#br0" timeOffset="51694.95">22847 9657 0,'0'-13'0,"0"40"31,-13-14-31,13 0 0,0 13 0,-14 27 16,1-26-16,0 12 16,13-12-16,0-1 0,-13-12 0,13 12 15,0 1-15,-14-14 0,14 26 16,-13-12-16,13-14 15,0 0-15,0 1 0,0-1 0,-13 0 0,13 0 16,0 1-16,0-1 16</inkml:trace>
  <inkml:trace contextRef="#ctx0" brushRef="#br0" timeOffset="51912.95">22542 10028 0,'14'0'15,"25"-14"1,-25 14-16,-1 0 0,0 0 0,14 0 0,-14-13 16,0 13-16,0 0 15,14 0-15,-14 0 0,0 0 0,0-13 16,14 13-16,-14 0 0,0-13 0,14 13 15</inkml:trace>
  <inkml:trace contextRef="#ctx0" brushRef="#br0" timeOffset="52144">23125 9684 0,'-53'66'15,"39"-26"1,1-14-16,13 14 0,-39 52 16,25-65-16,14-14 15,-13 13-15,13 1 0,-13 13 16,0-27-16,13 0 0,0 0 16,-14 14-16,14-14 0,0 0 0,0 0 15,0 1 1</inkml:trace>
  <inkml:trace contextRef="#ctx0" brushRef="#br0" timeOffset="52320.98">23204 10054 0,'13'-13'16,"-39"53"-1,26-27-15,-13 0 0,13 0 16,-14 1-16,14-1 0,-13 13 15,0-13-15,13 1 16,-13-1-16,13 0 16</inkml:trace>
  <inkml:trace contextRef="#ctx0" brushRef="#br0" timeOffset="52462.88">23230 9962 0,'-13'0'0,"26"0"16,-26-14-1</inkml:trace>
  <inkml:trace contextRef="#ctx0" brushRef="#br0" timeOffset="52882.72">23323 10147 0,'40'-40'15,"-27"27"-15,-13 0 0,13 13 16,0-14-16,-39 28 47,13-1-47,-1 13 15,14-12 1,0-1-16,14 0 16,-1-13-16,0 0 15,0 0-15,14-13 16,-14 13-16,0 0 0,1 0 0,-1 0 15,0 0-15,13 0 0,-12 0 16,-1 0-16,0 0 16,0 13-1,-13 0-15,-13 0 0,0-13 16,0 14-16,-1-1 16,1 0-16,0-13 15,13 13-15</inkml:trace>
  <inkml:trace contextRef="#ctx0" brushRef="#br0" timeOffset="53044.99">23852 10173 0,'13'-13'0,"-39"26"31,13-13-31</inkml:trace>
  <inkml:trace contextRef="#ctx0" brushRef="#br0" timeOffset="53776.07">23085 10530 0,'79'14'16,"-26"-14"-16,27-14 16,-41 14-16,14 0 0,-13-13 15,0 13-15,12 0 0,-12-13 16,0 13-16,0-13 0,-1 0 0,1-1 15,39-12-15,-52 13 0,12-14 16,-12 14-16,13-14 0,-14 1 16,27-27-16,0 0 15,-13-13-15,-27 26 16,0 14-16,0-14 0,-13 0 16,13 14-16,-26-53 0,0 39 0,0 0 15,0 1-15,-27-54 0,13 40 16,1 0-16,-1 13 0,1 1 15,-14-1-15,14 0 0,-1 1 16,-26-14-16,-13 0 16,40 40-16,-1-1 0,-12 1 15,-80-13-15,92 26 16,-39 0-16,13 0 0,0 0 16,0 0-16,14 0 0,-1 13 15,0-13-15,1 13 0,12-13 0,-39 13 16,26-13-16,14 14 15,-14-1-15,0 0 0,14 0 0,-53 14 16,39-14-16,0 0 16,-52 14-16,52-1 0,0-13 15,-13 1-15,14-1 0,-41 27 16,54-27-16,-14 0 0,0 13 16,-12 14-16,12-27 0,13 14 15,-39 39-15,27-40 16,12 1-16,14 13 0,-40 26 15,27-27-15,12-12 0,14 13 0,-13-1 16,13 1-16,0 0 16,27 39-16,12 0 0,-12-39 15,-14 0-15,27-14 0,-1 14 16,1-14-16,39 14 0,-39-27 16,13 1-16,-13-1 0,52 0 15,-52-13-15,0 0 16,26 0-16,-13 0 0</inkml:trace>
  <inkml:trace contextRef="#ctx0" brushRef="#br0" timeOffset="54245.02">23601 10782 0,'0'13'16,"0"0"-16,0 27 15,0-14-15,0 1 16,0-14-16,0 27 0,0-27 16,0 0-16,0 0 15,-13 1-15,13-1 0,0 13 16,-14-12-16,14-1 0,-13-13 16,0 13-16</inkml:trace>
  <inkml:trace contextRef="#ctx0" brushRef="#br0" timeOffset="54485.9">23614 10861 0,'-13'-13'0,"-14"26"16,14-13-1,-13 13-15,-1 1 16,14-14-16,0 13 0,-27 13 16,27-26-16,13 14 0,-27-14 15,27 13-15,14-26 32</inkml:trace>
  <inkml:trace contextRef="#ctx0" brushRef="#br0" timeOffset="54608.74">23667 10848 0,'53'0'0,"-40"0"16,0 13-16,1-13 0,38 27 16,-38-14-1,-1-13-15,0 13 0,0-13 0,1 13 16,12-13-16,1 14 16</inkml:trace>
  <inkml:trace contextRef="#ctx0" brushRef="#br0" timeOffset="61115.01">9909 5609 0,'26'0'0,"-13"0"16,1 0-16,-1 0 0,0 0 15,13 0-15,-12 0 0,52 0 16,-40 0-16,14 0 15,0 0-15,-1 0 0,1 0 0,26 13 16,-26-13-16,0 0 0,-14 0 16,1 0-16,-1 0 0,14 0 15,-27 0-15,13 0 0,-12 0 16,-1 0-16,0 0 0,0 0 16</inkml:trace>
  <inkml:trace contextRef="#ctx0" brushRef="#br0" timeOffset="62072.32">12634 5702 0,'40'0'0,"-27"0"0,26 0 15,-25 0-15,12-13 0,1 13 16,12 0-16,-12 0 0,92 0 16,-66 0-16,-14 0 0,1 0 15,0 0-15,39 0 16,-13 0-16,-39 0 0,-1 0 16,-13 0-16,14 0 0,-14 0 15,14 0-15,-14 13 0,0-13 0,0 0 16,1-13-1,-1 13 1</inkml:trace>
  <inkml:trace contextRef="#ctx0" brushRef="#br0" timeOffset="69376.91">9221 6297 0,'238'27'0,"-198"-27"15,-1 0-15,1 13 0,13-13 16,-13 0-16,12 0 0,-12 0 0,13 13 15,13-13-15,-39 0 0,12 0 16,-12 0-16,-1 0 0,1 0 16,-14 0-16,13 13 0,-12-13 0,-1 0 15,0 0-15,14 0 0,-14 0 16,0 0-16,0 0 16,0 0-16,1 0 15</inkml:trace>
  <inkml:trace contextRef="#ctx0" brushRef="#br0" timeOffset="77787.75">5609 7818 0,'66'0'0,"-39"0"16,-1 0-16,14 0 0,0 0 0,13 0 15,-1 0-15,1 0 0,0 0 16,13 0-16,-13 0 0,-13 0 16,66 14-16,-80-14 0,14 0 15,-27 0-15,14 0 0,-1 13 16,14-13-16,-27 0 0,0 0 16,1 0-16,-1 0 0,0 13 15,0-13-15,0 0 16,1 0-1</inkml:trace>
  <inkml:trace contextRef="#ctx0" brushRef="#br0" timeOffset="78784.89">9538 7845 0,'93'0'0,"-80"0"15,14 0-15,-1 0 0,0 13 0,1-13 0,-1 0 16,14 0-16,-14 0 0,1 0 16,13 0-16,-14 0 0,1 13 0,-1-13 15,0 0-15,-12 0 0,12 0 16,-13 0-16,14 0 0,-14 0 16,0 14-16,1-14 0,-1 0 0,0 0 15,13 0-15,-12 0 0,-1 0 16,-13 13-16,13-13 0,0 0 15,1 0-15</inkml:trace>
  <inkml:trace contextRef="#ctx0" brushRef="#br0" timeOffset="79994.61">16391 7805 0,'198'0'0,"-158"13"0,13-13 16,0 0-16,0 0 0,0 0 0,26 14 16,40-1-16,-66-13 15,0 13-15,13-13 0,-26 13 0,13-13 16,53 14-16,-54-1 15,41 0-15,-53-13 0,-14 0 16,1 13-16,-1-13 0,1 0 16,-1 14-16,1-14 0,-14 0 15,0 0-15,0 0 0,0 13 16</inkml:trace>
  <inkml:trace contextRef="#ctx0" brushRef="#br0" timeOffset="86706.51">16563 8348 0,'40'-14'15,"-1"28"-15,-12-14 0,-1 0 0,14 0 16,53 13-16,12-13 16,-52 0-16,27 13 15,-14-13-15,-13 0 0,26 13 0,53-13 16,14 14-16,-80-14 15,0 13-15,-13-13 0,0 0 16,0 0-16,53 13 0,-67-13 16,14 0-16,-13 0 0,-13 0 0,-1 0 15,0 0-15,1 0 0,13 13 16,-27-13-16,0 0 16,13 0-16,-12 0 0,-14-13 15,26 13-15,-13 0 16,1 0-1,-1 0 1,0 0 0,0 0-1,1 0 220,-1 0-220,0 13-15</inkml:trace>
  <inkml:trace contextRef="#ctx0" brushRef="#br0" timeOffset="87388.88">20955 8493 0,'423'27'16,"-383"-14"-16,53-13 0,-40 13 16,-14-13-16,-12 0 0,-1 0 15,1 0-15,-1 0 0,1 0 16,-14 13-16,0-13 16,-53-13-1</inkml:trace>
  <inkml:trace contextRef="#ctx0" brushRef="#br0" timeOffset="90663.92">6892 9036 0,'0'-14'16,"27"28"-1,13-14-15,-14 0 16,14 13-16,66-13 0,-1 13 16,-52-13-16,93 13 15,-67-13-15,1 0 0,12 13 16,80-13-16,27 14 15,-94-1-15,253 0 16,-253-13-16,28 13 0,-1-13 16,106 14-16,-13-14 15,-13 13-15,-1-13 16,-105 0-16,-13 0 0,-1 0 16,1 0-16,92 13 15,-105-13-15,-14 0 0,0 0 16,-13 0-16,53 13 0,-80-13 15,27 0-15,-27 0 16,1 0-16,26 0 16,-40 0-16,0 0 15,1 0 1,-1 0 0,0 0-1,0 0 79,0 0 156,-13-13 1297,0 0-1547,14 13 15,-14-13-15,13 13 0</inkml:trace>
  <inkml:trace contextRef="#ctx0" brushRef="#br0" timeOffset="91933.03">18455 9115 0,'26'0'15,"-13"0"-15,27 0 16,-13 0-16,-1 0 0,14 0 16,13 0-16,-1 0 0,15 0 15,12 0-15,0 0 0,14-13 0,0 13 16,12 0-16,41 0 0,-14 0 0,1 0 15,-1 0-15,13 0 0,1 0 16,132 13-16,-159-13 0,13 13 16,-26-13-16,13 13 0,-13-13 15,-14 14-15,1-14 0,79 13 16,-13 0-16,-80 0 0,-26-13 16,0 14-16,0-14 0,-27 0 15,14 0-15,-27 13 0,14-13 16,-14 0-16,0 0 0,0 0 15,-13-13 1</inkml:trace>
  <inkml:trace contextRef="#ctx0" brushRef="#br0" timeOffset="93096.69">1138 9697 0,'106'13'16,"-67"-13"-16,14 0 16,0 0-16,0 0 0,26 0 15,1 0-15,-1-13 0,0 13 16,14 0-16,0-13 0,13 13 0,-14 0 15,14-13-15,0 13 0,-14-14 16,14 14-16,-13 0 0,-1-13 0,1 13 0,-14 0 16,1 0-16,-1 0 15,-13 0-15,-13 0 0,0 0 0,0-13 16,0 26-16</inkml:trace>
</inkml:ink>
</file>

<file path=ppt/ink/ink10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45:00.221"/>
    </inkml:context>
    <inkml:brush xml:id="br0">
      <inkml:brushProperty name="width" value="0.05292" units="cm"/>
      <inkml:brushProperty name="height" value="0.05292" units="cm"/>
      <inkml:brushProperty name="color" value="#0070C0"/>
    </inkml:brush>
  </inkml:definitions>
  <inkml:trace contextRef="#ctx0" brushRef="#br0">13401 1204 0,'0'13'63,"0"14"-48,0-14-15,0 0 16,0 0-16,0 0 15,13 1-15,-13-1 16,0 0 0,14-39 15,-1 12-15,-13 1-16,0 0 0,13 0 15,0 0 1,1 13-1,12 13 1,-13 0-16,0 13 16,1-12-1,-14-1-15,13 0 16,-13 0 0,13-39 15,0 13-31,-13-1 0,14-12 62,12 13-30,27 52-17,-40-39-15,0 40 16,-13-27-16</inkml:trace>
  <inkml:trace contextRef="#ctx0" brushRef="#br0" timeOffset="473.95">13877 1363 0,'14'-40'0,"-14"27"15,0-1-15,13 1 0,-13 0 16,0 0-16,0 0 0,-13-14 16,13 14-16,-14 0 15,1 26 16,0 27-15,13-27-16,0 0 0,0 0 16,0 0-16,13 1 0,-13-1 15,13 0-15,-13 0 16,14-13-16,-1 14 0,0-14 0,27 0 16,-27 0-1,0 0-15,0-14 0</inkml:trace>
  <inkml:trace contextRef="#ctx0" brushRef="#br0" timeOffset="1178.3">14208 1204 0,'-26'-13'15,"12"13"-15,14 13 0,-13-13 16,0 13-16,0 0 16,13 1-16,-13-14 0,13 13 15,0 0-15,-14 0 0,14 0 16,-13 14-16,13-14 16,0 0-1,13 1 1,14-28-1,-14 1 1,0 0-16,-13 0 16,13-1-16,-13 1 0,14 0 15,-14 0 1,13 13-16,-13-13 16,13 26 30,-13 13-30,0-13 0,0 1-1,13-14 1,-13 13 0,14-26-1,-1 13-15,13-14 16,-26 1-1,14 13-15,-1 0 0,0 0 32,0 13-17,0-13-15,1 0 16,-1 14 15,0-28-31,0 14 0,1-13 16,-1 13-1,-13-13-15,13 13 16,0 0-16,0 0 16,1 13-1</inkml:trace>
  <inkml:trace contextRef="#ctx0" brushRef="#br0" timeOffset="4061.06">13891 1759 0,'0'-13'0,"-14"13"0,-12 0 15,13 0 1,-1 13 0,1-13-16,0 14 0,0-14 15,-14 13-15,14 0 16,0 0-1,13 1-15,13-1 16,-13 0-16,13-13 16,1 0-16,12 13 15,0 1-15,14-1 0,-27-13 16,1 0 0,-14 13-16,26-13 0,-13 13 15,-13 0-15,0 1 16,0-1-1,-13-13-15,13 13 0,-13-13 16,0 13-16,-1 1 0,1-14 16,0 13-16,0-13 15,-1 13-15,1-13 16</inkml:trace>
  <inkml:trace contextRef="#ctx0" brushRef="#br0" timeOffset="4341.71">14036 1759 0,'13'0'16,"-26"40"-1,13-27-15,0 27 16,0-13-16,0-14 16,0 0-16,0 13 0,0-12 15,0-1-15,0 0 16,0 0 0</inkml:trace>
  <inkml:trace contextRef="#ctx0" brushRef="#br0" timeOffset="4673.2">14036 1759 0,'66'-26'15,"-39"39"1,-1 0 0,1 1-16,-14-14 0,-13 13 0,13 0 15,0 14-15,-26 12 31,0-12-31,-14-1 16,1 1-16,13-14 16,-14 0-16,14 0 15,0 1-15,0-14 0</inkml:trace>
  <inkml:trace contextRef="#ctx0" brushRef="#br0" timeOffset="8483.02">14539 979 0,'53'-27'16,"-40"27"-1,13 0-15,1 0 32,-14 0-32,0 0 0,1 14 15,-1 12-15,-13-13 16,26 27-16,-12 13 16,-1-13-16,0-1 0,27 54 15,-14-53-15,14 52 16,26 41-16,-40-94 15,-12 1-15,25 53 16,-25-41-16,-14-12 16,0 0-1,0-27-15,-14 0 0,14 1 16,-13 12-16,0-13 0,-14 14 16,1-14-16,-14 0 15,27-13-15,-13 0 16</inkml:trace>
  <inkml:trace contextRef="#ctx0" brushRef="#br0" timeOffset="9147.91">13600 900 0,'-291'52'16,"238"-38"-16,39-1 0,-12 13 15,13 1-15,13-14 16,0 0-16,0 27 16,13 0-16,13 26 15,1-40-15,-14 14 0,0-14 16,27 54-16,0 39 15,-27-79-15,0 105 16,-13-92-16,0 40 16,0-40-16,-13 39 15,13 1-15,-13-14 16,13-39-16,0-1 0,0-12 16,13 79-1,-13-93-15,13 0 16,0 0-16,14 1 15,-1-14-15,1 0 0,12-14 16,41-12-16</inkml:trace>
  <inkml:trace contextRef="#ctx0" brushRef="#br0" timeOffset="15336.22">15531 1720 0,'-13'-13'15,"0"-27"1,-1 13 0,1 1-16,0 13 0,0-27 15,-1 14-15,1-1 0,0 1 16,0-1-16,0 1 0,-1-14 15,14 27-15,-13 0 0,0-14 16,13 14-16,-13 0 16,26-1-1,0 1 1,0 13-16,14 13 16,-14-13-16,0 0 0,40 27 15,-40-27-15,1 13 16,-1 0-16,0-13 0,-13 14 0,13-14 15,1 13-15,-1 0 16,-13 0-16,-13 1 16,-1-1-1,1-13-15,0 13 16,0-13-16,-14 13 16,14-13-16,0 0 0,-1 0 0,1 13 15,0-13-15,0 0 16,0 0-16,-1 0 15,14-13-15,0 0 16,0 0-16,14 13 0,-14-27 16,26-12-16,0-1 15,-26 27-15,14-1 0,-1 1 16,-13 0-16,13 0 16,0 0-16,-13-1 0,14 1 15,-14 40 16,-14-14-31,14 13 0,-13-13 0,13 14 16,-13-1-16,0 1 0,-1-1 16,1 1-16,13-14 0,-13 27 15,0-14-15,13 1 0,-13-14 0,13 13 16,-14 1-16,1 12 0,13-25 16,0-1-16,0 0 0</inkml:trace>
  <inkml:trace contextRef="#ctx0" brushRef="#br0" timeOffset="19908.83">1283 3850 0,'146'-66'16,"-27"39"-16,-66 14 0,13 0 16,0-1-16,13 1 0,-12 0 15,78-14-15,-79 27 0,0-13 0,0 0 16,-13 13-16,0-13 0,0 13 0,-13 0 15,0-13-15,13 13 16,-1 0-16,-38 0 0,-1-14 16</inkml:trace>
  <inkml:trace contextRef="#ctx0" brushRef="#br0" timeOffset="20179.05">1376 3903 0,'159'-53'16,"-120"39"-1,239-52-15,-225 53 16,0 13-16,-13-13 0,-1 0 15,-12 13-15,-1 0 0,1 0 0,-1 0 16,-13 0-16,1 0 0,12 0 0,-13 0 16,0 0-16,14 26 15</inkml:trace>
  <inkml:trace contextRef="#ctx0" brushRef="#br0" timeOffset="54604.42">4008 5636 0,'27'0'0,"-1"0"15,1 0-15,-1 0 0,1 0 16,65 0-16,-52 0 15,26 0-15,106-14 16,-106 14-16,0 0 0,120-13 16,-133 0-1,-1 13-15,107-13 16,-53-1-16,-40 14 16,-39 0-1,-14 0 1</inkml:trace>
  <inkml:trace contextRef="#ctx0" brushRef="#br0" timeOffset="54928.02">4326 5821 0,'159'-27'0,"-106"27"0,105-26 16,-39 13 0,-52 13-16,38-14 15,-52 14-15,27 0 16,-41-13-16,-12 13 0,-1 0 0,-12 0 0,12 0 15,-13 0-15,0 0 0,1 0 16,-1 0-16,0 13 16</inkml:trace>
  <inkml:trace contextRef="#ctx0" brushRef="#br0" timeOffset="55966.08">7408 5331 0,'-13'0'15,"53"-13"-15,-27 13 0,27 0 16,-14 0-16,27 0 0,0-13 0,79 13 15,-52 0-15,-27-13 16,0 13-16,13 0 0,-13 0 16,-1 0-16,-12 0 0,13 0 0,-13 0 0,-14 0 15,27 0-15,-26 0 16,-14 0-16,0 0 0,0 0 16,1-14-16,12 14 0</inkml:trace>
  <inkml:trace contextRef="#ctx0" brushRef="#br0" timeOffset="56217.81">8348 5133 0,'92'0'0,"1"26"31,-54-12-31,14 12 16,-39-13-16,-1 1 0,13-1 0,-26 13 16,14-13-16,-14 1 0,0 39 15,-14-27-15,-12 14 0,13-14 16,-27 14-16,13 0 0,1-14 16,0 0-16,-14 1 0,13-1 0,1 1 15</inkml:trace>
  <inkml:trace contextRef="#ctx0" brushRef="#br0" timeOffset="58399.79">11060 4948 0,'-14'-14'15,"28"41"1,-1-14 0,-13 14-16,26 26 15,-13-14 1,14-12-16,-14-1 15,0-13-15,-13 1 0,14-1 16,-14 0-16,13-13 16,-13 13-16,26-26 15,-26-13-15,0-1 16,0 14-16,0-14 0,0 1 16,0 0-16,0-1 0,0 1 0,0-14 15,0 0-15,0 27 16,0 0-16,0 0 0,0-1 15,0 1-15,0 0 0,0 0 16</inkml:trace>
  <inkml:trace contextRef="#ctx0" brushRef="#br0" timeOffset="59654.15">11430 5080 0,'0'-40'0,"0"27"16,-13 0-16,13 0 15,0-1 1,-27 28-1,27-1-15,0 0 0,-13 0 16,13 1-16,0 12 16,0-13-16,0 0 0,0 1 15,13 12-15,1-13 16,-1 1-16,0-14 16,0 0-1,0-14-15,1 1 0,-1 13 16,-13-13-16,13 0 15,0-1-15,1 14 0,-1 0 16,0 0 0,0 0-16,-13 14 15,14-1-15,-1 0 16,-13 0-16,13-13 16,0 14-16,0-14 15,1 0 1,-1-14-1,0 14-15,0 0 16,1-13 0,12 13-1,-13-13-15,1 0 16,12-14-16,-13 14 16,0 0-16,1-14 0,12 1 0,-13-14 15,14-13-15,-1 0 16,-26 40-16,13 0 0,1-40 15,-14 40 1,0-1-16,0 41 31,0-1-31,0-12 16,-14 25-16,14-25 16,14 12-16,-14 14 15,0-14-15,13 1 16,-13-1-16,13-13 0,-13 1 15,-13-14 1,0 0 0,-1 0-1,-12 0-15,13 0 16,13 13-16,-13-13 0,-1 13 16,1-13-16,-13 26 15,12 1-15,14-1 16,0-12-1,27-14 1,39-14-16,-26-12 16,13-14-1,-14 1-15,-12 25 16,-14-12-16,13 13 16,-26-1-1,14 14-15,-1 14 16,-13-1-1,13 0 1,0-13 0,1 0-1,12-13 1,-13 13 0,1-13-16,-1-1 15,0 14 1,0 0 15,0 0-31,1-13 31,-1 0-31,-13 0 16,13-1-16,0 1 16,1-13-16,-1-1 15,0 27 1,0-13-16,-13 40 31,-13-14-15</inkml:trace>
  <inkml:trace contextRef="#ctx0" brushRef="#br0" timeOffset="62137.14">13732 4498 0,'-13'0'0</inkml:trace>
  <inkml:trace contextRef="#ctx0" brushRef="#br0" timeOffset="62280.83">14221 4339 0,'0'-13'0,"0"26"0,14-39 16,-14 12 0</inkml:trace>
  <inkml:trace contextRef="#ctx0" brushRef="#br0" timeOffset="62425.38">14631 4207 0,'14'-13'15,"-28"26"-15,41-26 16,-1 26 15</inkml:trace>
  <inkml:trace contextRef="#ctx0" brushRef="#br0" timeOffset="62539.1">14989 4458 0,'-14'40'16</inkml:trace>
  <inkml:trace contextRef="#ctx0" brushRef="#br0" timeOffset="62840.17">14790 5318 0,'-13'0'0,"0"13"31</inkml:trace>
  <inkml:trace contextRef="#ctx0" brushRef="#br0" timeOffset="64033.9">14023 5120 0,'-40'-14'0</inkml:trace>
  <inkml:trace contextRef="#ctx0" brushRef="#br0" timeOffset="64320.82">14261 4710 0</inkml:trace>
  <inkml:trace contextRef="#ctx0" brushRef="#br0" timeOffset="65814">13705 4498 0,'0'-106'16,"0"80"-16,0-1 0,0 14 16,14-40-16,-14 40 0,0-14 15,13-26 1,-13 40-16,0 0 0</inkml:trace>
  <inkml:trace contextRef="#ctx0" brushRef="#br0" timeOffset="66046.83">14208 4260 0,'27'-53'0,"-27"40"16,26-53-1,-13 13-15,1 13 0,-1 27 0,-13-14 16,13 1-16,0 13 0,-13-14 16,13 14-16,1 0 0,-1-1 0,-13 1 15,13 0-15</inkml:trace>
  <inkml:trace contextRef="#ctx0" brushRef="#br0" timeOffset="66259.25">14631 4194 0,'27'-93'15,"-14"53"-15,40-65 16,-40 78-16,1 14 0,-14 0 15,13-1-15,0 1 0,0 0 0</inkml:trace>
  <inkml:trace contextRef="#ctx0" brushRef="#br0" timeOffset="66609.53">14724 4392 0,'93'-40'0,"-80"27"0,0 13 0,14 0 0,-14-13 15,13 13-15,-13 0 0,14 0 16,-14-13-16</inkml:trace>
  <inkml:trace contextRef="#ctx0" brushRef="#br0" timeOffset="66842.1">14870 4776 0,'26'13'16,"0"-13"-16,-12 13 0,39-13 16,-40 0-16,0 0 15,0 13-15,14-13 0,-14 0 16,0 14-16,0-14 0,1 13 0,-1-13 16,0 26-1,0-26-15</inkml:trace>
  <inkml:trace contextRef="#ctx0" brushRef="#br0" timeOffset="71574.03">6985 5953 0,'26'0'16,"-52"-13"31,0 0-47,12 13 15,1-14-15,-13 14 16,-1-13-16,1 13 0,-14-13 0,0 13 0,1-13 16,12 0-16,-52-1 15,52 14-15,1 0 0,-1 0 16,1-13-16,0 13 0,-1 0 0,14 0 15,-14 0-15,-12-13 0,25 13 16,1 0-16,0 0 0,0 0 16,0 0-16,13-13 0,-27 13 15,14 0-15,0 0 16</inkml:trace>
  <inkml:trace contextRef="#ctx0" brushRef="#br0" timeOffset="72080.42">6390 5953 0,'-27'-13'15,"27"0"-15,-26-1 16,13 1-1,-1 13-15,1-13 0,0 0 16,0 13-16,13-13 0,-14 13 0,14-14 16,-13 14-16,13-13 15,-13 13-15,0-13 16,13 0 0,0-1 15,39 14-16,-25 0 1,-1 0-16,0 0 0,0 0 0,1 0 16,-1 0-16,0 0 0,0-13 0,0 13 15,14 0-15,-1 0 16,-12-13-16,25 0 16,-25 13-16</inkml:trace>
  <inkml:trace contextRef="#ctx0" brushRef="#br0" timeOffset="76163.06">6125 5027 0,'40'0'0,"-27"0"15,0 0 1,0 0 0,1 13 15,-14 1-15,0-1-16,13 0 0,0 40 15,-13-40-15,13 40 16,1-26-1,-14-14-15,13 13 0,0-13 0,-13 1 16,0-1-16,13 13 0,1 27 16,-14-39-1,13-1-15,-13 0 0,0 0 16,0 0-16,0 1 16,0-1-16,0 0 15,0 0-15,-13-13 0,13 14 16,-14-1-1,1 0-15,0-13 16,0 0-16,-1 13 16,-12-13-1</inkml:trace>
  <inkml:trace contextRef="#ctx0" brushRef="#br0" timeOffset="77249.39">4326 4842 0,'-27'-13'16,"1"26"-16,13-13 15,0 0-15,-1 0 0,1 0 0,-13 13 16,12-13-16,-38 13 15,38-13-15,1 14 0,-13-14 16,12 0 0,14 13-16,-13-13 0,0 0 15,0 0-15,13 13 0,-14-13 16,14 13-16,-13-13 0,13 13 0,-13-13 16,13 14-16,-13-1 15,13 0-15,-13-13 0,13 13 0,0 1 16,0-1-16,-14 0 0,14 0 0,0 1 15,0-1-15,0 13 0,0-13 16,0 1-16,0-1 0,0 0 0,0 14 16,0-14-16,0 0 0,0 0 15,0 14-15,14-14 0,-14 0 0,0 0 16,0 14-16,0-14 0,0 14 16,0-14-16,0 13 0,0-12 0,0 12 15,0-13-15,0 0 0,0 14 0,0-14 16,0 14-16,0-14 15,-14 0-15,14 0 0,0 0 0,0 1 16,0 12 0,0-13-16,0 1 15,0-1 1,0 0 15,14 0 0,-14 1 1,13-14-17,0 13 1,13 0 0,-12-13-16,-1 0 15,0 13-15,0-13 0,1 13 0,-1-13 16,0 0-16,0 14 15,1-14-15</inkml:trace>
  <inkml:trace contextRef="#ctx0" brushRef="#br0" timeOffset="85981.37">7554 6522 0,'-13'-13'0,"39"13"47,1 0-47,-14 0 15,0 0-15,0 0 0,0 0 16,14 0-16,39-13 16,0 13-1,-39-14-15,26 14 16,-40 0-16</inkml:trace>
  <inkml:trace contextRef="#ctx0" brushRef="#br0" timeOffset="86252.06">7964 6429 0,'93'40'0,"-80"-40"0,0 13 0,0 1 16,-13-1-16,13 0 15,-26 0-15,0 27 16,-13-14-16,-1-12 0,-13 39 15,1-40-15</inkml:trace>
  <inkml:trace contextRef="#ctx0" brushRef="#br0" timeOffset="86901.95">12660 4630 0,'0'13'0,"0"1"0,14 12 0,-1 27 16,-13-27-16,0-12 16</inkml:trace>
  <inkml:trace contextRef="#ctx0" brushRef="#br0" timeOffset="87512.1">11800 5689 0,'-13'26'0,"26"-13"0,-13 0 0,0 1 0,0 12 15,14 1-15,-1-14 16,0 0-16,14 14 16,-14-27-1,0-14 1,-13 1-16,0 0 0,0 0 0,0-1 16,0 1-16,13-40 15,-13 40-15,0-13 16,0 12-16</inkml:trace>
  <inkml:trace contextRef="#ctx0" brushRef="#br0" timeOffset="87836.47">12039 5794 0,'0'-53'0,"0"80"31,0-1-15,13-26-16,-13 27 15,13-27 1,-13 13-16,13-13 0,0 0 15,1 0 1,-1-13 0,0 13-16,0 0 15,1 0 1,-14 13-16,13-13 16</inkml:trace>
  <inkml:trace contextRef="#ctx0" brushRef="#br0" timeOffset="88449.81">12422 5543 0,'-13'13'16,"0"27"-1,13-14-15,0-12 0,-14-1 16,14 13-16,0-12 16,0 12-16,0-13 15,-13 0-15,13 1 16,-13-14 0,0 0-16,0 13 15,-1 0 1,1 0-1,0 1-15,13-1 16,0 0-16,13-13 31,14-13-15,-14 13-16,0-13 0,0 13 16,-13-14-16,13 14 15,1-13-15,-1 13 16,0 0 15,0 13-31,1 1 16,-14-1-1,13-26 63,-13-1-78,13 14 16,-13-13 0,13 13-16,1-13 0,25 13 15,-26-13 1,27 13 0,-27-14-16</inkml:trace>
  <inkml:trace contextRef="#ctx0" brushRef="#br0" timeOffset="88770.29">12859 5609 0,'13'-13'15,"-13"0"-15,13 13 16,0 13-1,-26 13 1,0 1-16,13-14 0,-13 0 0,13 1 16,-13 12-16,-1 0 15,28-12 17,-1-14-17,13 0 1,-13-14-16,1 14 0,-1 0 0,13-13 0,-12 13 15,-1 0-15,0 0 16</inkml:trace>
  <inkml:trace contextRef="#ctx0" brushRef="#br0" timeOffset="89198.23">12541 6112 0,'146'-40'0,"-107"14"0,1 12 16,13 1-16,-13-13 0,13 13 16,-14-14-16,1 14 0,0-14 0,-1 1 15,1 13-15,-13-14 0,12 1 0,-12-1 0,-1 1 16,14-40-1,-27 39-15,14-26 0,-14 14 0,0-1 16,-13 0-16,-40-92 16,14 92-16,-14 1 0,-66-27 15,40 39-15,0 1 0,-13 12 16,-14 14-16,0 0 0,-264 27 16,238-1-16,-13 1 15,13 12-15,0 1 0,13 0 16,0 13-16,-172 158 15,212-65 1,66-67-16,13-39 16,106 79-16,-66-93 15,27 1-15,118 13 16,-145-27-16,0-13 16,0 0-16</inkml:trace>
  <inkml:trace contextRef="#ctx0" brushRef="#br0" timeOffset="89906.21">12224 5345 0,'383'-93'15,"-211"27"1,-119 39-16,0 14 0,0-13 0,0-1 0,0 1 15,-13-1-15,13 1 0,-14-1 16,1 1-16,0-1 0,39-52 16,-66 39-16,0 14 15,1-14-15,-1 1 0,-26-1 16,13 0-16,-14 1 0,-12-14 0,0 0 16,-14 13-16,-92-66 15,65 66-15,-12 14 0,-159-27 16,145 40-16,1 13 15,-199 0 1,172 13-16,0 0 0,-1 14 0,28 12 16,-14 1-16,-172 106 15,186-80-15,12 0 0,1 13 16,13-13-16,0 14 0,13-1 0,13-26 16,0 13-16,14-13 0,13 0 15,-1 0-15,14 0 0,14-13 0,-1-1 16,13 1-16,27 0 15,0-14-15,13 1 0,14-14 0,-1 13 0,14-26 16,-1 14-16,1-1 0,-1-13 0,1 0 16</inkml:trace>
  <inkml:trace contextRef="#ctx0" brushRef="#br0" timeOffset="92092">14036 4802 0</inkml:trace>
  <inkml:trace contextRef="#ctx0" brushRef="#br0" timeOffset="92382.13">13944 4339 0,'13'-26'16</inkml:trace>
  <inkml:trace contextRef="#ctx0" brushRef="#br0" timeOffset="92516.01">14301 4233 0,'0'-13'0,"13"26"15</inkml:trace>
  <inkml:trace contextRef="#ctx0" brushRef="#br0" timeOffset="92641.14">14592 4485 0,'0'26'15,"-13"-26"1,13 13-16,0 1 0</inkml:trace>
  <inkml:trace contextRef="#ctx0" brushRef="#br0" timeOffset="92776.92">14698 4749 0,'0'13'0,"-14"1"16</inkml:trace>
  <inkml:trace contextRef="#ctx0" brushRef="#br0" timeOffset="96496.93">4299 6826 0,'27'-13'31,"26"13"-15,-40 0-16,14-13 0,12 13 16,80-13-16,-66-1 15,-13 14-15,13-13 0,0 13 0,-14-13 16,120 0-1,-106 13-15,0-14 0,-13 14 0,-1-13 16,1 13-16,-13 0 0,25-13 16,-38 13-16,12 0 15,1 0-15,-14 0 0,0 0 16,0 0-16,1 0 31,-1-13-31</inkml:trace>
  <inkml:trace contextRef="#ctx0" brushRef="#br0" timeOffset="97135.14">5609 6760 0,'27'0'16,"-14"0"-1,0 0-15,66-13 16,-52 13-16,-1 0 0,1 0 15,13-13-15,-14 13 0,0 0 16</inkml:trace>
  <inkml:trace contextRef="#ctx0" brushRef="#br0" timeOffset="100222.14">1177 5384 0,'-13'-13'15,"0"13"-15,-27 13 16,27-13-16,0 0 0,0 14 16,-1-14-16,-12 0 0,-1 13 15,14-13-15,-13 13 16,12-13-16,1 0 16,0 13-1,0 0 1,13 1-1,0-1 1,0 0-16,0 0 16,0 1-16,13 38 15,-13-25-15,13-1 0,-13 14 0,13-13 16,1 105 0,-14-79-16,13-14 0,-13 1 15,13 92-15,0-92 16,-13 13-16,0 53 15,0-66-15,0-1 0,0 1 16,0 13-16,0-27 0,0 1 16,0 26-1,14-40-15,-14 0 0,0 0 0,0 14 16,0-14 0,0 0-1,26-26 16,-13 0-15,1 0 0,-1 13-16,0 0 0,-13-14 15,13 14-15,27-13 16,-27 13-16,-13-13 0,13 13 16,1 0-16,-1 0 0,0 0 0</inkml:trace>
  <inkml:trace contextRef="#ctx0" brushRef="#br0" timeOffset="103024.81">331 5741 0,'13'-26'15,"0"26"-15,-13-13 16,-13 39 31,0-13-32,13 1-15,-13-1 16,-1 0-16,14 0 16,0 1-1,0-1-15,14-13 16,-1 13-1,0-13 1,13 13-16,-12-13 16,-1 14-1,0-14 1,-13 13 0,0 0-16,0 0 15,-13-13 1,13 13-16,-13-13 0,13 14 15,-14-14 1,1 13 0</inkml:trace>
  <inkml:trace contextRef="#ctx0" brushRef="#br0" timeOffset="103368.77">423 5755 0,'14'26'16,"-1"-13"0,0-13-1,0 0-15,0 0 16,1 0-1,-14-13-15,13 0 16,-13 0 0,-13-1-1,-1 1-15,1 13 16,0-13 0,-13 13-1</inkml:trace>
  <inkml:trace contextRef="#ctx0" brushRef="#br0" timeOffset="103637.68">476 5662 0,'13'0'0,"14"13"31,-14-13-31,0 0 0,1 0 15,-1 0 1,0 0-16,0 0 16,-13-13-1,0 0 1,0 0 0,-13 13-1,0-14 1,0 14-1,-1 0-15</inkml:trace>
  <inkml:trace contextRef="#ctx0" brushRef="#br0" timeOffset="103861">595 5464 0,'14'-27'0,"-1"14"16</inkml:trace>
  <inkml:trace contextRef="#ctx0" brushRef="#br0" timeOffset="104244.93">675 5133 0,'-14'26'15,"14"-12"-15,0 12 16,0-13-16,0 1 16,14-1-16,-14 0 0,0 0 0,13 0 0,0 14 15,14-14 1,-27 0-1,13-13-15,0 0 16,0 0 0,-13-13-1,-13 0 17,0 13-17,0 0 1</inkml:trace>
  <inkml:trace contextRef="#ctx0" brushRef="#br0" timeOffset="104592.98">794 5120 0,'13'13'16,"-13"0"-1,13 0-15,0-13 16,1 14-16,-1-14 0,0 0 16,-13-14-1,13 14 1,1-13-16,-14 0 15,0 0 1,-14-1-16,14 1 16,-26 13-1,26-13-15,-13 13 16</inkml:trace>
  <inkml:trace contextRef="#ctx0" brushRef="#br0" timeOffset="104881.07">1019 4961 0,'0'26'0,"13"-12"16,0-14-1,0 0-15,1 0 32,-1 0-17,-13-14-15,0 1 0,0 0 16,-13-14 0,13 14-16,-27 0 15,14 13 1,0 13-16,-1-13 0,-12 13 15,13 1-15,-1-14 0</inkml:trace>
  <inkml:trace contextRef="#ctx0" brushRef="#br0" timeOffset="105681.31">159 5834 0,'-53'27'0,"40"-27"15,-1 13 1,14 0-16,0 0 16,14-13-16,-14 13 0,0 1 15,39 12 1,-12-13-16,-27 1 0,13-14 16,0 13-1,0 0-15,-13 0 0,14-13 16,-14 13-16,-14 1 15,14-1-15,-13 13 16,0-26-16,13 14 0,-13-14 16,0 13-1,-1-13-15,-12-13 16</inkml:trace>
  <inkml:trace contextRef="#ctx0" brushRef="#br0" timeOffset="105849.91">13 5755 0,'53'106'0,"-26"-40"16,-1-13-16,1-1 0,-14 1 0,0 0 15,13 0-15,-12-13 0,-1 0 0</inkml:trace>
  <inkml:trace contextRef="#ctx0" brushRef="#br0" timeOffset="106825.59">1733 5556 0,'-13'0'0,"39"13"15,1-13-15,-1 0 0,27-13 16,13 13-16,0-13 0,14 0 0,78-14 16,-65 1-16,0 13 15,-1-1-15,1 1 0,185-26 16,-159 25-16,-27 1 16,-12 0-16</inkml:trace>
  <inkml:trace contextRef="#ctx0" brushRef="#br0" timeOffset="107886.29">2103 6919 0,'291'-27'0,"-224"27"0,12-13 15,-13 0-15,14 13 0,-14-13 0,0-1 16</inkml:trace>
  <inkml:trace contextRef="#ctx0" brushRef="#br0" timeOffset="112741.05">17939 476 0,'13'0'0,"-39"0"47,-1 0-32,14 0-15,0 13 0,-1-13 16,1 0-16,0 14 0,0-14 0,-1 13 16,1-13-16,-13 13 0,13 0 0,-14 14 15,1-14-15,12 14 0,-39 25 16,40-25-16,-13-1 0,13 1 16,-14-1-16,14 14 0,0-14 15,-1 1-15,1 13 0,0-1 0,13-12 16,-13-1-16,-1 14 0,14 0 15,0-1-15,0 14 0,0-13 0,0 0 16,0-1-16,0 1 0,0 0 0,14-1 16,-1 41-16,0-54 15,0 1-15,1 12 0,-1-12 0,13-1 16,1 1-16,-1-1 0,1-13 0,-1 14 16,40 12-1,-26-25-15,0 12 0,-1-13 0,1 1 16,0-1-16,13 0 0,-14 0 0,14-13 15,0 14-15,-13-14 0,66 13 16,-53-13-16,-14 0 0,14 0 16,-13 0-16,53-13 0,-54-1 15,1 14-15,0-13 0,-14 0 16,14 0-16,-1-14 0,-12 14 0,13 0 16,-14-1-16,0-12 0,1 13 15,-1-14-15,1 1 0,-1 13 16,1-14-16,-14 1 0,0 13 0,0-14 0,1 1 15,12-14-15,-26 13 16,13 1-16,-13 0 0,14 12 16,-14-12-16,0-1 0,13 1 0,-13-1 15,0 14-15,0-26 0,0 12 16,0 1-16,0 12 0,0-12 16,-13-27-16,13 40 0,0-14 15,-14 1-15,1-14 0,0 14 16,13 12-16,-13 1 0,-1 0 15,1 0-15,0-14 0,13 14 0,-13-13 16,0 12-16,-1 1 0,-12-26 16,26 25-16,-13 1 0,-1 0 15,1 0-15,13-1 0,-13 1 16,0 0-16,-1 0 0,1-1 16,0 1-16,13 0 0,-13 0 15,0 0-15,-1 13 0,1-14 0,0 1 16,0 0-16,-1 13 0,1-13 15,0-1-15,-14 1 0,14 0 0,0 0 16,0 13-16,0-14 16,-1 14-16,1-13 0,0 13 0,13-13 0,-13 13 15,-1-13-15,-12 0 16,13 13-16,0 0 0,-14-14 0,14 14 16,0-13-16,-14 13 0,14 0 15,0-13-15,-14 13 0,14 0 0,0 0 16,0-13-16,-1 13 0,1 0 15,0 0-15,0 0 0,-1-14 0,1 14 16,0 0-16,0 0 0,-14 0 16,14 0-1,0 0-15,0 0 16,-1 0-16,1 0 16,0 14-16,0-14 0,-1 0 15,1 13-15,0-13 16,0 0-16,0 0 0,-1 13 0,1-13 0,0 13 15,-14-13 1,14 0-16,0 14 0,0-14 0,-1 13 16,1-13-16,0 0 0,0 13 0,0-13 15,-1 13-15,1-13 0,0 13 16,0-13-16,-1 14 0,1-14 0,0 13 16,13 0-16,-13-13 0,-1 13 0,14 1 15,-13-1-15,13 0 16,0 0-16,0 1 0</inkml:trace>
  <inkml:trace contextRef="#ctx0" brushRef="#br0" timeOffset="117090.23">18362 767 0</inkml:trace>
  <inkml:trace contextRef="#ctx0" brushRef="#br0" timeOffset="117234.26">18666 900 0,'14'0'0,"-28"0"0,41 13 32,-27 0-32,13 13 15</inkml:trace>
  <inkml:trace contextRef="#ctx0" brushRef="#br0" timeOffset="117356.89">18891 1244 0,'13'13'0,"-26"0"31,0 13-15,0-12-16</inkml:trace>
  <inkml:trace contextRef="#ctx0" brushRef="#br0" timeOffset="117484.88">18759 1535 0,'-40'26'0,"27"-26"0,0 13 16,-14 1-16,14-1 0</inkml:trace>
  <inkml:trace contextRef="#ctx0" brushRef="#br0" timeOffset="117618.11">18336 1746 0,'-40'0'16,"80"0"-16,-93 0 0,26 0 15,14-13-15,-40 0 16,27 13-16,-1 0 0,1-13 0</inkml:trace>
  <inkml:trace contextRef="#ctx0" brushRef="#br0" timeOffset="117752.95">17873 1601 0,'-14'-13'0,"14"-1"0,-13 14 16,13-13-16,-13 0 0,13 0 15,-13 13-15</inkml:trace>
  <inkml:trace contextRef="#ctx0" brushRef="#br0" timeOffset="117881.13">17780 1217 0,'0'-13'0,"0"-14"15,0 67-15,0-93 0,0 40 16,0 0-16,0-1 0,-13-12 15,13 13-15,0 0 0</inkml:trace>
  <inkml:trace contextRef="#ctx0" brushRef="#br0" timeOffset="118012.22">17952 847 0,'26'-40'0,"-12"40"15,12-26-15,-13 26 0,1 0 16</inkml:trace>
  <inkml:trace contextRef="#ctx0" brushRef="#br0" timeOffset="118138.44">18362 781 0,'27'26'15,"-27"0"-15,0 1 16</inkml:trace>
  <inkml:trace contextRef="#ctx0" brushRef="#br0" timeOffset="118276.64">18481 1270 0,'0'0'16,"-13"0"-1</inkml:trace>
  <inkml:trace contextRef="#ctx0" brushRef="#br0" timeOffset="120530.88">20029 463 0,'-13'0'62,"-27"13"-46,27 0-16,0-13 0,-1 27 16,1-14-16,-13 0 15,-1 14-15,1 13 0,-27 12 0,26 1 16,1-13-16,-1 0 0,14 13 0,-13-14 16,13 14-16,-1-26 15,1 12-15,0 1 0,13 13 0,-13-13 16,-1-1-16,14 1 0,0 0 0,0 13 15,14-14-15,-14 1 0,13 0 16,0-1-16,14 28 0,-1-41 16,14 40-16,-14-39 15,1-1-15,52 27 16,-39-27-16,-27-26 16,27 14-16,-14-14 0,14 13 15,-27-26-15,13 13 16,1 0-16,-1-14 0,14 1 15,-14 13-15,27-26 16,-39 13-16,12-1 0,-13 1 0,14 0 16,-14 0-16,0-1 0,0 1 0,14-13 15,-14 13-15,0-14 16,14 1-16,-14-14 16,14 0-16,-27 14 0,13-14 15,0 27 1,0-40-16,-13 40 0,13-14 15,-13 1-15,14-14 0,-14 14 16,13-14-16,-13 13 0,0-12 16,0-1-1,0 27-15,0-40 0,0 40 0,0-1 16,0-12-16,-13 13 16,13-14-16,0 14 0,0-13 0,-14 12 15,14-12-15,0 13 0,-13 0 16,0-27-16,0 13 0,13 1 15,-13 13-15,-14-27 16,14 27-16,-27-14 16,14 1-16,-1 13 0,14-1 15,-27 1-15,1-13 16,25 12-16,-25 1 16,25 0-16,-25 0 0,12 13 15,14-13-15,0 13 16,0 0-16,-40 13 15,39 0-15,-12 0 16,13-13-16,13 13 16,-13 1-16</inkml:trace>
  <inkml:trace contextRef="#ctx0" brushRef="#br0" timeOffset="121534.89">20545 952 0,'-27'0'63,"14"0"-63,-13 14 15,-1-1 1,14-13-16,0 13 0,-27 0 16,27 1-16,0-1 0,-27 13 15,0 1 1,27-14-16,-13 13 0,-14 14 16,27-27-1,-1-13-15,1 14 0,0 12 16,-13-13-16,12 1 15,1-1-15,0 0 16,0 0 0,-1 0-1,14 1 1,14-1 0,-1-13-1,0 13-15,0-13 16,14 0-16,-1 0 0,-13 13 15,14-13-15,-1 0 0,1 0 16,-14 0-16,14 14 16,12-14-16,-26 0 15,1 0-15,-1 0 0,0 0 16,0 0 0,1 0-16,-1 0 15,0 0 1,0 0-1,1-14 1,-1 14-16,0-13 16</inkml:trace>
  <inkml:trace contextRef="#ctx0" brushRef="#br0" timeOffset="122141.88">20532 1151 0,'26'0'16,"-26"-13"-16,27 13 0,-14-14 15,13 1-15,14 0 16,13-13-16,-27 12 0,14 1 16,53-13-16,-67 12 15,40 1-15,-39 13 16,52-13-16,-26 13 15,-40-13-15,14 13 16,-1 13-16,14-13 0,-14 0 16,14 0-1,-14 13-15,-12-13 16,-1 0-16,0 0 16,0 0-1,-13 13-15,14-13 16,-1 0-1</inkml:trace>
  <inkml:trace contextRef="#ctx0" brushRef="#br0" timeOffset="122435.62">21325 860 0,'40'13'31,"-27"-13"-31,27 27 16,0-1-16,-27-13 0,0 0 15,0-13-15,1 14 0,-1-1 16,0 13-1,-13-12-15,0 12 0,-13-13 0,0 14 16,-14-14-16,1 13 16,-14 1-16,0-1 0,1-12 0,-41 25 15,41-25-15,-14-1 16</inkml:trace>
  <inkml:trace contextRef="#ctx0" brushRef="#br0" timeOffset="123298.9">23058 979 0,'-13'26'16,"0"-26"-1,0 27-15,-14-14 0,14 0 16,-40 27-16,27-14 15,-27 14-15,-13 26 16,13-39-16,39-1 16,-25 1-16,26-14 15,-14 0-15,14 0 0,0 1 16,-1-14-16,1 13 0,0 0 16,13 0-1,13 1 1,14-14-16,-14 0 15,0 0-15,27 0 16,13 13-16,-27-13 16,14 0-16,-14 0 0,14 0 0,53 0 15,-67 0-15,14 0 16,13 0-16,13 0 0,0 0 16,-26 0-16,-1 0 15,-12 0-15,-14 0 16,13 0-16,1 0 15,-27-13 1,-13-1 15</inkml:trace>
  <inkml:trace contextRef="#ctx0" brushRef="#br0" timeOffset="123785.51">23072 1005 0,'0'-13'16,"13"26"-16,13 1 16,-12-1-16,-1 0 0,13 0 15,14 27-15,-14-14 16,-12 1-16,25 26 0,-12 13 16,-14-53-16,0 14 15,-13 26-15,0-14 16,-13-12-16,0-1 0,-14 27 15,1-13-15,-14 0 16,14-27-16,-1 13 16,14-13-16</inkml:trace>
  <inkml:trace contextRef="#ctx0" brushRef="#br0" timeOffset="125060.82">22873 2156 0,'-13'27'0,"13"-14"16,0-39 31,0-14-31,13 0-16,-13 14 15,13-1-15,-13 1 0,0-1 16,14-39-16,-14 53 15,0-13-15,0 12 0,13 1 16,-13 0-16,0 0 0,0-1 16,0 1-16,0 0 0,-13 13 15,13-13 1,0-1-16</inkml:trace>
  <inkml:trace contextRef="#ctx0" brushRef="#br0" timeOffset="125251.47">22886 1733 0,'-26'40'16,"13"-27"-16,-14 27 0,14-27 16,0 0-16,-27 40 0,27-27 15,-14-12-15,14 12 0,0-13 16,-27 27-16,27-27 15,0 1-15,13-1 0</inkml:trace>
  <inkml:trace contextRef="#ctx0" brushRef="#br0" timeOffset="125461">22767 1852 0,'27'-26'15,"-14"39"-15,0-13 0,1 13 16,-14 0-16,26 1 16,-13-1-16,0-13 0,-13 13 15,27 0-15,-1 0 16,1 1-16,-14-1 0,0-13 16,14 13-16,-14-13 0</inkml:trace>
  <inkml:trace contextRef="#ctx0" brushRef="#br0" timeOffset="125874.56">23297 2196 0,'-93'0'0,"93"13"15,-13-13-15,0 13 16,13 1-16,0-1 16,13 13-16,0-12 15,-13-1-15,13 0 16,0 0-16,1 14 0,-1-27 15,0 13-15,-13 0 0,13-13 0,-13 13 16,0 1-16,0-1 16,-13 0-16,0-13 15,-27 13-15,27 1 16,-27-14-16,14 0 0,13 0 16,-1 0-16,-39 0 15,40 0-15,0 0 0,0 0 16</inkml:trace>
  <inkml:trace contextRef="#ctx0" brushRef="#br0" timeOffset="127127.31">23469 2262 0,'-14'-13'31,"1"26"-31,0-13 0,-14 0 16,27 13-16,-13-13 0,0 14 15,0-1-15,-1-13 0,1 13 0,13 0 16,-13-13-16,13 14 16,-13-1-16,13 0 0,0 0 15,0 0 1,13-13-1,0 0-15,0-13 16,1 13-16,-14-13 16,13 13-16,-13-13 0,13 13 0,-13-13 15,13 13-15,-13-14 16,14 14 0,-14-13-16,0 40 46,0-14-14,13 0-17,0-13 1,0 0 0,1 0-1,-1 0-15,-13 13 16,13-13-16,0 13 31,0 1-15,-13-1-1,14-13 1,-1-13 15,0 13-31,0 0 16,1 0-1,-1 0-15,0 0 16,0 0 15,1 0-15,-1 0 0,0 13-1,0-13 1,14 0 15,-14 13-15,0-13-1,14 0 1,-27-13-16,13 13 16,0 0-16,-13-13 0,26-1 15,-12 1 1,-14 0-16,13 0 0,0 0 15,-13-1-15,13-25 16,1 25 0,-14 1-16,0 0 0,0 0 15,13 13-15,-13-14 16,0 41 15,0-1-31,-13 1 16,13-1-16,0 1 15,-14 12-15,1 28 0,0-28 16,0 14-16,13-40 16,-14 1-16,14 12 0,0-13 0,-13 1 15,13 12-15,13-52 32,14-27-17,-14 26-15,0 1 0,14-1 16,13-12-16,-14 12 15,0 14-15,1 0 16,-14 13-16,14 0 16,-27 13-1,-14 13-15,1-12 16,0-1-16,-14 13 16,1 1-16,-14-1 15,14-13-15,13-13 31,13-13-31</inkml:trace>
  <inkml:trace contextRef="#ctx0" brushRef="#br0" timeOffset="127523">24143 2103 0,'13'-13'16,"-26"40"-16,13-14 0,0 13 16,-13 14-16,13-14 15,13-12-15,-13 12 16,0-13-16,0 1 0,13 12 0,1 14 16,-1-27-16,0 0 15,0-13 1,14-13-16,-14 0 15,0 13-15,1 0 0,-14-13 16,13 13-16,-13-14 0,0 41 47,13-14-31,-13 0-1,13-13-15,0 0 16,-13 13-16,14-13 0,12 0 15,-13 0-15</inkml:trace>
  <inkml:trace contextRef="#ctx0" brushRef="#br0" timeOffset="127796.87">23151 2646 0,'93'-13'16,"12"-1"-16,-52 14 0,66-13 15,-52 13 1,38-13-16,-52 13 0,40 0 15,-53 0-15,13-13 16,-27 13-16,-13 0 0,14 13 16,-14-13-1</inkml:trace>
  <inkml:trace contextRef="#ctx0" brushRef="#br0" timeOffset="128063.11">23244 2725 0,'119'-13'16,"-80"13"-16,54 0 0,-40 0 16,0 0-16,0-13 0,26 13 15,-13 0-15,-39 0 16,12 0-16,-25 0 0,12 0 15,-13 0-15,14-13 16,-14 13-16,0 0 16,0 0-1,1 0-15</inkml:trace>
  <inkml:trace contextRef="#ctx0" brushRef="#br0" timeOffset="141269.03">3797 8070 0,'-66'0'0,"52"0"16,81 0 15,-15 13-31,1-13 0,0 0 16,13 13-16,14-13 0,79 13 15,-67-13-15,-12 0 0,-1 0 16,0 0-16,1 0 0,39 0 16,-53 0-16,-13 0 0,0 0 15,-14-13-15,1 13 0,0 0 16,-27 0-16,13 0 0,-12-13 0,-1 13 15,13 0-15</inkml:trace>
  <inkml:trace contextRef="#ctx0" brushRef="#br0" timeOffset="141536.96">3651 8334 0,'344'-26'16,"-264"13"-16,-1 13 0,0 0 0,1-14 16,-1 14-16,0 0 0,-12 0 0,-1 0 15,-13 0-15,0 0 16,-14 0-16,1 0 0,-14 0 0,1 14 0,-1-14 15,-12 0-15,-1 0 0,0 13 16,-39 0 0,12-13-16</inkml:trace>
  <inkml:trace contextRef="#ctx0" brushRef="#br0" timeOffset="154219.96">6575 8109 0,'13'-26'0,"0"0"15,-13 12-15,0 1 16,0-13 0,0 12-1,0 1 17,40 13-17,-13 13-15,12-13 0,1 0 0,13 0 16,119 14-1,-106-14-15,0 0 0,-13 0 0,53 13 16,-53-13-16,0 0 16,-14 0-16,-12 0 0,-1 0 0,40 0 15,-52 0-15,12 0 16,-13 0-16,1 0 16,-14-13-1</inkml:trace>
  <inkml:trace contextRef="#ctx0" brushRef="#br0" timeOffset="154502.15">7474 7779 0,'40'13'15,"13"13"1,-26-12-16,-1 12 0,14-13 16,26 40-1,-40-39-15,-12-1 0,12 40 16,-13-40-16,-13 0 0,-13 14 16,13-14-16,-13 13 0,-40 27 15,26-26-15,1-1 16,-14 1-16,14-1 0,-14 0 0,14-12 0,-41 25 15</inkml:trace>
  <inkml:trace contextRef="#ctx0" brushRef="#br0" timeOffset="156110.16">9499 7924 0,'-27'0'109,"14"0"-93,0 14 0,-1-14-16,1 13 15,0 0-15,13 0 0,0 0 16,0 1-16,0-1 16,13 0-16,-13 0 0,13 1 15,1-1-15,-1 0 0,0 0 0,-13 0 16,13-13-16,-13 14 15,14-1-15,-1 13 16,-13-12-16,0-1 16,-13-13-16,13 13 15,-14-13-15,1 13 0,-27 1 16,27-14-16,0 0 16,0 0-1,-1 0-15</inkml:trace>
  <inkml:trace contextRef="#ctx0" brushRef="#br0" timeOffset="156950">9657 8096 0,'-26'-13'16,"13"26"-16,-1 0 0,1 1 31,13-1-31,0 0 16,-13 0-16,26 1 15,0-14 16,1-14-15,-1 1 0,0 13-1,-13-13-15,13 13 32,1 0-17,-1 0-15,0 13 31,0-13-31,0 0 16,-13 13 0,14-13-16,-1 0 15,0 0 1,-13-13 0,13 13-16,-13-13 0,14 13 15,12-27-15,-13 14 0,0 0 16,1 0-16,12-27 15,-26 14 1,13 26-16,-13-14 0,0 1 16,0 0-1,-13 39 1,13-12-16,0-1 16,-13 0-16,13 0 0,0 14 15,0 12-15,0-25 16,-13 25-16,13-25 0,0 12 0,0-13 15,0 1-15,0-1 16,0 0-16,13-53 31,-13 27-31,13-13 16,0 26-16,-13-14 0,14 1 16,-14 0-16,13 13 0,-13-13 0,13 13 15,0-14 1,-13 28-1,0-1 1,-13 0-16,-13 27 16,-1-14-1</inkml:trace>
  <inkml:trace contextRef="#ctx0" brushRef="#br0" timeOffset="157247.07">10054 7911 0,'-26'13'16,"39"14"15,-13-14-31,13-13 0,-13 13 0,13-13 16,1 0-1,-1 0-15,0 0 0,0 0 16,1-13-16,-1 13 31,0 13-15,0-13-16,-13 13 16,13-13-1,1 0-15,-1 0 16,0 0-16,0 0 0</inkml:trace>
  <inkml:trace contextRef="#ctx0" brushRef="#br0" timeOffset="157617.09">10557 7885 0,'26'-14'15,"-12"14"1,-1-13-16,0 13 16,0 0-16,0 0 0,1-13 15,-1 13-15,0 0 16,0-13-16,1 13 0</inkml:trace>
  <inkml:trace contextRef="#ctx0" brushRef="#br0" timeOffset="157844.93">10689 7752 0,'27'14'0,"-14"-14"0,-13 13 16,13-13-16,0 13 16,1 13-16,-1 1 0,-13-14 15,0 14-15,0-14 16,-13 0-16,13 0 16,-14 1-16,14-1 0,-13 0 15</inkml:trace>
  <inkml:trace contextRef="#ctx0" brushRef="#br0" timeOffset="158328.32">11523 7699 0,'-14'0'0,"28"-13"47</inkml:trace>
  <inkml:trace contextRef="#ctx0" brushRef="#br0" timeOffset="158514.95">11695 7633 0,'0'-26'0,"13"26"31</inkml:trace>
  <inkml:trace contextRef="#ctx0" brushRef="#br0" timeOffset="158669.6">11853 7607 0,'14'-13'31,"-28"26"-16,41-13 1,-27 13 0,13 0-16</inkml:trace>
  <inkml:trace contextRef="#ctx0" brushRef="#br0" timeOffset="158802.41">12052 7713 0,'13'13'0,"-26"-26"15,26 39 1,-13-13 0,0 1-1,0-1-15</inkml:trace>
  <inkml:trace contextRef="#ctx0" brushRef="#br0" timeOffset="159064.85">11919 8109 0,'-39'0'15,"26"0"1</inkml:trace>
  <inkml:trace contextRef="#ctx0" brushRef="#br0" timeOffset="159222.9">11708 8123 0,'-13'0'15,"-1"0"-15,1 0 16,53 0-16,-93 0 0,40 0 16,-1-14-1,14 1-15</inkml:trace>
  <inkml:trace contextRef="#ctx0" brushRef="#br0" timeOffset="159371">11549 8017 0,'-26'-13'15,"12"-1"1,14 1-16</inkml:trace>
  <inkml:trace contextRef="#ctx0" brushRef="#br0" timeOffset="159528.1">11470 7699 0,'0'-26'16,"0"13"-1</inkml:trace>
  <inkml:trace contextRef="#ctx0" brushRef="#br0" timeOffset="159644.03">11562 7633 0</inkml:trace>
  <inkml:trace contextRef="#ctx0" brushRef="#br0" timeOffset="162907.12">14354 8017 0,'0'13'16,"13"-39"31,-13 12-31,0 1-16,0 0 0,13-66 15,0 52-15,-13-13 16,0-39-16,0 39 0,0-13 15,0 14-15,0-1 16,-13 0-16,13-26 0,0 40 16,0-27-16,13 26 0,-13 1 15,0-1-15,0 14 16,0-13-16,0 13 0,0-1 16,0 1-16,0 0 15,0 0 1,-13 26 31</inkml:trace>
  <inkml:trace contextRef="#ctx0" brushRef="#br0" timeOffset="163142.91">14380 7197 0,'-26'26'31,"-1"-13"-31,27 1 16,-13-1-16,0 13 0,0-13 0,-1 1 0,-25 39 16,25-40-16,1 13 15,0-12-15,0 12 0,-1-13 16,1 14-16,13-14 0,-13 0 0,0 0 15,13 1-15,-13-1 0,13 0 0</inkml:trace>
  <inkml:trace contextRef="#ctx0" brushRef="#br0" timeOffset="163361.99">14314 7316 0,'13'0'0,"0"0"0,1 0 0,-1 13 16,13-13-1,-26 13-15,14-13 0,12 27 16,14-14-16,-14 13 16,-13-12-16,1-1 15,12 0-15,-13-13 0,1 13 16,-1-13-16</inkml:trace>
  <inkml:trace contextRef="#ctx0" brushRef="#br0" timeOffset="163912.34">14870 7435 0,'-40'53'0,"40"-40"16,-13 0-16,13 0 0,0 1 0,0-1 16,0 0-16,0 0 15,0 1 1,13-28-1,0 14 1,-13-13-16,13 0 0,1 13 16,-1-13-16,-13-1 0,13 14 15,0 0 1,0 0-16,1 0 16,-14 14-16,13 12 15,-13 14 1,13-27-1,0-26 17,1 0-32,-1 13 15,0-14 1,0 1-16,1 13 16,12 0-1,-13 13-15,0-13 16,1 14-1,-1-1-15,13-13 16,-12 13-16,-1-13 16</inkml:trace>
  <inkml:trace contextRef="#ctx0" brushRef="#br0" timeOffset="164541.85">15319 7580 0,'14'-26'16,"-14"13"-1,0-1 1,-14 14 0,1 0-1,0 0-15,13 14 16,-13-1-16,13 0 15,-14 0-15,28 1 16,-14-1 0,13-13-16,0 0 15,0 0-15,27 0 16,-13-13-16,-1 13 16,-13-14-16,0 14 15,14-13 1,-27 0-16,13 13 0,-13-13 15,13-1-15,-26 1 32,0 26-1,0 1-31,-1-1 31,14 0-31,14 0 31,-1-13-15,0 0-16,0-13 16,1 13-1,-1 13-15,0-13 16,0 0 15,1 14-31,-1-14 0,13 0 16,-13 0-1,14-14 1,-14 28 0</inkml:trace>
  <inkml:trace contextRef="#ctx0" brushRef="#br0" timeOffset="164993.13">14473 8321 0,'0'-13'15,"-14"79"-15,14-53 16,-13 80-16,13-67 0,0 14 16,-13-14-16,0 67 15,13-66-15,0-1 16,0-13-16,0 14 0,-13-14 0,13 0 16,0 14-16,0-1 15,0-13-15,-14 1 0,14-1 16,0 0-16</inkml:trace>
  <inkml:trace contextRef="#ctx0" brushRef="#br0" timeOffset="165281.18">14301 8731 0,'-13'27'0,"13"-14"16,0 40 0,0-40-16,0 0 0,13 14 15,-13-14-15,13 13 16,0-12-16,0-1 16,1-13-16,-1 13 0,0-13 15,0-13-15,1 13 16,-1-13-16,0-1 0,0 1 15,0 0-15,1 0 0,-1 0 0,13-1 16,1-12-16,-14 26 0,0-13 16,1-1-16</inkml:trace>
  <inkml:trace contextRef="#ctx0" brushRef="#br0" timeOffset="165999.2">14751 8546 0,'0'40'16,"0"-1"0,0-25-1,0-1-15,13-13 16,-13 13 0,13-26-1,0 0 16,0 13-31,-13-14 0,14 14 16,-1 0-16,0 14 16,0-1-1,1-13 1,-14 13-16,13 0 0,-13 1 16,13-14-1,-13 13-15,26-26 31,-12-1 1,-1 14-32,-13-13 15,13 13 1,0 0-16,1 0 16,-1 13-1,13-13 1,-12 0-16,-1 0 15</inkml:trace>
  <inkml:trace contextRef="#ctx0" brushRef="#br0" timeOffset="166686.6">15200 8652 0,'14'-53'0,"-14"40"15,-14-1 17,1 28-32,0-14 15,-14 26 1,14 1 15,13-14-31,0 0 0,0 0 16,13 1-1,1-14-15,-1 13 16,0-13-16,14-13 16,-14 13-16,0 0 0,0-14 15,0 1-15,14 0 16,-1 0-16,-26-1 15,14 1 1,-14 0 0,-27 26 31,14-13-16,13 13-16,13 1 1,0-14 0,1 0-16,-14 13 15,13-13 1,0 0 0,0 13-1,1-13 1,-1 0-1,0 0 1,0 0 0,-13-13-1,13 13-15,1-13 0</inkml:trace>
  <inkml:trace contextRef="#ctx0" brushRef="#br0" timeOffset="166814.15">15584 8639 0,'0'-27'0,"0"54"0,-13-54 15,13 14 1</inkml:trace>
  <inkml:trace contextRef="#ctx0" brushRef="#br0" timeOffset="176113.85">6535 5305 0,'0'13'0,"13"-39"15,-13-27 1,0 40-16,-13-1 15,13-12-15,0 13 0,0-1 0,0 1 16,0 0-16,0 0 0,0-1 16,-13 1-16,13 0 15,26 39 17,-12 14-17,-1-40-15,-13 13 16,13 1-16,-13-1 0,0 0 15,13-13-15,-13 13 0,0 1 16,0-1-16,-13-13 16,0 0-1,0 0-15,-1-13 0,1 13 16,0-14-16,0 14 0,0-13 16,-1-13-1,1 12-15,13 1 0,0 0 16,13 0-16,-13-1 0,0 1 15,27 0-15,-14 0 16,0 0-16,0 13 16,1 13-1,-14 0 1,-14 0-16,14 0 0,-13 1 16,13 12-16,-13-13 0,0 14 0,0-1 15,-1-12-15,1 12 0,0-13 0,-14 27 16</inkml:trace>
  <inkml:trace contextRef="#ctx0" brushRef="#br0" timeOffset="176850.11">6416 6522 0,'-13'-26'0,"13"12"0,0 1 16,0 0-16,0 0 0,0-1 0,-13-12 15,13 13-15,0-1 0,0 1 16,0 0-16,0 0 0,0 0 16,13 13-16,-13-14 15,13 14-15,0 14 16,1-1-1,-14 0 1,-14 0-16,14 0 0,-13 1 16,0-1-16,0 0 15,-1-13-15,1 0 0,0 13 0,0-13 16,-14 0 0,14 0-16,0 0 0,0-13 0,13 0 15,13 0 16,27 13-15,-27 0-16,0 0 0,0 0 16,0 0-16,-13 13 15,14-13-15,-14 13 16,13 14-16,-26-27 16,13 13-16,0 0 0,-14 14 15,1 12-15</inkml:trace>
  <inkml:trace contextRef="#ctx0" brushRef="#br0" timeOffset="177689.11">6337 7699 0,'0'-13'0,"13"-13"15,-26 26-15,13-40 0,0 27 16,0-14-16,0 1 0,0-27 16,0 26-16,0 14 15,0 0-15,0-13 0,0 12 16,0 1-16,13 13 15,0 13 1,0-13-16,1 14 16,-14-1-16,13 0 15,0 0-15,-13 0 16,0 1 0,-13-1-1,0-13-15,-1 13 16,1-13-16,0-13 15,0 13-15,0-13 16,13-1-16,0 1 16,0 0-1,13 13-15,-13-13 16,13 0-16,0 13 0,0-14 0,1 14 16,-1 0-1,0 14-15,-13-1 16,13-13-16,-13 13 0,0 0 15,0 0-15,-13 1 0,13-1 0,-13 13 16,13-12-16,-13 12 0,-1-13 16,1 27-16,0-27 0,13 0 15,-13 1-15,13-1 0,-13 0 16</inkml:trace>
  <inkml:trace contextRef="#ctx0" brushRef="#br0" timeOffset="187029.22">4538 11060 0,'-14'0'15,"41"0"17,13 0-17,-14 13-15,27-13 0,0 0 16,-14 13-16,14-13 0,-13 0 0,26 0 15,80 13-15,-67-13 16,146 27-16,-146-27 16,1 13-16,-1-13 0,14 13 0,158 14 15,-172-27 1,252 39 0,-251-39-16,-1 14 0,-13-14 15,14 0-15,-28 0 0,28 0 0,-14 0 16,146 0-1,-93 0-15,39 0 16,-105-14-16,0 14 0,0 0 16,-13 0-16,92-13 15,-92 13-15,0 0 0,-14 0 16,0 0-16,14-13 0,-13 13 0,-1 0 16,1 0-16,-1-13 0,27-1 15,-27 14-15,-12-13 16,12 13-16,-13-13 0,0 13 0,1-13 15,-1 13-15,0-14 0,40 1 16,-40 0 0,1 13-16,-1-13 0,0 0 0,0-1 15,14-12 1,-14 13-16,-13-1 0,13-12 16,0 0-16,-13 12 0,14-12 0,-14 13 15,13-14-15,-13 14 0,0-14 16,13 1-16,-13-40 15,13 39-15,-13 1 0,0-1 16,0 14-16,0-13 0,0-1 0,0 1 0,-13 13 16,13-40-1,0 26-15,-13 14 0,13-13 16,0 12-16,0 1 0,-13 0 0,13-14 0,0 14 16,-14-13-16,14 13 15,-13-40 1,13 39-16,0 1 0,-13 0 0,13 0 0,0-1 15,-13-12 1,-1 13 0,14 0-16,0-1 0,-13 14 15,0-13-15,0 0 16,-14 13 0,14-13-16,0 13 15,0 0-15,-1 0 16,-39 0-1,40 0-15,-13 0 0,13 0 0,-1 0 16,-12 0-16,13 0 0,-1 0 0,-12 0 16,13 0-16,-14 0 0,14 0 15,-13 0-15,12 0 0,1-14 16,-13 14-16,12 0 0,-12 0 0,13 0 0,0 0 16,-14 0-16,14 0 0,-14 0 15,14 0-15,-13 0 0,-1 0 16,1 0-16,13 0 0,-14 0 0,1 0 15,-1 0-15,1 0 0,-1 0 16,1 0-16,-1 0 0,-12 0 0,12 0 16,1 0-16,-1 0 0,-12 0 0,12 0 15,1 0-15,-1 0 0,1 0 16,-1 0-16,-12 0 0,12 0 0,1 0 16,-1 0-16,1 0 0,-1 0 0,1 0 15,-1 0-15,1 0 0,-1 0 16,-12 0-16,12 0 0,1 0 0,-40 0 15,39 0-15,-12 14 16,12-14-16,-13 0 0,14 0 0,-14 0 16,1 0-16,-1 13 0,0-13 0,1 0 15,12 0-15,-26 0 0,13 13 16,-12-13-16,25 0 0,-26 0 0,13 0 16,14 0-16,-14 13 0,14-13 15,-14 0-15,14 0 0,-14 0 0,14 0 16,-14 0-16,13 0 0,-12 0 0,-14 0 15,13 0-15,14 0 0,-14 0 16,-13 0-16,13 0 0,-39 0 16,26 0-16,0 0 0,14 14 15,-1-14-15,0 0 0,14 0 0,-14 0 16,-39 13-16,39-13 16,13 0-16,-25 13 0,12-13 0,-26 0 15,26 0-15,0 13 16,1-13-16,12 0 0,-12 0 0,12 13 15,-39-13-15,-13 14 16,39-14-16,0 13 0,14-13 16,-1 0-16,-12 13 0,12-13 15,1 0-15,-14 0 0,14 13 0,-1-13 0,1 0 16,-1 0-16,14 0 0,-14 0 16,1 14-16,13-14 0,-14 0 15,14 0-15,-13 0 0,-1 0 0,14 0 16,0 0-16,-1 13 15,1-13-15,0 0 0,0 0 16,0 0-16,-1 0 16,1 0-16,0 0 31,13 13-31,-13-13 16,13 13-16,0 1 15,0-1-15,0 0 16,13 0-16,-13 14 0,0-1 15,13-13-15,-13 14 0,0-1 16,13 1-16,-13-1 0,14 1 16,-1 39-16,-13-40 0,13 1 15,-13-1-15,13 1 0,-13-14 0,13 13 16,-13 1-16,0-14 0,14 13 16,-14-12-16,13-1 0,-13 13 0,0 1 15,13-14-15,-13 0 16,0 1-16,13-1 15,-13 0-15,14 0 16,-14 0 0,13 1-1,13-1-15,1 0 16,-1-13-16,40 13 16,14 1-16,-27-1 0,0-13 15,-1 0-15,68 0 16,131 0-1,-198-13-15,66 13 16,-66-14-16,53 14 0</inkml:trace>
  <inkml:trace contextRef="#ctx0" brushRef="#br0" timeOffset="210346.07">8176 2394 0,'13'-26'0,"-26"26"63,-1 0-32,1 13-31,0 14 16,0-14-16,-1 0 15,1 0-15,0 14 16,0-1 0,13 1-16,0-14 0,-13 0 15,13 0-15,0 1 0,0-1 16,13 13-1,-13-12-15,13 12 16,-13-13-16,13 14 16,0-14-1,1-13 1,-1 0-16,0 0 16,0-13-16,1 0 15,-1 13-15,0-14 0,0 1 31,1 13-31,-1-13 16,0 13-16,0 0 31,-13-13-15,13 13 0</inkml:trace>
  <inkml:trace contextRef="#ctx0" brushRef="#br0" timeOffset="210742.16">8387 2434 0,'-26'13'0,"26"1"16,-27-1-16,27 0 15,-13 27 1,0-27-16,13 13 16,0-12-16,13-1 15,-13 0 1,27-26 0,-27 0-1,13-1 1,0 1-16,0 0 15,1 0 1,-1 13-16,0 0 16,27 26-1,-27-13 1,0-13 0,-13 14-1,0-1 1</inkml:trace>
  <inkml:trace contextRef="#ctx0" brushRef="#br0" timeOffset="211061.8">8520 2487 0,'13'13'16,"-13"1"-16,13-14 15,-13 13-15,0 0 0,13 0 16,0 0 0,1-26 15,-14 0-16,0 0 17,13-14-32,-13 14 0,13 0 15,0 0 1,1 13-16,-14-14 0</inkml:trace>
  <inkml:trace contextRef="#ctx0" brushRef="#br0" timeOffset="211502">9009 2183 0,'-13'79'16,"13"-26"-16,13-26 0,-13-1 15,0 14-15,13-1 0,-13-12 16,0-1-16,14 1 0,-14-1 0,0-13 16,0 14-16,0-14 0,0 14 0,0-14 15,0 0 1,-14-53 0,14 27-16,0 0 15,0-14-15,0 1 0,0-14 16,0 14-16,14-14 15,-14 27-15,13 0 0,-13-1 0,13 1 16,0 13-16,-13-13 16,13 13-16,14 0 0,-27 13 15,13-13-15,-13 27 16,0-14 0,-13 0-16,13 0 0,-13 1 15,13-1-15,-14-13 0,14 13 16,-13-13-1</inkml:trace>
  <inkml:trace contextRef="#ctx0" brushRef="#br0" timeOffset="211900.9">9155 2315 0,'39'0'15,"-12"0"1,-14 13-16,-13 1 0,13-14 0,-13 13 15,13 0 1,-13 0-16,14-13 0,-14 13 16,0 1-16,13-41 31,0 1-15,0 13-1,1-1 1,-1 1-1,0 0-15,0 13 16,14-13 0,-14 13-16,0 0 15,0 0 1,1 0-16,-1 13 31,-13 0-31,13-13 16,-13 13-16,0 1 15</inkml:trace>
  <inkml:trace contextRef="#ctx0" brushRef="#br0" timeOffset="212020.14">9499 2209 0,'0'-13'0</inkml:trace>
  <inkml:trace contextRef="#ctx0" brushRef="#br0" timeOffset="212486.02">9551 2209 0,'0'13'15,"-13"1"1,13-1-16,0 0 16,0 0-1,13 1-15,-13-1 0,14 0 16,-1-13-16,0 13 16,0-13-16,1-13 15,-1 13-15,-13-13 0,13 13 16,-13-13-16,0-1 15,13 14-15,-13-13 16,-13 26 31,13 1-31,13-1-1,1-13 1,-1 0-16,0 0 15,0 13-15,0-13 16,1 0-16,-1 0 16,0 0-1,-13 13-15,0 1 32,-13-1-17,0-13 1</inkml:trace>
  <inkml:trace contextRef="#ctx0" brushRef="#br0" timeOffset="212797.52">10028 2262 0,'39'-13'0,"-25"0"0,-1 13 16,0 0-16,0 0 15,1-14-15,12 14 16,-13 0-16,0 0 0,1-13 16,-1 0-16,0 13 15</inkml:trace>
  <inkml:trace contextRef="#ctx0" brushRef="#br0" timeOffset="213041.2">10213 2090 0,'13'-13'16,"0"26"-16,1-13 0,-1 13 16,0 1-16,-13-1 0,13-13 15,-13 13-15,14 0 0,-14 1 16,0-1-16,0 0 0,0 0 15,0 0-15,-14 14 16,14-14-16,0 0 16,-13 1-16</inkml:trace>
  <inkml:trace contextRef="#ctx0" brushRef="#br0" timeOffset="213494.23">10623 2024 0,'-26'13'16,"26"1"-16,-14-14 16,14 26-16,-13-26 15,13 13-15,0 0 0,0 1 16,0 12-16,13-13 16,1-13-1,-1 0-15,0 0 0,0 0 0,0 0 16,1-13-16,-1 13 15,-13-13-15,13 13 0,0 0 16,1-13-16,-1 26 31,0-13-31,-13 13 16,13 0-16,-13 1 16,14-1-1,-1 0-15,0-13 16,0 13-16</inkml:trace>
  <inkml:trace contextRef="#ctx0" brushRef="#br0" timeOffset="213651.15">10795 2011 0,'-26'-13'31,"12"13"-31,1 0 16</inkml:trace>
  <inkml:trace contextRef="#ctx0" brushRef="#br0" timeOffset="213858.29">10848 1852 0,'13'66'16,"-13"-39"-1,13-14-15,-13 13 0,14 14 16,-14-13-16,0-1 16,13-13-16,-13 14 15,0-14-15</inkml:trace>
  <inkml:trace contextRef="#ctx0" brushRef="#br0" timeOffset="214354.37">10835 2130 0,'53'0'31,"-40"-13"-31,13 13 16,-12-14-1,-1 14-15,0-13 0,0 13 16,0-13-16,1 13 15,-14-13-15,13 13 32,0 13-32,0 0 15,-13 0 1,14 1-16,-14-1 16,0 0-1,-14 27 1,14-27-16,-13-13 15,0 0 1,-172-66-16,383 119 31,-198-66-31,27-1 0,-14 1 16,13 0 0,-13 0-16,1-1 15,-1 14-15,-13-13 0</inkml:trace>
  <inkml:trace contextRef="#ctx0" brushRef="#br0" timeOffset="-214449.45">8162 2011 0,'40'-27'0,"-27"41"15,1-14-15,-14 13 16,13-13-16,-13 40 0,-13-27 16,13 13-1,0-13-15,-14 1 0,14-1 16,0 0-16,-13-13 16,13 13-16,13-13 15,1 0 1,-1-13-1,0 13-15,13-13 16,-12 0 0,12 13-16,-26-14 15</inkml:trace>
  <inkml:trace contextRef="#ctx0" brushRef="#br0" timeOffset="-214132.57">8321 1839 0,'0'26'16,"13"-12"0,-13 12-1,0-13-15,14 0 16,-14 1-1,-27-120-15,67 212 16,-40-93 0,13-26-1,0 13 1,-13-14 0,27 14-16,-14-13 15,0 13-15,0-13 16</inkml:trace>
  <inkml:trace contextRef="#ctx0" brushRef="#br0" timeOffset="-213843.24">8572 1773 0,'0'-14'16,"27"14"-1,-27 14 1,-27-14-1,41 26 1,-28-13-16,1 1 16,0-1-1,0 13-15,0-12 16,13-1-16,0 0 16,0 0-1,13-13-15,0 0 16,0 0-1,0-13-15,1 13 0,-1 0 0,0 0 16,14 0 0</inkml:trace>
  <inkml:trace contextRef="#ctx0" brushRef="#br0" timeOffset="-213291.49">8943 1654 0,'0'66'15,"0"-53"-15,13 13 0,-13-12 16,0 25-16,13-25 0,-13 12 16,0-13-16,0 1 15,14-1-15,-14 0 16,13-26 0,0 0 15,-13-1-31,13 14 15,1 0-15,-1 14 16,0-14-16,0 13 16,14-13-16,-14 13 15,27-13-15,-27 0 0,0 0 16,0 0-16,1 0 16,-1-13-16</inkml:trace>
  <inkml:trace contextRef="#ctx0" brushRef="#br0" timeOffset="-212893.44">9327 1786 0,'-27'-13'16,"14"13"-16,0 13 15,-1 0 1,81-26 0,-147 39-16,80-12 0,0-1 15,0 0 1,0 0-1,13-13 17,1 0-17,-1 0 1,0 0 0,0 0-1,1 0-15,-1 0 16,0 0 15,0 0 0,0 0 1,14-13-17,-14 13-15</inkml:trace>
  <inkml:trace contextRef="#ctx0" brushRef="#br0" timeOffset="-212440.7">9591 1548 0,'0'26'32,"0"-12"-32,0 12 15,0-13-15,0 0 0,13 1 16,-13-1-16,0 0 15,0 0-15,0 1 16,-13-14-16,13 13 16,-13-13-16,0 13 0,13 0 15,-14-13-15,14 13 0,-26 1 16,26-1-16,-13 0 0,0 0 16,13 14-1,0-14 1,13-13-1,13 13 1,-13-13-16,1-13 0,-1 13 16,0 0-16,0 0 0,1 0 15,-1 0-15</inkml:trace>
  <inkml:trace contextRef="#ctx0" brushRef="#br0" timeOffset="-184953.66">4286 6879 0,'13'0'125,"14"0"-125,-1 0 16,1 0 0,26 0-16,0 0 15,39 0-15,-39 0 16,13 0-16,-26 0 16,0 0-16,-1-13 15,1 13-15,0 0 16,-27 0-16,13 0 15,-12 0-15,25 0 16,-25 0-16,12 0 16,-13 0-1,14 0-15,12 0 0,-12 0 16,-14 0-16,14 0 16,-14 0-16,13 0 15,14 0-15,0 0 16,-14-13-16,27 13 15,0-27-15,0 14 16,-13 0-16,-1 0 16,-12 13-16,-1-14 15,-13 14-15,1 0 63</inkml:trace>
  <inkml:trace contextRef="#ctx0" brushRef="#br0" timeOffset="-173679.31">6416 4260 0,'-13'-13'0,"0"26"0,-1 0 0,1 0 16,0 0-16,0 1 15,0 12-15,-1-13 0,1 14 0,-13 26 16,12-27-16,1-13 0,0 14 15,0 13-15,-1-27 16,14 0-16,-13 14 0,13-14 16,-13 0-16,13 0 0,0 0 15,-13 1-15</inkml:trace>
  <inkml:trace contextRef="#ctx0" brushRef="#br0" timeOffset="-173391.61">6072 4471 0,'-66'120'16,"53"-81"-16,13-26 0,0 14 15,0-14-15,0 0 0,13 14 16,0-1-16,14-13 16,-14 1-16,53-1 15,-53-13-15,14 0 16,26 0-16,13-13 16,-26 13-16,-27 0 15,0 0-15</inkml:trace>
  <inkml:trace contextRef="#ctx0" brushRef="#br0" timeOffset="-167409.68">10663 12197 0,'39'-13'46,"-25"13"-46,-1 0 0,53-13 16,-40 13 0,54-13-16,-27 13 15,-27-14-15,1 14 0,-1-13 16,1 13 0,-14 0-16,13-13 0,-13 13 15</inkml:trace>
  <inkml:trace contextRef="#ctx0" brushRef="#br0" timeOffset="-167125.24">11046 11999 0,'14'0'0,"12"13"16,0 14-1,-12-27-15,25 52 16,-25 1-16,-14-13 16,-14 0-1,-105-265-15,159 556 16</inkml:trace>
  <inkml:trace contextRef="#ctx0" brushRef="#br0" timeOffset="-165366.55">11192 12118 0,'0'26'15,"0"-12"-15,0-1 16,0 0-16,0 0 16,0 1-16,-13 25 15,13-26-15,0 1 0,0-1 16,13-13 0,-13-40 15,0 27-31,-13-13 15,13-1-15,0 14 0,0-14 0,0 14 16,0 0-16,-14 0 0,14-1 16,0 1-16,0 0 0,0 0 15,0 0-15,0-1 0,14 1 16,-1 13 0,0 0-16,0 0 0,14 0 15,-14 0-15,0 0 0,27 13 16,-27-13-16,0 14 15,14-1-15,-14-13 0,0 0 16,1 13-16,-1 0 0,-13 0 16,0 1-1,0-1-15,-13-13 0,-1 13 16,1 0-16,-13 14 0,-14-1 16,27-12-16,-1-1 15,-12 0-15,0 13 0,12 1 16,1-27-16</inkml:trace>
  <inkml:trace contextRef="#ctx0" brushRef="#br0" timeOffset="-164539.93">11734 11814 0,'-13'-14'16,"26"1"-16,1 13 15,-14-13 1,13 13-16,13 0 0,-13 0 15,1 0-15,-1 13 0,0-13 16,-13 13-16,13 1 0,-13-1 16,0 0-16,-13 14 15,13-14-15,-13 0 0,0 13 16,-1-12-16,14-1 0,-13-13 16,0 13-16,13 0 0,-13-13 0,13 14 15,-13-14-15,13 13 16,0 0-1,26-13 1,-13 0-16,0 0 0,1-13 16,25 13-16,-25 0 15,25-13-15,1-1 0,-27 14 16,14-13-16,-14 13 16,0-13-16,0 13 0</inkml:trace>
  <inkml:trace contextRef="#ctx0" brushRef="#br0" timeOffset="-164174.55">12171 11589 0,'-13'0'0,"-1"13"16,1-13-16,0 13 0,13 0 0,-13 1 15,-1 12-15,14-13 0,-13 40 16,0-26-16,13 12 16,0-12-16,0-1 0,0-12 0,13-1 15,-13 0-15,13 13 16,1-12-16,-1-1 16,0 0-16,0-13 0,1-13 31,-28 0-31,1-1 15,0 1 1,0 13-16,13-13 16,-14 13-16,1-13 0,0 13 31</inkml:trace>
  <inkml:trace contextRef="#ctx0" brushRef="#br0" timeOffset="-163827.5">12343 11589 0,'-13'26'16,"13"-13"-1,0 1-15,0-1 0,0 40 16,-14 0-16,14-40 15,0 27-15,0-14 0,0-13 16,0 1-16,0 25 16,0-12-16</inkml:trace>
  <inkml:trace contextRef="#ctx0" brushRef="#br0" timeOffset="-163480.53">12475 11549 0,'13'-13'15,"1"13"-15,12 0 16,14 26 0,-40-12-1,13-1-15,-13 0 0,0 27 16,0-27-16,0 13 0,0 1 16,0-14-16,0 27 15,0-27-15,0 0 0,0 14 16,0-1-16,0-13 15,-13 1-15</inkml:trace>
  <inkml:trace contextRef="#ctx0" brushRef="#br0" timeOffset="-163296.36">12488 11827 0,'27'-40'16,"-1"40"0,1-13-16,-14 13 0,40-13 15,-40 0-15,27-1 16,-27 14-16,0 0 16</inkml:trace>
  <inkml:trace contextRef="#ctx0" brushRef="#br0" timeOffset="-163120.79">12925 11628 0,'0'-13'16</inkml:trace>
  <inkml:trace contextRef="#ctx0" brushRef="#br0" timeOffset="-162773.64">13057 11417 0,'53'0'0,"-40"26"15,1-13-15,-14 1 16,0 12-16,-14-13 16,1 27-16,13-27 0,-13 14 0,13-14 15,-13 13-15,-1-26 16,14 14-16,0-1 15,0 0-15,14-13 32,-1 0-32,0 0 15,0 0-15,14-13 16,-1 0-16,-13 13 16,1-14-16,-1 14 0,-13-13 0,26 13 15</inkml:trace>
  <inkml:trace contextRef="#ctx0" brushRef="#br0" timeOffset="-162297.61">13282 11351 0,'27'0'0,"-14"0"16,-13 13-16,13 0 16,-13 0-16,0 1 0,0-1 15,0 0-15,0 13 16,13-12-16,-13-1 15,13 0-15,-13 0 16,0 1-16,14-1 16,-28 0-16,1 0 15,0 1 1,0-1-16,0 0 0,-1 0 0,-12 0 16</inkml:trace>
  <inkml:trace contextRef="#ctx0" brushRef="#br0" timeOffset="-161578.58">11880 12237 0,'278'-26'0,"-212"12"15,79 1-15,-65 0 16,78 0-16,-78-1 16,65 1-16,-79 0 0,14 0 15,-14 13-15,0-14 0,53-25 16,-79 26-16,52-14 15,-52 14-15,26-27 0,53-52 32,-92 78-32,-1-12 0,14-1 0,0-12 15,-14 12-15,1 1 16,12-27-16,-26 40 16,1-27-16,-1 0 15,-26-13-15,13 14 0,-27-27 16,14 26-16,-27-53 15,1 14-15,12 39 16,-26-39-16,14 52 16,-107-65-16,40 39 15,-79 0 1,66 26-16,53 14 16,-80 0-16,14-13 15,53 26-15,26 0 0,-106 0 16,80 0-16,-80 26 15,93-13-15,-93 14 16,13 12-16,14 14 16,66-26-16,0 12 0,-53 28 15,26 25-15,1-12 16,52-28-16,0 1 0,14-13 16,-27 66-16,26-13 15,14-54-15,0 14 0,13 27 16,13 12-1,-13-52-15,13-1 0,14 14 16,-14 0-16,13-13 0,14 0 0,-13-1 16,-1-12-16,40 26 0,-39-40 15</inkml:trace>
  <inkml:trace contextRef="#ctx0" brushRef="#br0" timeOffset="-161081.54">10716 11060 0,'53'13'0,"-27"0"15,-13 0-15,0 0 0,1 1 16,12-1-16,-13 0 0,27 14 15,-13-1-15,-14 1 16,13-1-16,-13-13 16,-13 0-16</inkml:trace>
  <inkml:trace contextRef="#ctx0" brushRef="#br0" timeOffset="-160851.4">11033 11152 0,'40'53'0,"-27"-26"0,0-1 16,-13-13-16,0 0 15,-26 27 1,-1-13-16,-12-1 15,25-13-15,-12 1 0,13-1 0,-14-13 16</inkml:trace>
  <inkml:trace contextRef="#ctx0" brushRef="#br0" timeOffset="-157843.95">13917 11364 0,'53'-27'16,"-40"27"-16,0 0 0,1-13 0,-1 13 15,0 0-15,14-13 0,-14 13 0,0 0 16,0-13-16,1 13 0,-1 0 15,0-14-15,0 14 0,0 0 16,1 0-16,12-13 0,-13 13 16</inkml:trace>
  <inkml:trace contextRef="#ctx0" brushRef="#br0" timeOffset="-157609.4">14116 11086 0,'105'40'16,"-91"-40"-16,-1 13 0,0 0 15,-13 14-15,13-14 0,-13 0 16,0 0-16,0 14 0,-13 12 15,13-25-15,0-1 0,0 0 0,0 0 16</inkml:trace>
  <inkml:trace contextRef="#ctx0" brushRef="#br0" timeOffset="-156961.33">14803 11033 0,'-13'40'0,"13"-27"15,-13 0-15,13 40 0,0-40 0,0 14 16,0-1-16,0 1 0,0-14 16,0 13-16,0 1 0,0-14 15,0 0-15,0 1 0,0-1 16,0 0-16,0-39 31,0 12-15,13 1-16,-13-13 0,0 12 15,13 1-15,-13-13 0,14 13 0,-14-1 16,13 1-16,0 0 0,-13 0 0,40-14 16,-14 40 15,-13-13-31,-13 14 16,0-1-1,0 0-15,0 0 0,-13-13 16,13 14-16,-13-1 0,0-13 0,13 13 15,-13-13-15,-1 0 0,14 13 0,-13-13 16,0 0-16,0 0 16</inkml:trace>
  <inkml:trace contextRef="#ctx0" brushRef="#br0" timeOffset="-156791">15028 11126 0,'-13'53'0,"13"-40"16,-13 0-16,13 0 0,0 1 16</inkml:trace>
  <inkml:trace contextRef="#ctx0" brushRef="#br0" timeOffset="-156051.48">15174 11086 0,'-27'40'0,"27"-27"16,0 13-16,0-12 15,0-1-15,14 0 16,-14 0-16,13-13 0,-13 14 16,13-14-16,0 13 0,1-13 15,-1 13-15,0-13 0,0-13 0,0 13 16,1-13-16,-1-1 15,0 1-15,-13 0 0,13 0 16,-13-1-16,14 1 0,-14 0 0,13 0 16,-13-1-16,0 1 0,0 0 15,0 0-15,0 0 0,0-1 0,0 1 0,0 0 16,0 0-16,0-1 16,0 1-16,0 0 15,13 0-15,0 13 0,-13-13 16,14 13-16,-1 0 15,13 0-15,-13 13 16,-13 0-16,14-13 16,-14 13-16,-14 14 15,1-1 1,0-13-16,13 1 0,-13-1 0,0 0 16,13 0-16,-14 0 15,14 1 1,14-1-1,-1-13-15,13 13 16,-13-13 0,1 0-16,-1 0 0,13 0 15,-12 0-15,-1 13 16,0-13-16</inkml:trace>
  <inkml:trace contextRef="#ctx0" brushRef="#br0" timeOffset="-155277.67">15729 11007 0,'-13'13'16,"0"0"-16,13 0 16,0 1-16,13-1 15,-13 0-15,13 0 16,1-13-1,12-13 1,-13 13 0,-13-13-16,14 13 15,-1 0 1,-13 13 0,0 0-16,13-13 15,-13 13 1,13-26-1,1-13 1,-1 13-16,-13-1 0,13 1 16,0 0-16,-13-14 0,13 14 0,1 0 15,-1-13-15,0 12 16,0 14 0,-13 14-1,0-1-15,0 0 0,0 13 0,0-12 0,0 12 16,-13 1-16,13-1 15,-13 0-15,0 14 0,13 0 16,-14-14-16,14-12 0,-13-1 16,13 0-16,0 0 15,13-39 1,14-40 0,-14 39-1,0 14-15,1 0 0,-1-1 0,0 1 16,0 0-16,1 13 15,-14 13 17,-27 27-17,27-27-15,-13 0 0,0-13 16,-1 14-16,1-1 0,0-13 0,0 13 16,-1-13-16,1 0 0,-13 0 15,13 0-15</inkml:trace>
  <inkml:trace contextRef="#ctx0" brushRef="#br0" timeOffset="-155107.45">15081 10848 0</inkml:trace>
  <inkml:trace contextRef="#ctx0" brushRef="#br0" timeOffset="-154618.27">15055 11496 0,'159'-13'16,"-67"0"-16,-52-1 16,13 14-16,-14-13 0,14 13 0,-13 0 0,26-13 15,-39 13-15,26 0 16,-40 0-16,13 0 0,-13 0 15</inkml:trace>
  <inkml:trace contextRef="#ctx0" brushRef="#br0" timeOffset="-154433.74">15068 11602 0,'53'0'0,"106"-26"15,-120 26-15,14-14 0,13 1 16,-26 0-16</inkml:trace>
  <inkml:trace contextRef="#ctx0" brushRef="#br0" timeOffset="-150202.61">6601 4815 0,'27'0'78,"-1"0"-63,54 27 1,-41-27 0,-25 0-1,-1 13 63,0 0-62,0 14 0,-13 26-1,0 26-15,0-13 16,0 14-16,0 12 16,0-12-16,0 105 15,0-106 1,0 120-1,0-94-15,0-12 16,0 0-16,0 12 16,0 1-16,0-26 15,0-1-15,0-13 16,0 14-16,0-14 16,0-27-16,0 14 15,0-13-15,0 0 16,0 26-16,0 26 15,0-25-15,0 12 16,0 27-16,0-27 16,0 106-1,0-132-15,0 0 16,0 0 0,0-13-16,0 26 15,0-40-15,0-12 16,0 12-1,0-13-15,0 1 16,0-1 0,-13 13-16,13 1 15,0-14 1,0 13-16,-26 14 16,26-13-16,0-1 15,-14-13-15,14 14 16,0-1-16,0-13 15,0 1 1,0-1 78,-39-13-79,-27 0-15,13 0 16,-106 0 0,13 0-1,-12 0 1,52 0 0,92 0-1</inkml:trace>
  <inkml:trace contextRef="#ctx0" brushRef="#br0" timeOffset="-140078.7">5940 8348 0,'0'105'0,"0"-78"0,-13-1 0,13 1 16,0-1-16,13 27 16,-13-26-16,0 12 0,0-12 0</inkml:trace>
  <inkml:trace contextRef="#ctx0" brushRef="#br0" timeOffset="-139768.14">6032 8440 0,'0'0'0,"-13"13"0,-26 14 16,12-14-16,1 14 0,-1-14 16,1 13-16,-1 1 0,-12-14 0,12 13 15,-13 1-15,27-14 16,0 0-16,0-13 0,0 0 15,13-26 1,13-14 0,0 27-16,0 13 15,0-13-15,1-1 0,-1 14 16,0 0-16,0 0 0,1 0 0,12-13 16,-13 26-16,27-13 15,-27 0-15,14 0 0,-14 0 0</inkml:trace>
  <inkml:trace contextRef="#ctx0" brushRef="#br0" timeOffset="-136781.39">6945 5173 0,'133'-40'0,"-94"27"16,-12-1-16,12 1 0,1 0 0,0 13 0,-14-13 16,1 0-16,-1 13 0,1-14 15</inkml:trace>
  <inkml:trace contextRef="#ctx0" brushRef="#br0" timeOffset="-136577.72">7422 4921 0,'79'40'16,"-79"-27"-16,13 0 0,-13 1 15,0-1-15,0 40 0,-13-27 16,0 1-16,-14 12 0,-12 1 16,-1-13-16,-13 12 0,13-12 15,-13-1-15</inkml:trace>
  <inkml:trace contextRef="#ctx0" brushRef="#br0" timeOffset="-112323.61">2222 8096 0,'67'-13'31,"-41"13"-31,106-13 16,-79 13-16,0-13 15,40 13-15,-53-14 0,-1 14 0,14-13 16,-26 13 0,-14 0-16,0 0 0,0 0 0,1 0 15</inkml:trace>
  <inkml:trace contextRef="#ctx0" brushRef="#br0" timeOffset="-112173.49">2302 8348 0,'-53'53'15,"66"-40"1,40-13-16,-13 0 16,-1 0-16,1 0 15,26 0-15,-13-13 0,13-1 0,1 14 0,-1-26 16,0 13-16,-13-14 0,0 1 16</inkml:trace>
</inkml:ink>
</file>

<file path=ppt/ink/ink10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50:24.935"/>
    </inkml:context>
    <inkml:brush xml:id="br0">
      <inkml:brushProperty name="width" value="0.05292" units="cm"/>
      <inkml:brushProperty name="height" value="0.05292" units="cm"/>
      <inkml:brushProperty name="color" value="#0070C0"/>
    </inkml:brush>
  </inkml:definitions>
  <inkml:trace contextRef="#ctx0" brushRef="#br0">2196 2778 0,'13'0'62,"-13"119"-46,13 53 0,14-53-1,-14-13-15,-13-27 16,0 40-16,13-39 15,-13 26-15,14-14 16,25 27-16,-39-52 16,0 171-1,0-106-15,0-13 16,27 27-16,-14-14 16,-13 40-1,0-93 1,0-13-16,0 40 15,0-40-15,0 27 0,0 0 16,26 92 0,-26-119-1,0 106 1,0-80-16,0 14 16,0-26-16,0-14 15,0 26-15,0-25 16,0 25-16,0 1 15,0 26-15,0 0 16,0 13-16,0 0 16,0 120-1,0-133-15,0 13 16,0-52-16,0 12 16,0-26-16,0 120 15,0 12 16,0-79-31,0 93 16,0-120-16,0 27 16,0 27-16,0-27 15,0-26-15,0 79 32,0-93-32,0-26 0,0 0 15,0 0-15,-13 132 31,13-119-31,0 40 16,-13-14-16,13-12 16,0-1-16,-13 1 15,0 25 1,13-25-16,0-27 16,0 0-16,0 39 15,0-39-15,0 40 16,0 13-16,0-1 15,0 14-15,0-26 16,0 13-16,0-40 16,0 27-16,0 52 15,0-79 1,0-13-16,0-13 16,0 0-16,0-27 15,0 0 1,26-13 203,40-26-204</inkml:trace>
  <inkml:trace contextRef="#ctx0" brushRef="#br0" timeOffset="1700.14">11007 2725 0,'0'53'78,"0"172"-62,0-53-16,0 225 15,0-185 1,-27 65-1,1-12-15,26-14 16,0 1-16,0-54 0,0 14 16,0-27-16,0-13 15,0-27-15,-13 160 32,13-133-32,0-27 0,0-26 15,0-13-15,0 106 16,0-106-1,0 39 1,0-52 0,0-27-16,0 26 15,0-12-15,0-1 16,0-13-16,0 40 16,13 13-16,13 106 15,1-119 1,-1-13-16,-26-1 15,27 1-15,-27 105 16,39-92 0,-26 13-1,1-13-15,-1 26 0,13 1 16,-26 25-16,0-12 16,0 13-1,0-14-15,0 146 16,0-185-16,0 0 15,0-40 1,0 13-16,0 1 0,0-54 16,0 54-1,0-28 1,0-25-16,0 13 16,0-1-16,-13 1 15,13-27 1,0 0-16,0 1 15,0-1 1,0 13 0,0 14-1,0-27 1,0 27 0,0-27-16,0 14 15,-13-1 1</inkml:trace>
  <inkml:trace contextRef="#ctx0" brushRef="#br0" timeOffset="3915.74">5622 2328 0,'80'0'78,"105"-39"-62,-66 25-16,106 1 15,-106-27 1,13 27 0,-52 0-16,-41 13 15</inkml:trace>
  <inkml:trace contextRef="#ctx0" brushRef="#br0" timeOffset="4436.82">5675 2394 0,'14'0'31,"158"0"-15,-40 0-1,172 0 1,-158 0 0,-1 0-16,-26-26 0,-26 13 15,-27 0-15,-53 13 16</inkml:trace>
  <inkml:trace contextRef="#ctx0" brushRef="#br0" timeOffset="7771.75">952 3149 0,'0'13'78,"53"-13"-62,93 13-16,-1 0 16,-12 0-16,-1 27 15,14-13-15,-41-27 16,107 13 0,-172-13-16,-1 0 15,-12 0 1,-14 0 15,0-13-15,-13-1 15,0-12 0,27-40 0,-27 13-31,0-66 16,0 26 0,0 54-1,0-28-15,-13 28 0,13 12 16,-14-26 0,14 40-16,0 0 15,0 0 188,-13-1-171,0 14-32,-14 0 15,14 0-15,-13-26 0,-1 26 16,-26-13-1,27 13-15,-27-14 16,13-12-16,-26 13 16,13 13-1,0-13-15,14-14 0,-14 27 16,13-13-16,0 13 16,27 0-16,-53 0 15,40-13 1,-54 13-1,54 0-15,-27 0 16,13 0-16,-13 0 16,0 0-16,-26 0 15,26 0 1,40 0-16,-14 0 16,14 0-1,-13 0-15,12 0 16,1 0-16,0 13 15,0-13 1,-1 13 47,1 27-48,13-14 1,-13-13-16,13 27 15,0 13-15,-13 0 16,13-13-16,0-1 16,0 14-16,0-26 15,0 12 1,0-25-16,0 12 31,0-13-15,0 14-1,0-14 1,0 13 0,0-12-1,0 12 1,0 1 0,0-1-16,0-13 0,0 14 15,0 12 1,0-25-16,0 25 15,0-25-15,0-1 407,13-13-376,0 0-31,0 0 0,14 0 16,-14 0-1,14 0-15,-1 0 0,0-13 16,-12-1-16,12 14 15,-13 0 1</inkml:trace>
  <inkml:trace contextRef="#ctx0" brushRef="#br0" timeOffset="11860.97">9538 11695 0,'13'0'62,"14"0"-46,26 0-16,0-14 15,26 1-15,0 13 16,-12-26 0,-41 26-16,14 0 0,-1 0 15,1 0-15,-13 0 16,12 0-16,-12 0 15,12 0-15,1-14 16,53 1 0,-40 13-16,-14-13 15,-25 13-15,25-13 16,-25 13 0,12-13-1,-13 13 1,14 0-1,-14-27 1,0 27 15,14-13-15,-14 13 0,0 0-16,0 0 15,0-13 1,14 13-1,-27-14 1,0 1-16,13-13 16,-13 12-1,13-25-15,-13-1 0,0 0 16,0 1-16,0 12 16,0-12-16,0-1 15,0 13-15,0 1 16,0-1-1,0 1-15,0 13 16,0 0-16,0-14 16,-13-13-1,13 27 1,0 0-16,0 0 31,0 0-15,0-1-1,0 1 1,-13 0 93,-27 13-93,1 0 0,-1 0-1,-39 0-15,-54 0 0,14 0 16,13 0 0,-39 0-16,12 0 0,-12 0 15,26 0-15,13 0 16,13 0-1,27 0-15,13 0 0,-13 0 16,27-27 0,-1 27-16,27 0 0,-14 0 15,14 0 1,-13 0-16,12 0 31,-12 0-31,13 0 16,-1 0-16,1 0 15,13 14 79,0 91-78,0-12-1,0 0-15,13 12 16,27-25 0,-40-27-16,27 26 0,-1-39 15,-26-27-15,13 14 16,-13-14 93,27-13-93,12 0 0,28 13-16,12-13 15,27 26-15,-14-26 16,14 0-1,-13 0-15,-27 0 0,40 0 16,-67 0-16,-25 0 16,-1 0 15</inkml:trace>
  <inkml:trace contextRef="#ctx0" brushRef="#br0" timeOffset="13933.63">9366 4882 0,'13'13'62,"27"0"-46,0-13 0,52 0-1,28 26-15,-1-12 0,13-14 16,27 0-16,-27 0 16,0 0-16,-26 0 15,-13 0-15,-40 0 16,-14 0-16,-26 0 15,14 0 1,-14 0-16,0-14 16,-13-12-1,0-14 1,0 27-16,14 0 0,-14 0 16,13-1 15,0 1-31,-13-13 15,0 12-15,0-12 0,0 0 16,0-14 0,0 0-16,0 1 15,0-28 1,0 28-16,0-1 16,0 14-16,0-1 15,0 14-15,0-14 16,0 14-16,0 0 15,0 0 95,-13 13-95,0 0-15,-14 0 16,-13 0 0,-12 0-1,-1 0-15,-40 0 0,-13 0 16,-13 0 0,0 0-16,-13 0 0,13 0 15,13 0-15,13 0 16,40 0-1,14 0-15,-1-14 16,27 14 0,0-13-16,-1 13 31,1 0-15,-13 0-16,12 0 15,-12 0-15,-1 0 16,1 0-16,13 0 15,0 0-15,13 13 63,-27 27-47,27 0-16,-13 26 15,13 80 1,-27-41-16,14-25 15,13-14-15,0-13 16,0-14 0</inkml:trace>
  <inkml:trace contextRef="#ctx0" brushRef="#br0" timeOffset="15413.48">9512 6628 0,'39'0'47,"81"0"-31,-1 0-16,39 0 15,1 0 1,0 0-16,0 0 0,-54 0 15,1 0-15,-26 0 16,-41 0 0,-25 0-16,-1 0 15,13-13 63,-26-14-62,0 1 0,0-14-16,13 14 15,-13-27-15,0 0 16,0-40-16,0 27 16,0-27-16,0 1 15,0-14 1,-26 13-16,13 27 0,13 13 15,-13-13-15,13 40 16,0-1 0,-14 27 109,1 0-110,-13 0 1,-67 0 0,-13 0-1,-39 0-15,-14 0 0,-13 0 16,13 0-16,14 0 15,12 0-15,1 0 16,66 0-16,-13 0 16,-1 0-1,27 13-15,27-13 0,13 0 16,-27 14 0,27-1-16,-1-13 15,1 26 79,13 14-78,-13 53-1,13 52 1,0-26-1,0 0-15,0 14 0,0-54 16,0-26-16,13 13 16</inkml:trace>
  <inkml:trace contextRef="#ctx0" brushRef="#br0" timeOffset="17868.91">9472 8149 0,'40'0'16,"-80"0"-16,146 13 0,-13-13 0,12 14 16,-12-14-16,26 0 15,0 0-15,-40 0 16,27 0 0,-40 0-16,-13 0 0,-13 0 15,-27 0-15,1 0 141,12-14-126,14 1 1,-14-13-16,27-1 16,-27 1-16,27-27 15,-39 40-15,25-40 16,-25 40-16,-1-14 16,13 14-16,-13-14 15,-13 1-15,14-14 16,12 14-16,-26-1 15,27-39-15,-1 26 16,-26 14-16,0 0 16,0-14-16,13 13 15,-13 1 1,0 13 109,-13-1-109,-13 14-16,-27 0 15,-13-13-15,-54 0 16,-51 0-16,-1 0 15,13-14-15,-13 27 16,-13 0-16,13 0 16,26 0-1,14 0-15,26 0 0,0 0 16,53 0-16,0 0 16,27 0-1,13 0-15</inkml:trace>
  <inkml:trace contextRef="#ctx0" brushRef="#br0" timeOffset="22851.38">2500 2646 0,'80'-53'0,"-67"53"0,0 0 16,14-13-1,-1 26-15,-13-13 16,14 40 0,-14-27-16,-13 0 15,13 14-15,-13-14 0,13 13 0,-13 1 16,0-1-16,0 1 0,0-1 0,0 1 15,0 12-15,0-12 0,0 12 16,-13-12-16,13-1 0,0 1 16,0-1-16,0 1 0,-13 12 0,13-12 0,0 26 15,0-27 1,-13 14-16,13-14 0,0 1 0,0 12 0,0 1 16,0-13-16,-13-1 0,13 14 15,0-1-15,0 1 0,0-13 16,0-1-16,0 14 0,0-1 0,0 1 15,-14 0-15,14-1 0,0 1 0,0 0 16,0 13-16,14 26 16,-14-39-16,0 0 0,13-1 0,-13 1 15,0 0-15,13-1 0,-13 1 0,13 0 16,-13-1-16,13 1 0,1 0 16,-14-1-16,13 1 0,0 0 0,0-14 15,1 14-15,-1 0 0,0-14 0,0 14 16,1-14-16,-1 14 0,13 26 15,-13-40-15,1 1 16,-1-1-16,13 1 0,-12-1 0,-1-12 16,0 12-16,0-13 0,0 0 0,14 14 15,-14-14-15,0 0 16,1-13-16,-1 14 0,0-14 0,0 0 16,1 0-16,-1 0 0,0 0 0,0-14 15,0 14-15,1-13 16,-1 13-16,0-13 0,0 0 15,-26 39 17,-13 27-17,12-13 1,-12-14-16,13 14 0,0-14 16,-1 14-16,-12 13 0,13 0 15,-1 0-15,1 0 0,0 0 0,0 0 0,13 13 16,-14-13-16,14 13 0,0 0 15,0 0-15,0-13 0,0 13 0,14 0 16,-1 0-16,-13 14 0,13-14 0,0 0 16,1 0-16,-14 14 0,13-1 0,0-13 15,0 13-15,1 1 16,-1-14-16,0 27 0,0-14 0,0 0 16,-13 1-16,14-1 0,-1 0 0,0 27 15,0-26-15,1-1 0,-1 14 16,0 13-16,0-1 0,1 1 0,-1-13 15,-13-1-15,13-12 0,0 26 0,0-14 16,1 14-16,-1-27 0,0 27 16,14 0-16,-14 0 0,0-13 0,0 12 15,0-25-15,1 26 0,-1-27 0,-13 27 16,13-14-16,-13-12 0,13 105 16,-13-106-16,-13 14 0,13 13 15,-13 0-15,0-1 0,-1 1 16,-12-13-16,0-1 0,-1 1 0,1 13 15,-1-14-15,1 1 0,-14-14 16,0 14-16,1 0 0,12-14 0,-26 0 16,27-12-16,-1-1 0,-12 0 0,-41 40 15,54-53-15,-14 0 16,1-14-16,12 1 0</inkml:trace>
  <inkml:trace contextRef="#ctx0" brushRef="#br0" timeOffset="24504.99">11205 2606 0,'79'-26'0,"-52"26"15,-14 13-15,0-13 0,1 0 0,12 13 16,-13 0-16,14 1 0,26 25 16,-40-12-16,13-1 0,-12 1 0,12-1 15,-13 1-15,1 12 0,-14 1 16,13 0-16,-13-1 0,0 107 15,-13-80-15,13-13 16,-14 13-16,1 0 0,0-13 16,0 13-16,-1 0 0,1 1 0,0-15 15,-27 94-15,27-80 0,0 0 16,-14 0-16,14 1 0,-13-1 16,-1 13-16,14-13 0,-14 0 0,14 14 15,-26 65-15,-1 1 16,27-67-16,-1 1 0,14-1 15,-13 0-15,0-13 0,13 14 0,-13-1 16,13 1-16,0 78 0,13-92 16,-13 14-16,13-1 0,-13 1 15,13-1-15,1-13 0,12 13 16,-13-12-16,14-1 0,12 66 16,1-79-16,13 66 0,-13-66 15,-14 0-15,14-13 0,0 13 16,13-14-16,-14-12 0,1 12 15,39 1-15,-39-14 0,39 1 16,-52-27-16,-1 0 16,1 0-16,-1 0 0,1 0 0,-14 0 0,13 0 15,1-13-15,-14-1 16,0 14-16,-13-13 16,0 0-16,-13 0 15,0 13 1,0 0-16,-14 13 15,14 0-15,0 0 0,-1 1 0,-12 12 16,-1 1-16,1-1 0,0 14 0,-1 13 16,1-14-16,-1 14 0,1 13 15,13-13-15,-14 13 0,1-13 0,12 14 16,-12 65-16,13-66 16,-1 13-16,14-12 0,-13-1 0,13 13 15,0 0-15,13 1 0,-13-1 16,14 67-16,-1-67 0,0 0 15,0 1-15,1-1 0,12 27 0,-13-27 16,1 1-16,-1-1 0,13 14 16,-13-14-16,1 27 0,12 53 15,-13-67-15,-13-12 0,14-1 0,-1 14 16,-13-1-16,13-12 0,-13 92 16,0 13-16,0-93 15,0 1-15,0-14 0,-13 40 0,13-39 16,-13 26-16,13-14 15,-14 14-15,1-27 0,0 27 0,0-26 16,-14 12-16,14-12 0,-13 12 0,-1-12 0,-13 52 16,14-66-16,-53 80 15,39-80-15,0-13 16,0 0-16,-12 0 0,12-14 0,-66 41 16,53-41-16,-13-12 0,13-1 15</inkml:trace>
  <inkml:trace contextRef="#ctx0" brushRef="#br0" timeOffset="28263.58">15319 4035 0,'-13'0'0,"0"-13"16,-14 13 0,14 0-16,0 0 0,-13 0 0,12 0 15,1 0-15,-13 0 0,-1 0 16,-13 0-16,14 0 0,-27 0 0,0 0 15,0 0-15,-13 0 0,13 0 0,-26 0 16,-1 0-16,1 0 16,0 0-16,-1 0 0,1 0 0,-14 0 15,-79-14-15,93 14 0,-14 0 16,14-13-16,-14 13 0,14 0 16,0 0-16,-1-13 0,-145 0 15,172 13-15,27 0 16,-67-13-1,67 13-15,0 0 0,12-14 0,-39 14 16,40 0-16,0 0 16,-14 0-1,27-13-15,-13 13 16,0 13 0</inkml:trace>
  <inkml:trace contextRef="#ctx0" brushRef="#br0" timeOffset="28871.49">13176 3784 0,'13'-14'0,"-26"14"16,0 0-1,-27 14 1,27-14-16,-13 0 0,12 13 0,1-13 16,-53 13-1,53 0-15,0-13 0,-14 13 16,14-13-16,0 0 0,-1 14 0,1-14 16,0 13-16,0-13 0,0 0 15,13 13-15,-14-13 0,1 0 0,13 13 16,-13-13-16,0 14 15,-1-1 1,14 13 0,0-12-1,14 12 1,-1-13-16,-13 0 0,13 1 16,0-1-16,-13 0 0,14 0 0,-1 1 15,-13-1-15,13 0 0,0 0 16,0 1-16,-13-1 0,14 0 0,-1 0 15,-13 0-15,13 1 0,0-1 16,-13 0-16,14 0 16,-14 1-16,0-1 15,-14 13 1</inkml:trace>
  <inkml:trace contextRef="#ctx0" brushRef="#br0" timeOffset="29716.17">16153 4313 0,'53'-14'31,"-27"14"-31,-13 0 16,27 0-16,0 0 0,13-13 15,0 13-15,-14 0 0,14 0 0,0 0 16,0 0-16,-13 0 0,13 0 0,0 0 16,0 13-16,-1-13 0,15 0 15,-15 0-15,1 0 0,0 14 0</inkml:trace>
  <inkml:trace contextRef="#ctx0" brushRef="#br0" timeOffset="30494.59">18680 4207 0,'66'0'15,"-40"0"-15,80 0 0,-53 0 16,26 0-16,1 0 0,-14 0 0,13 0 15,1 0-15,-1 13 0,0-13 0,-13 0 16,1 13-16,-14-13 16,-1 0-16,-12 0 0,0 0 0,-14 14 15,14-14-15,-14 0 0,-12 0 0,12 0 16,1 0-16,-14 0 0,13 13 16,-13-13-16,1 0 0,-1 0 15,0 0-15,0 0 0,1 0 16,-1 0-16,0 0 15,0 13 1,1-13 0</inkml:trace>
  <inkml:trace contextRef="#ctx0" brushRef="#br0" timeOffset="32262.81">17661 5040 0,'-13'14'16,"-1"25"-1,14-12-15,0-14 0,-13 13 16,13 1-16,0 26 16,13-27-16,-13 1 0,27 26 15,-14-40-15,0 0 0,1 0 16,39-13-1,-40 0-15,0-13 0,0 0 16,14-14-16,-27 14 16,13-13-16,0 12 0,-13-12 15,0 0-15,0 12 0,0-12 0,0 13 0,0-14 16,-13 14-16,13 0 0,-13-1 16,13-12-16,-14 13 0,14 0 15,-13-1-15,13 1 0,0 0 16,13 13 15,1 0-31,12 13 0,-13 0 0,1 1 0,12 12 16,1-13-16,12 40 0,-12-26 15,-14-1-15,13 14 0,-26-27 0,14 13 16,-1 1-16,-13-14 0,0 14 16,13-14-16,-13 0 0,0 0 15,0 14-15,0-14 16,0 0-16,-13-13 0,26-13 31,27-53-15,-27 26-16,13 14 0,1-14 15,-1 0-15,1 14 0,12-1 16,-12-12-16,52-27 0,-39 39 16,-27 14-16,14 0 0,-14 13 15,0-14-15,0 14 0,1-13 0</inkml:trace>
  <inkml:trace contextRef="#ctx0" brushRef="#br0" timeOffset="33349.87">14671 6628 0,'-13'0'16,"-14"-13"0,14 13-16,0 0 15,0 0-15,-67-14 16,41 14-16,-14 0 0,13 0 0,-13 0 15,-13 0-15,13 0 0,0 0 16,0 0-16,0 0 0,0 0 16,1 0-16,-1 14 0,0-14 0,0 0 0,0 0 15,0 0-15,0 0 0,0 0 16,13 0-16,-12 0 0,12 0 16,0 0-16,14 0 0,-1 0 0,1 0 0,-1 0 15,1 0-15,13 0 16,-1 0-16,1 0 0,0 0 0,0 0 0,-1 0 15,1 0-15,0-14 16,0 14 0,0 0-16,-1 0 15</inkml:trace>
  <inkml:trace contextRef="#ctx0" brushRef="#br0" timeOffset="33942.83">13375 6403 0,'-53'0'15,"13"13"-15,27-13 0,-14 13 0,1-13 0,-40 27 16,39-14-16,-12 0 16,12 1-16,1-1 0,-1-13 0,1 13 15,-1-13-15,14 13 0,0-13 16,0 13-16,-1-13 0,-12 14 15,26-1-15,-13-13 0,13 13 0,-13-13 16,13 13-16,0 14 16,13-14-16,-13 0 0,13 1 15,0-1-15,0 13 0,1-13 16,-1 1-16,13 12 0,-12-13 0,12 14 16,-13-14-16,14 13 0,39 27 15,-53-39-15,14-1 16,-14-13-16,26 40 15,-25-27-15,-1 0 0,40 13 16,-40-12-16,0-14 16,14 13-16</inkml:trace>
  <inkml:trace contextRef="#ctx0" brushRef="#br0" timeOffset="34840.76">15888 6906 0,'-13'0'0,"53"0"31,-14 0-31,106-14 16,-79 14-1,27 0-15,-1 0 0,93-13 16,-79 13-16,-14 0 0,27 0 15,-13 0-15,-1 0 0,1 0 0,-1 0 16,1 0-16,0 0 0,-1 0 16,80 13-16,-93-13 0,-12 0 15,-1 0-15,-13 0 0,0 0 0,0 14 16,-14-14-16,-12 0 0,-1 0 16,1 0-16,-14 0 0,0 0 15,0 0-15,1 0 0,-1 0 0,0 0 0,13 0 16,-12 0-1,25 13 1,-25-13-16,-1 0 16,13 0-16,-13 13 0,14-13 15,13 0-15,-14 13 0</inkml:trace>
  <inkml:trace contextRef="#ctx0" brushRef="#br0" timeOffset="36982.92">21683 6879 0,'39'0'0,"-25"0"0,12 0 0,0 0 15,1 0-15,13 0 0,-1 13 0,14-13 16,0 0-16,0 0 0,0 14 0,13-14 16,0 13-16,0-13 0,-13 0 15,13 0-15,-13 13 0,0-13 16,0 0-16,0 0 0,0 13 0,0-13 16,53 0-16,-67 0 15,1 0-15,-13 0 0,12 0 0,-12 0 16,-1 0-16,14 0 0,-27 0 0,14 0 15,-1 0-15,1 0 0,-14 0 16,0 0-16,13 0 0,-12 0 0,-1-13 16,0 13-16,0 0 0,1 0 15,-1-13-15,0 13 16,0 0 0,0 0-16,1-13 15,-1-1 1,0 1-16,0 0 15,1 0 1,-14-1-16,13 1 16,0-13-16,0 13 0,1-14 0,-14 14 15,13-14-15,0-12 0,0 12 16,0-12-16,1 12 0,12-52 16,-13 52-16,1-12 0,-14-1 0,13 0 15,0 1-15,0 12 0,-13-13 16,14 1-16,-1 12 0,0-12 0,0 12 15,0 1-15,1 12 0,-14-12 0,13-1 16,0 14-16,-13 0 0,13 0 16,-13 0-16,14-1 0,-14 1 15,13 0-15,-13 0 0,13-1 16,-13 1-16,0 0 31,0 0-15,-13 13-16,0 0 0,-1 0 15,-25-13 1,25 13-16,1 0 0,0 0 16,-13 0-16,12-14 0,1 14 0,-13 0 15,-1 0-15,14-13 16,-14 13-16,1 0 0,0 0 0,-27-13 16,26 13-16,-13-13 0,-12 13 15,12-14-15,0 14 0,-13-13 16,14 13-16,-14-13 0,13 13 0,-53-13 15,54 13-15,-1-14 0,-13 14 16,13 0-16,1 0 0,-14-13 16,0 13-16,13 0 0,-13 0 0,14 0 15,12 0-15,-13 0 0,14 0 0,-14 0 16,14 0-16,-1 0 16,1 0-16,-1 0 0,1 0 0,0 0 15,-1 0-15,14 0 0,-14 0 0,14 0 16,-13 0-16,12 0 0,1 0 0,0 0 15,0 0-15,0 13 0,-1-13 16,1 0-16,0 0 0,0 0 16,-1 0-16,1 0 15,0 0 1,0 14-16,0-14 16,13 13-1,-14-13-15,1 0 16,0 13-1,0 0 1,-1-13 0,14 14-16,-13-14 0,0 26 15,13-13-15,-13-13 16,13 14-16,-14-1 0,1 0 16,13 0-16,-13 0 0,0 14 15,13-14-15,-13 0 0,13 1 16,-14-1-16,14 0 0,-13 13 0,13-12 15,-13 12-15,13 1 0,-13-1 16,13-13-16,-14 14 0,14-1 0,-13-13 16,0 14-16,13-1 0,-13 1 15,13-14-15,-14 14 0,14-1 0,0 0 16,-13-12-16,13 12 0,-13-13 16,13 14-16,-13-14 0,13 14 0,-13-1 15,13-13-15,-14 0 0,14 14 16,-13-14-16,13 14 0,-13-14 0,13 0 15,0 0-15,-13 1 0,13-1 0,0 0 16,0 0-16,-14-13 0,14 13 16,0 1-16,0-1 15,-13 0-15,13 0 32,-13-13 61,13 14-77,13-1 0,0-13-1,1 13-15,-1 0 16,0-13-16,0 13 15,1-13-15,-1 0 0,13 14 0,-13-14 16,1 0-16,12 0 0,-13 13 0,14-13 16,-14 0-16,14 0 0,12 13 15,-26-13-15,1 0 16,-1 0-16,0 13 0,0-13 0</inkml:trace>
  <inkml:trace contextRef="#ctx0" brushRef="#br0" timeOffset="39643.66">22318 7051 0</inkml:trace>
  <inkml:trace contextRef="#ctx0" brushRef="#br0" timeOffset="40694.91">18256 6892 0,'66'0'15,"-39"0"-15,-1 0 0,27 0 0,0 0 16,53 0-16,39 0 16,-65 0-16,12 0 0,1 14 0,0-14 15,-1 0-15,14 13 0,0-13 0,13 0 16,-13 13-16,0-13 0,0 0 16,13 13-16,-14-13 0,1 0 15,-13 14-15,-1-14 0,1 13 0,0-13 16,-14 0-16,40 13 15,-66-13-15,0 13 0,-27-13 0,1 0 16,-14 0-16,0 0 0,1 0 0,-14 13 16</inkml:trace>
  <inkml:trace contextRef="#ctx0" brushRef="#br0" timeOffset="41074.94">19010 6972 0,'133'13'0,"-67"-13"0,0 13 0,27-13 16,-1 0-16,107 13 15,-107 1-15,40-14 0,1 13 0,-14-13 16,13 13-16,-39-13 0,13 13 0,-14 1 16,-12-14-16,-1 13 0,0-13 15,1 13-15,-27-13 0,-1 0 0,-12 13 16,0-13-16,-14 0 0,1 14 16,-14-14-16,0 0 0,0 0 0,1 0 15,-1 0-15,0 0 0,0 13 16,1-13-16,-1 0 15,0 0 1</inkml:trace>
  <inkml:trace contextRef="#ctx0" brushRef="#br0" timeOffset="42248.4">22251 7078 0,'-13'13'16,"13"0"-1,0 0-15,0 1 0,-13-1 0,-13 53 16,12-26-16,1-1 16,0-12-16,-14 26 0,1-14 15,-14 14-15,14-13 0,-14 13 0,0-13 16,-12 12-16,12-12 0,0 13 15,-13-13-15,0-1 0,0 14 0,-13-13 16,0 0-16,-13-1 0,-1 14 16,-12-13-16,-1 0 0,1-1 0,-1 1 15,-13 0-15,-13-1 0,0 1 16,0 0-16,0-14 0,-13 14 0,-14-14 16,14 1-16,-14-1 0,1 1 0,-14-1 15,0 1-15,14-1 0,-14-13 16,0 14-16,0-14 0,1 14 15,-14-14-15,13 13 0,0-13 0,-13 14 0,13-14 16,-13 0-16,0 14 0,14-14 16,-14 14-16,13-14 0,-13 0 15,0 13-15,13-12 0,-13-1 0,14 13 16,12-12-16,-13-1 0,14 0 16,-1 0-16,14 1 0,0-1 0,-1 0 15,-52 13-15,93-26 0,-1 14 0,14-14 16,-1 13-16,14-13 15,13 0-15,0 0 0,-26 13 16,52-13-16,1 0 0,13 0 0,0 0 16,-1 0-16,1 0 0,0 0 15,13-13 1,0 0 0,0-1-16</inkml:trace>
  <inkml:trace contextRef="#ctx0" brushRef="#br0" timeOffset="42612.93">14433 8678 0,'-53'53'0,"27"-40"15,-1 1-15,14 12 0,-13 1 0,-1-1 16,1-13-16,-1 14 0,1-1 0,12 1 16,-12-1-16,13 1 0,0-14 15,-1 13-15,1-12 0,13-1 0,-13 26 16,13-25-16,-13-1 0,13 0 15,13 0-15,-13 1 16,0-1-16,13 0 0,0-13 0,-13 13 16,40 14-16,-27-27 0,14 13 0,-14 0 15,13-13-15,1 0 0,-1 13 16,14-13-16,0 0 0,-1 14 16,14-14-16</inkml:trace>
  <inkml:trace contextRef="#ctx0" brushRef="#br0" timeOffset="43346.89">17608 9393 0,'-79'-14'0,"65"14"0,1 0 0,-13 14 0,12-14 16,1 0-16,0 13 0,0-13 15,0 13-15,13 0 16,0 1-16,0-1 0,0 0 15,13 0-15,0 1 0,0-1 0,0 0 16,14 13-16,-1-12 0,1-1 0,-1 0 16,1 14-16,-1-14 0,-13-13 15,1 13-15,-1 0 0,0-13 16,0 14-16,1-14 0,-14 13 0,0 0 16,0 0-16,-14 0 15,1 1-15,0-14 0,-14 13 0,14-13 16,-13 13-16,-1-13 0,14 0 15,-27 13-15,14-13 16,13 0-16,-1 0 0,1 0 0,0 0 16,0 0-16,0-13 0</inkml:trace>
  <inkml:trace contextRef="#ctx0" brushRef="#br0" timeOffset="44091.95">17952 9485 0,'-13'0'0,"0"0"16,-1 0-16,14 14 0,-13-14 15,0 13-15,13 0 0,-13 0 16,13 0-16,-14-13 0,14 14 0,0-1 16,0 0-16,0 0 15,0 1-15,0-1 0,14-13 16,-14 13-16,13-13 16,0 0-16,0 0 15,1-13-15,-1 0 16,0-1-1,0 1-15,-13 0 16,13 13-16,-13-13 0,0-1 16,14 1-1,-14 26 32,0 1-31,13-14-16,-13 13 15,13 0 1,0-13 0,14 0-1,-14 13 1,0-13 0,1 0-1,-1 14 16,0-14 1,13-14-17,-12 14 1,-1 0 0,0 0-1,0 0 1,14 0-1,-14 0-15,0 0 16,0 0 0,-13-13-1</inkml:trace>
  <inkml:trace contextRef="#ctx0" brushRef="#br0" timeOffset="44505.76">18349 9340 0,'0'26'0,"-13"-13"16,13 1-16,13 12 0,-13 1 16,0-1-16,0 1 0,0 12 15,0 94-15,0-107 0,-13 0 16,13 1-16,0-1 15,0 1-15,-14-1 0,14 1 0,0-14 16,-13 27-16,0-40 16,13 13-16,-13-40 15,26 14 1,-13-13-16,13-1 0,0-12 0,14-1 16,-14 0-16,0 1 0,14 12 15,-14 1-15,13-1 0,-12 14 0,-1 0 16,0 13-16,0-14 0,1 14 15,-14 14 1,0-1-16,0 0 0,-14 0 16,1 14-16,-13-1 0,12-12 15,-12 12-15,13-13 0,0 14 0,-1-14 16,1 0-16,0-13 0,0 13 16</inkml:trace>
  <inkml:trace contextRef="#ctx0" brushRef="#br0" timeOffset="44812.04">18693 9287 0,'-13'26'16,"-1"14"-1,14-27-15,0 0 0,0 14 16,0-1-16,0-12 15,14-1-15,-14 0 0,13-13 16,0 13-16,0-26 16,0 13-16,1 0 31,-1 0-15,-13 13-16,13 1 15,0-1 1,27-13-1,-27 0 1,1 0-16,-1 0 0,0 0 16</inkml:trace>
  <inkml:trace contextRef="#ctx0" brushRef="#br0" timeOffset="45391.94">19368 9221 0,'-40'13'15,"27"13"1,13-12-16,0-1 31,13 0-31,13-26 16,1 0-1,-14-1 1,0 14-16,0 14 16,14 25-1,-27-25 1,0 12-16,13 0 0,-13 1 16,0 13-16,0-1 0,0-12 0,0-1 15,-13 1-15,13-1 0,0 1 16,0-1-16,-13-13 0,13 1 0,0-1 15,0 0-15,-14-13 0,14 13 0,-13-13 16,13-26 0,0 13-16,0-1 0,13-12 15,1 13-15,-1-27 0,0 13 0,0 1 16,14 0-16,-1-1 0,-13 1 16,14-1-16,-1 14 0,-12 13 0,12-13 15,-13-1-15,14 1 16,-14 13-16</inkml:trace>
  <inkml:trace contextRef="#ctx0" brushRef="#br0" timeOffset="46248.13">20333 9538 0,'13'-66'15,"-13"53"-15,14-14 0,-14 1 16,26-40-16,-26 39 0,13-12 16,1-1-16,-1 0 0,13-13 15,-26 40-15,14-13 0,-14 12 16,13 1-16,-13 0 0,0 0 15,13 39 1,-13-13 0,0 1-16,0 12 0,0-13 15,0 14-15,0-14 0,0 14 0,0-14 16,13 26-16,0-25 0,-13-1 16,14 0-1,-1-13-15,0 0 0,14 0 16,-27-13-16,13 13 0,0-13 15,0-40-15,14-13 16,-27 39-16,13 1 0,0-27 16,0 40-16,-13-14 15,14 14-15,-14 0 16,0-1-16,0 54 31,-14-27-15,14 27-1,0-27-15,0 0 16,0 14 0,0-14-16,0 0 0,14 14 15,-1-14 17,0 14-17,0-27-15,1 13 16,-1 0-16,0-13 15,0 0 1,-13 13-16,13-13 0,1 0 16,-1 0-16,-13-13 15,13 13-15,0 0 16,1 0-16,-14-13 0,13 13 0,0 0 31,0 0 0,-13 13-15,14-13 0,-1 0-1</inkml:trace>
  <inkml:trace contextRef="#ctx0" brushRef="#br0" timeOffset="46463.32">20174 9208 0,'27'-14'15,"-1"14"-15,80-26 16,-40 13-1,-26 13-15,-13 0 16,25-14-16,-25 14 0,-1 0 16,1 0-16,-1 0 0,14 0 15,-14 0-15</inkml:trace>
  <inkml:trace contextRef="#ctx0" brushRef="#br0" timeOffset="47171.06">21696 8890 0,'-40'13'0,"14"-13"16,-1 27-16,1-1 0,-1 1 16,1-14-16,13 13 0,-14 14 15,14 0-15,13-27 0,-13 0 16,13 0-16,13 1 15,-13-1-15,13 0 0,0 0 16,1 1-16,-1-14 0,13 13 0,-12-13 0,12 0 16,0 0-16,1 0 15,-1 0-15,1-13 0,-1-1 0,14 1 16,-27 0-16,0 0 0,1 13 16,-1-14-16,-13 1 0,0 0 15,-13 0 1,-1 13-16,1 0 15,0 0-15,39 13 47,14 13-31,-27-26 0,1 14-16,-1-1 0,0 0 15,0 0 1,-13 1-1,14-28 17,-1 14-17,-13-13-15,13 0 0,0 0 16,0-1-16,1 14 0,-1-13 16,-13 0-16,26 0 0,-12-1 15,-1 14-15,0 0 0,0 0 16,-13-13-16,27 13 15,-14 0-15,0 0 16</inkml:trace>
  <inkml:trace contextRef="#ctx0" brushRef="#br0" timeOffset="47405.06">22225 8983 0,'-13'39'15,"13"-25"1,0-1-16,0 0 0,0 13 16,0-12-16,0-1 15,0 0-15,0 0 0,-13 1 16,-1 12-16,1-13 16,0-13-16,0 14 15,13-1-15</inkml:trace>
  <inkml:trace contextRef="#ctx0" brushRef="#br0" timeOffset="47678.62">22648 9075 0,'14'13'16,"-28"1"-16,14-1 16,0 0-16,0 0 0,-13 1 15,13-1-15,-13 0 0,13 0 16,-13 1-16,-1-14 15</inkml:trace>
  <inkml:trace contextRef="#ctx0" brushRef="#br0" timeOffset="47819.6">22688 8903 0,'-13'0'16</inkml:trace>
  <inkml:trace contextRef="#ctx0" brushRef="#br0" timeOffset="48076.87">22767 9088 0,'0'0'16,"14"14"-16,-14-1 47,13-13-31,0-13-16,0 13 15,1 0-15,-1 0 16,0 0-16,0 0 15,0 0 1,-13 13-16,0 0 16,0 0-16</inkml:trace>
  <inkml:trace contextRef="#ctx0" brushRef="#br0" timeOffset="48628.69">20823 10266 0,'0'13'16,"0"0"-16,0 1 15,0-1-15,0 0 0,0 27 16,0-27 0,0 0-16,13-13 31,0-13-31,0 13 16,-13-13-16,14 13 0,-1-14 0,-13 1 15,13 13-15,0-13 16,1 13-1,-1 13-15,0 0 16,0-13-16,-13 14 16,13-14-16,-13 13 0,14-13 15,-1 0-15,0 13 16,14-13-16,-14 0 16,0 0-16,0 0 15</inkml:trace>
  <inkml:trace contextRef="#ctx0" brushRef="#br0" timeOffset="49176.87">21127 10425 0,'13'-53'0,"0"39"15,-13 1-15,14 0 16,-14 0-16,0 0 15,13 13 1,-40 13 15,27 0-31,0 0 16,-13 0-16,26 1 16,1-1-1,12-26 16,-13-1-31,1 14 16,-1-13-16,0 13 31,0 13-31,-13 1 32,0-1-32,13-13 0,-13 13 15,14-13-15,-1 0 16,0 0 15,-13 13-31,13-13 31,14-13-15,-14 0-16,0 0 31,1-1-31,-14 1 16,13 13-1,-13-13 1,13 13-16</inkml:trace>
  <inkml:trace contextRef="#ctx0" brushRef="#br0" timeOffset="49927.47">21471 10358 0,'13'27'0,"0"-14"16,1-13-16,-1 0 15,0 0 1,0-13 0,1 13-16,-14-13 15,13 13-15,-13-14 16,13 1-1,0 13-15,0-13 0</inkml:trace>
  <inkml:trace contextRef="#ctx0" brushRef="#br0" timeOffset="50599.92">21855 10213 0,'13'13'0,"-13"0"16,13-13 0,0 0-1,1 0-15,25 0 32,-26 14-32,14-1 15,-27 0-15,13 0 16,-13 1-16,0-1 15,0 13-15,-13 14 16,0-14-16,-14 1 0,14-14 16,0 0-1,-14 1-15,14-14 16,13-14 0,13 1-16,-13 0 15,27-14-15,-14 14 0,0 0 16,0 0-16,14-14 0,-14 27 15,14-26-15,-14 13 16,0-1-16,0 14 16,-13-13-1,13 26 1,-13 1 0,14-1 15,12-26 0,-26-1-31,13 14 16,-13-13-16,14 13 0,-1-13 15,0 0 1,0 26 31,1-26 0,-14-1-32,13 1-15,-13 0 16,13 13-16</inkml:trace>
  <inkml:trace contextRef="#ctx0" brushRef="#br0" timeOffset="50759.25">22410 9988 0,'0'-13'0,"-13"52"15,0-25-15,13-1 0,-13 13 16,52-105-16,-92 172 0,27-27 16,13-40-16,13-13 15,0 1-15</inkml:trace>
  <inkml:trace contextRef="#ctx0" brushRef="#br0" timeOffset="51010.09">22569 10067 0,'-53'14'15,"13"12"1,27-13-16,0 1 15,-14-1-15,173-93 0,-318 186 16,172-93-16,13 1 31,27-14-15,-27 0-16,27 0 16,-1 0-16,-12-14 0,-1 14 15</inkml:trace>
  <inkml:trace contextRef="#ctx0" brushRef="#br0" timeOffset="51427.63">22939 10014 0,'-39'27'0,"25"-14"15,1 0 1,13 1-16,0-1 15,0 0-15,13-13 16,1 0-16,-1 0 16,13 0-1,-12 0-15,-1 0 16,0 13 0,-13 1-1,0-1 1,0 0-1,0 0 1</inkml:trace>
  <inkml:trace contextRef="#ctx0" brushRef="#br0" timeOffset="51573.68">23019 9948 0,'-13'-13'16,"-1"13"-16</inkml:trace>
  <inkml:trace contextRef="#ctx0" brushRef="#br0" timeOffset="52100.14">23138 9922 0,'26'53'0,"-26"-14"15,0-12 1,0 13 0,-13-27-16,13 13 15,27-39 32,-14 13-47,-13-13 16,26 0-1,-13 13 17,1 0-32,-1 0 15,0 0-15,0-14 31,1 14-31,-1 0 16,0 14-16,0-1 16,-13 0 15,0 14-31,-13-14 16,13 0-16,-13 0 15,39-39 16,-13 13-31,-13-14 0,106-66 16,-13 1 0,0 26-1,-41 26 1,-38 27-16</inkml:trace>
  <inkml:trace contextRef="#ctx0" brushRef="#br0" timeOffset="54835.96">16854 728 0,'-13'79'15,"13"-39"-15,0-14 16,0 1-16,0-14 15,0 13-15,0-13 16,0 14-16</inkml:trace>
  <inkml:trace contextRef="#ctx0" brushRef="#br0" timeOffset="55165.66">16801 542 0,'27'27'31,"-14"-27"-31,13 26 16,27 14-1,-26-14-15,25 27 0,15 14 16,-54-54 0,0 0-16,14 27 0,-27-27 15,13 27-15,-13-1 16,-13-26-16,-14 40 16,1-13-16,-27 13 15,26-13-15,-12-14 0,-28 27 16,15-13-16,25-14 15,14-13-15</inkml:trace>
  <inkml:trace contextRef="#ctx0" brushRef="#br0" timeOffset="57627.68">17793 741 0,'-13'-13'0,"0"13"15,-14 13-15,-12 0 16,25-13-16,1 13 15,-13 1-15,12-1 16,14 0 0,0 0-16,0 0 15,14 14-15,25-1 16,-25-12-16,-1-14 0,0 13 16,14 0-16,-14 0 15,0 0-15,0-13 0,-13 14 31,-13-1-31,0-13 16,-27 13 0,14 0-16,12-13 0,1 0 15,-13 14 1,12-14-16,1 0 16</inkml:trace>
  <inkml:trace contextRef="#ctx0" brushRef="#br0" timeOffset="58456.81">18045 833 0,'-14'0'0,"-12"14"31,13-14-31,-1 13 0,-12 27 31,13-27-31,13 0 16,-13 0-16,13 0 15,0 1-15,0-1 16,13-13 0,0 0-16,0 0 15,0 0-15,1-13 16,-1 13-16,-13-14 0,13 14 15,0-13 1,-13 0-16,14 13 16,-14-13-1,0 26 63,13 0-62,-13 0 15,13-13-15,0 0 0,1 0-16,-1 0 15,0 0 1,0 0-1,0 0 17,1 0-1,-1 0-15,0 0-16,0 0 31,1 0-16,-1 0-15,0 0 16,0 0 0</inkml:trace>
  <inkml:trace contextRef="#ctx0" brushRef="#br0" timeOffset="58895.26">18349 794 0,'0'13'31,"0"0"-31,-13 14 16,13-1-16,0-13 0,-14 40 15,1-40-15,13 1 0,-13 12 16,13 1-16,-13 26 0,13-40 15,-14 26-15,14-25 16,0-1-16,-13 0 16,13 0-1,13-39 1,1-1 0,12-12-16,-13 26 15,1-1-15,12-12 0,1 13 16,-14-1-16,0 14 15,0-13 1,-13 26 0,0 14-16,-13-14 15,0 0 1,0 1-16,13-1 16,-14 0-16</inkml:trace>
  <inkml:trace contextRef="#ctx0" brushRef="#br0" timeOffset="59243.4">18587 833 0,'-13'-13'0,"0"53"16,-1-27-1,14 14-15,0-1 16,0-13-16,14 0 16,12-13-1,-13 0 1,0 0-16,1 0 16,-1 0 15,0 0-16,-13 14-15,13-14 16,-13 13 0,14-13-16,-1 0 31,13 0-31,-13 0 16</inkml:trace>
  <inkml:trace contextRef="#ctx0" brushRef="#br0" timeOffset="59780.65">19090 847 0,'-14'0'16,"14"13"-16,0 0 15,0 0-15,0 1 16,0-1-16,0 0 31,0 0-15,14-39-1,-1 26 1,0 0-16,0-13 16,1 13-1,-1 0 1,0 0 0,0 13-16,1-13 15,-1 0 16,0 0-15,0-13 15,0 13-15,1 0 0,12 0-1,-13 0-15,1 0 16,-1 13-16</inkml:trace>
  <inkml:trace contextRef="#ctx0" brushRef="#br0" timeOffset="60195.6">19447 913 0,'13'-13'15,"0"-1"1,-13 1 15,-13 40 16,13-14-16,13-13-15,1 0 0,-1 0-1,0 0 1,0 0 0,0 0-1,14 0 16,-14 0-31,0 0 16,-13-13-16,14 13 16</inkml:trace>
  <inkml:trace contextRef="#ctx0" brushRef="#br0" timeOffset="60968.97">20174 675 0,'-13'39'15,"13"-12"-15,0-14 0,-13 27 16,13-14 0,0-13-16,0 14 0,-13-14 15,13 0-15,0 1 16</inkml:trace>
  <inkml:trace contextRef="#ctx0" brushRef="#br0" timeOffset="61206.07">20280 635 0,'0'26'16,"0"-52"-1,0 66-15,-13-1 16,13 14-1,0-26-15,-13-14 16,13 13-16,0-12 16,0-1-16</inkml:trace>
  <inkml:trace contextRef="#ctx0" brushRef="#br0" timeOffset="61400.19">20082 820 0,'0'-13'0,"13"0"15,14 13 1,-1-13-16,14 13 16,-27 0-16,-132 39 0,278-78 15,-146 25-15,0 14 0,14 0 16</inkml:trace>
  <inkml:trace contextRef="#ctx0" brushRef="#br0" timeOffset="61552.11">20122 847 0,'26'-14'15,"0"14"1,-12 0-16</inkml:trace>
  <inkml:trace contextRef="#ctx0" brushRef="#br0" timeOffset="61769.93">20558 595 0,'-13'40'31,"0"-27"-31,13 0 0,-14 14 16,1 13-16,0-14 16,13-13-16,0 1 0,0-1 15,0 13 1</inkml:trace>
  <inkml:trace contextRef="#ctx0" brushRef="#br0" timeOffset="62635.81">20915 847 0,'0'26'16,"-13"-13"-1,0 1-15,13-1 0,-13 0 16,-1 0-16,1 0 16,13 1-16,-13-1 15</inkml:trace>
  <inkml:trace contextRef="#ctx0" brushRef="#br0" timeOffset="62870.03">21458 622 0,'-14'53'32,"1"-27"-17,0-13-15,0 14 0,0-1 16,13-12-16,-14 12 16,14-13-16,-13-13 0</inkml:trace>
  <inkml:trace contextRef="#ctx0" brushRef="#br0" timeOffset="63082.03">21590 622 0,'13'-13'0,"-26"26"16,13 0-1,0 13 1,-13-12-16,13-1 15,0 0-15,-27 27 16,14-14-16,13-12 16,-13-1-16,13 0 15</inkml:trace>
  <inkml:trace contextRef="#ctx0" brushRef="#br0" timeOffset="63276.92">21272 781 0,'14'-14'16,"-1"14"0,27 0-16,-27 0 15,13-13-15,14 13 16,-14-13-16,27 13 15</inkml:trace>
  <inkml:trace contextRef="#ctx0" brushRef="#br0" timeOffset="63616.68">21418 807 0,'66'0'0,"-53"0"16,27 0-16,-27-13 16,27 13-16</inkml:trace>
  <inkml:trace contextRef="#ctx0" brushRef="#br0" timeOffset="63938.93">21947 609 0,'27'39'16,"-80"27"0,26-52-16,14-1 0,-27 27 15,27-27 1,0-13-16,13 13 0,0 0 16,13-13-1,0 0 1,54 0-1,-28-13-15,-12 13 16,-14 0-16,40-13 0,-40 13 16</inkml:trace>
  <inkml:trace contextRef="#ctx0" brushRef="#br0" timeOffset="64162.87">22397 781 0,'-53'79'16,"-26"-13"-16,13-40 15</inkml:trace>
  <inkml:trace contextRef="#ctx0" brushRef="#br0" timeOffset="64600.31">23323 609 0,'-13'39'15,"0"-12"-15,-1-1 16,14-13-16,-26 54 16,13-41-16,-1-13 15,14 14-15,-13-1 16</inkml:trace>
  <inkml:trace contextRef="#ctx0" brushRef="#br0" timeOffset="64786.73">23416 661 0,'0'-13'0,"0"40"15,0-14 1,0 13-16,-14 27 16,14-26-1,14-160-15,-41 305 0,27-132 16,-13-13-16,13-14 0,0 0 15</inkml:trace>
  <inkml:trace contextRef="#ctx0" brushRef="#br0" timeOffset="64980.27">23098 847 0,'40'-27'16,"26"14"-16,0 0 16,-39 13-16,25 0 15,-25 0 1,-14 13-16,-304 27 0</inkml:trace>
  <inkml:trace contextRef="#ctx0" brushRef="#br0" timeOffset="65136.5">23164 900 0,'53'13'47,"0"-26"-31,0-1-16,-27 14 15,-12 0-15,12 0 0</inkml:trace>
  <inkml:trace contextRef="#ctx0" brushRef="#br0" timeOffset="65527.23">23707 767 0,'0'27'16,"13"-14"-16,-13 13 15,0-12-15,13 12 16,-13-13-16,13 1 16,-13-1-16,-13 13 15,0-13 1,0 1 0,-14-1-16,14-13 15,0 13-15,0-13 16</inkml:trace>
  <inkml:trace contextRef="#ctx0" brushRef="#br0" timeOffset="66290.75">24289 966 0,'26'-14'15</inkml:trace>
  <inkml:trace contextRef="#ctx0" brushRef="#br0" timeOffset="66414.81">24567 952 0,'13'0'16,"0"0"-1,-39 0-15</inkml:trace>
  <inkml:trace contextRef="#ctx0" brushRef="#br0" timeOffset="66506.38">24686 952 0,'26'-13'15</inkml:trace>
  <inkml:trace contextRef="#ctx0" brushRef="#br0" timeOffset="68158.67">16841 1826 0,'79'-14'16,"-52"28"-16,-1-14 16,-13 26-16,-13 1 15,-13-1 1,-27 14-16,1-1 15,-1-12-15,14-1 16,-14-12 0,27-1-16,13 0 15,13 0 1,0-13 0,14 0-16,-14-13 15,13 13-15,1-13 16,26 0-16,-53-1 15</inkml:trace>
  <inkml:trace contextRef="#ctx0" brushRef="#br0" timeOffset="68403.75">16999 1667 0,'106'106'16,"-79"-80"-16,12 40 16,-211-264-16,358 423 0,-173-199 0,-13 1 15,13-1-15,-26 14 16,0 0-16,-14 26 0,-26-13 16,0-1-16,27-38 15,-27 12-15,0 1 16</inkml:trace>
  <inkml:trace contextRef="#ctx0" brushRef="#br0" timeOffset="69087.77">20227 992 0,'27'0'16,"26"0"-16,0 0 16,53-13-16,-14 26 15,-39-13-15</inkml:trace>
  <inkml:trace contextRef="#ctx0" brushRef="#br0" timeOffset="69362.17">21577 1151 0,'26'0'15,"1"0"-15,12 0 16,28 0-16,25-13 16</inkml:trace>
  <inkml:trace contextRef="#ctx0" brushRef="#br0" timeOffset="69653.49">23045 1191 0,'119'-14'15,"-92"1"-15,26 13 16,39-13-16</inkml:trace>
  <inkml:trace contextRef="#ctx0" brushRef="#br0" timeOffset="71094.27">15809 1045 0,'40'13'0,"-27"-13"16,40 0-16,0 0 16,-27 0-16,-13 0 0,14-13 15,12 13-15</inkml:trace>
  <inkml:trace contextRef="#ctx0" brushRef="#br0" timeOffset="71316.66">16153 913 0,'79'39'0,"-66"-25"16,14 12-1,-14-13-15,-13 1 0,0-1 16,0 13-16,-13 1 15,-14 12-15,14-12 16,-13-14-16,-1 0 0,-12 14 16</inkml:trace>
  <inkml:trace contextRef="#ctx0" brushRef="#br0" timeOffset="74319.78">16100 2090 0,'132'-13'0,"-119"13"0,14-13 15,-14 13-15,0 0 0,14 0 16,-14 0-16,0 0 0,0 0 16,1-13-16,-1 13 0</inkml:trace>
  <inkml:trace contextRef="#ctx0" brushRef="#br0" timeOffset="74548.1">16391 1918 0,'26'13'0,"-12"-13"15,-54-13-15,93 53 0,-40-40 16,0 13-16,1 0 0,-14 1 0,13-1 16,-13 0-16,13 14 0,-26-1 15,0-13 1,13 14-16,-40-1 15,27-13-15,-14 1 16</inkml:trace>
  <inkml:trace contextRef="#ctx0" brushRef="#br0" timeOffset="79268.03">17952 1826 0,'79'0'0,"-52"13"15,-14-13-15,0 13 16,14 0-16,-27 1 16,0-1-16,-13 26 15,-1-25-15,1 12 0,0-13 16,0 1-16,-14 12 0,14-13 15,13 1-15,-13-1 16,-1-13-16,1 26 16,13-13-1,13-13-15,14 0 16,-14 0-16,14 0 16,-14 0-16,40-13 0,0-13 15,-27 13-15,1-1 16</inkml:trace>
  <inkml:trace contextRef="#ctx0" brushRef="#br0" timeOffset="79523.98">18402 1892 0,'-27'0'0,"27"13"16,0 0-16,0 0 15,0 1-15,14-1 0,-1 0 16,13-13-1,-13-13-15,14 13 16,-14-13-16,0-1 16,-13 1-16,0 0 15,-13-13-15,-13 12 16,-1 1-16,1 13 0,13 0 16,-1 0-16,-25 0 15,-1 13-15,13 1 16,14-1-16</inkml:trace>
  <inkml:trace contextRef="#ctx0" brushRef="#br0" timeOffset="82563.27">278 3096 0,'13'13'0,"0"-26"15,1 13-15,-1 0 0,26-14 16,-25 1-16,12 13 15,1-13-15,-1 0 0,-13 13 16,0-14-16,14 14 0,-14-13 16</inkml:trace>
  <inkml:trace contextRef="#ctx0" brushRef="#br0" timeOffset="82802.72">529 2858 0,'119'26'16,"-92"0"-16,-14-26 0,0 14 16,-13-1-16,13 13 0,-13-12 15,0 38-15,-13-38 16,-13 25-16,12-12 15,-38 26-15,12-14 16</inkml:trace>
  <inkml:trace contextRef="#ctx0" brushRef="#br0" timeOffset="84261.46">10993 11351 0,'80'13'16,"-54"-13"-16,27-13 16,13 13-16,-13 0 15,-13 0-15,13-14 16,0 14-16,-40 0 16,13 0-16,-12 0 0,-1 0 15,0 0 1</inkml:trace>
  <inkml:trace contextRef="#ctx0" brushRef="#br0" timeOffset="84584.78">11232 11218 0,'-239'93'16,"213"-80"-16,-14 0 16,27 1-16,-13-1 0,12 0 0,-12 14 15,-1 12 1,27-26-16,-13 1 0,26-1 16,-13 0-16,0 0 0,14 1 0,-1-1 15,27 13-15,-1-12 16,-12-14-1,12 13-15,1-13 16,-27 0-16,40 0 0,-26 0 16,12 0-16,14 0 15,-39-13-15</inkml:trace>
  <inkml:trace contextRef="#ctx0" brushRef="#br0" timeOffset="85060.96">11787 11337 0,'40'0'16,"-14"14"0,-12 12-1,-14-13-15,-14 1 16,14 12-16,0-13 15,0 0 1,0 1-16,14-14 16,-1 13-16,13 0 15,-13-13 1,-13 13-16,14-13 16,-1 27-1,-26-1-15,-1-12 16,1-1-16,-13 13 15,13-26-15,-27 27 16,27-27-16,13 13 0</inkml:trace>
  <inkml:trace contextRef="#ctx0" brushRef="#br0" timeOffset="98120.85">19341 1786 0,'-40'-13'0,"40"-1"16,-26 14-16,13 14 0,-14-14 15,14 0-15,0 0 0,-14 13 16,14-13-16,0 13 0,0-13 15,-1 0-15,1 13 0,0-13 0,13 14 16,-13-1-16,26 0 16,0 0-16,27 14 15,0-1 1,-27-26-16,0 13 0,0 1 16,0-1-16,1-13 0,-1 13 15,0 0-15,-13 1 0,0-1 16,-13 0-1,-14 0-15,1 1 0,13-14 16,-27 13-16,0-13 16,1 0-16,25 0 15,1 0-15,-13 0 16</inkml:trace>
  <inkml:trace contextRef="#ctx0" brushRef="#br0" timeOffset="99054.76">19487 1905 0,'-14'-13'0,"1"13"31,0 0-31,13 13 16,-13 0-16,13 0 15,-14 1-15,14-1 16,0 0-16,0 0 16,0 1-1,14-14-15,12 0 31,-26-14-31,13 14 0,1-13 16,-1 0-16,0 0 16,0-1-1,-13 1 1,13 13 0,-13-13-16,14 13 15,-1 0 48,0 13-48,0-13 1,-13 13 15,14-13 0,-14 14-31,13-14 32,0-14-1,0 14-15,1 0-16,-1-13 31,0 13-31,0 0 15,14 0 17,-27 13-17,13-13-15,0 0 16,0 0 0,1-13-1,-1 13 1,0 13-16,0-13 15,-13 14 1,14-1-16,-1 0 0,0 0 31,-13 1-31,13-1 16,0-13 0,1-13 15,-1-1-16,-13 1 1</inkml:trace>
  <inkml:trace contextRef="#ctx0" brushRef="#br0" timeOffset="99488.82">20042 1667 0,'0'-13'0,"-13"39"16,13-13-16,0 1 15,0 38-15,-13-12 0,-1 26 16,1-26-16,13 0 16,-13-14-16,0 14 0,13-14 0,-13 1 15,-1 12-15,14-25 0,0 12 16,-13 1-16,0-14 15,13 0-15,0-39 32,13-1-17,-13 14-15,27-27 16,-1 1-16,-26 25 16,13 1-16,0 0 0,14 0 15,-14 26 1,-13 0-1,0 14 1,-13-14-16,-14 0 16,27 0-16,-13-13 0,0 13 15,0 1 1,0-14 0</inkml:trace>
  <inkml:trace contextRef="#ctx0" brushRef="#br0" timeOffset="99866.82">20188 1746 0,'-14'40'15,"1"-27"1,13 27-16,-13 0 15,13-27-15,0 13 16,0-13-16,0 1 0,13-1 16,14 0-16,-14-13 15,0 0-15,14-13 16,-14 13-16,0-13 0,0-1 16,1 1-16,-1 13 31,0 13-16,-13 1 1,0-1-16,13 0 16,0 0-1,1-13-15,-1 0 16,0 0-16,14 0 16</inkml:trace>
  <inkml:trace contextRef="#ctx0" brushRef="#br0" timeOffset="100571.69">20624 1865 0,'-13'-13'16,"0"13"-16,0 27 16,26-14-1,-13 0-15,13 0 16,0 0-16,-13 14 16,14-14-16,-28 0 15,14 1-15,-13-14 16,-13 13-16,-1 0 15,14-13-15,0 0 0,-14 0 16,14 0-16,0 13 0</inkml:trace>
  <inkml:trace contextRef="#ctx0" brushRef="#br0" timeOffset="100696.72">20796 2064 0,'13'-13'15,"-13"-1"1</inkml:trace>
  <inkml:trace contextRef="#ctx0" brushRef="#br0" timeOffset="103046.79">2275 3096 0,'27'-14'16</inkml:trace>
  <inkml:trace contextRef="#ctx0" brushRef="#br0" timeOffset="103234.67">2381 3188 0</inkml:trace>
  <inkml:trace contextRef="#ctx0" brushRef="#br0" timeOffset="167113.93">5186 8083 0,'145'-53'0,"-105"40"16,106-40-1,-80 27-15,-13 12 0,0 1 0,13-13 0,-13 12 16,52-12 0,-65 13-16,0 13 0</inkml:trace>
  <inkml:trace contextRef="#ctx0" brushRef="#br0" timeOffset="167299.19">5596 8162 0,'132'-26'0,"-92"26"0,13-13 0,-13-1 16,-1 14-16,1-13 0,-14 0 15,27 13-15,-26-13 0,-1 13 0,-13-13 16</inkml:trace>
  <inkml:trace contextRef="#ctx0" brushRef="#br0" timeOffset="171277.76">5424 8096 0,'-26'-13'16,"39"0"0,0 13-16,0-13 0,0-1 0,14 1 15,-1 0-15,1 0 0,12-14 16,1 14-16,-13 0 0,12 0 0,1-1 16,39-12-16,-39 13 0,-13 13 15,-1-14-15,0 14 0,-12 0 16,-1 0-16,0 0 0</inkml:trace>
  <inkml:trace contextRef="#ctx0" brushRef="#br0" timeOffset="171475.69">5702 8162 0,'39'0'0,"-25"0"0,-1 0 16,27-13-16,39 13 16,-53-13-16,54 0 15,-67-1 1,13 14-16</inkml:trace>
  <inkml:trace contextRef="#ctx0" brushRef="#br0" timeOffset="172859.97">2791 2659 0,'14'212'16,"-28"-159"-16,1 13 0,0 13 0,0-13 15,-1 14-15,-38 92 16,12-14-16,0-12 16,14-80-16,12 0 0,1 0 15,0 53-15,13-52 16,13-54-16,-13 13 0,27 1 15,-14-14 1,0 0-16,14 0 0,-14 1 0,0-1 16,14 0-16,-14 0 15,0 1-15,40 25 0,-27-12 16,54 92-16,-27 0 16,13 13-1,-40-53-15,93 213 16,-39-81-16,-14 14 0,26 13 15,-25 0 1,-1 27 0,-27-133-16,-25 1 0,12-14 0,1 13 0,-1 119 15,-13-13 1,0-119-16,-26 93 0</inkml:trace>
  <inkml:trace contextRef="#ctx0" brushRef="#br0" timeOffset="174327.37">2262 10702 0,'0'-26'0,"-13"26"15,0-13-15,-1 13 16,-12-14-16,0 14 15,-1-13-15,1 13 0,-27 0 16,26 0-16,-52 0 16,-14 13-1,40 1-15,-52-1 0,38 0 0,-52 0 16,0 14 0,66-14-16,-13 0 0,-119 40 15,66-26 1,53-1-16,13 1 0,-53 26 15,-53 39 1,40 14-16,53-13 16,13-1-1,14 67-15,39-53 16,0-40-16,0 0 0,13-13 16,-13 13-16,39 40 15,-25-53-15,12 13 0,1-13 0,52 40 16,53 39-1,-79-106-15,146 54 16,-41-54-16,-78-13 16,105-13-16,132-13 15,-78-13 1,-147-1-16,14 14 16,159-53-16,-120 26 15,-79 14-15,0-1 0,53-39 16,-26 13-16,-27-26 15,14-54 1,-67 81-16,13-54 16,-26 53-16,0-66 0,-39-80 15,-14 80 1,0 53-16,-66-53 16,13 40-16,-13 13 15,-14 13-15,67 26 16,0 1-16,0 12 0,-66-12 15,-53-14 1,92 27-16,0-13 16,27-27-1</inkml:trace>
  <inkml:trace contextRef="#ctx0" brushRef="#br0" timeOffset="176247.73">9710 2474 0,'-106'-66'16,"67"66"0,12-14-16,1 14 0,-14 0 15,-39 0-15,-14 14 16,40-1-16,14 0 0,-41 14 16,40-14-16,-26 27 15,-13 52-15,52-26 16,14-39-16,13-1 15,0 1-15,0-1 0,13 40 16,1 27-16,-1-53 16,53 92-16,-53-92 15,14 12-15,39 107 16,-40-53-16,14 79 16,-40-119-1,0 1-15,-13 131 16,0-66-16,-27 1 15,27-81-15,-14 15 0,-26 38 16,0 1 0,14-53-16,-41 27 0,1-14 15,-40 0 1,53-40-16,26-12 16,-13-1-16,13-13 0,27-13 15,-13-1 1,-1 1-16,27 0 0,0 0 15,27-27 1,-14 40-16,53-27 16,13 27-1,-26 14-15,-26-1 16,-1 0-16,27 27 16,-13 13-16,26 66 15,-39-53 1,-14 0-16,0-26 15,-13 39-15,13 1 16,-26 12-16,13-26 16,-13 27-16,0-40 0,-1 26 15,1-26-15,0 27 16,0-1-16,-1 0 16,1 27-1,13-79-15,0 52 0,-13 0 16,13-39-16,0 0 15,-13 66-15,13-40 16,-14-40-16,14 27 16,0-26-16,0 12 15,0 14 1,0-26-16,27 12 16,-14-26-1,14 14-15,-1-1 16,-13-12-16,14-1 15,-1 13-15,1-12 16,-1-1 0,1 0-16,-14 0 15,0-13 1,0 0-16,1 13 0,-1-13 16</inkml:trace>
  <inkml:trace contextRef="#ctx0" brushRef="#br0" timeOffset="177248.64">8983 7117 0,'-14'-13'15,"14"66"17,0-27-32,14 41 15,-1-41-15,-13 14 0,0 39 16,0 0-1,0-26-15,-13-13 16,-1 0-16,14-27 16,-13 0-1,26-13 17,1 13-17,12 27-15,14 79 16,13 27-1,-27-54-15,27 27 16,0-26 0,-27-67-16,14 14 15,-27-27-15,27 1 16,-14-14 0,-12 0-16</inkml:trace>
  <inkml:trace contextRef="#ctx0" brushRef="#br0" timeOffset="178703.63">10597 11853 0,'39'93'0,"-26"-67"16,1 27-16,-1-26 15,0 12-15,0-12 0,14 39 16,-27-39-16,13-14 0,0 13 15,-13-13-15,14 27 0,-1-13 16,-13-14 0,13-13-16</inkml:trace>
  <inkml:trace contextRef="#ctx0" brushRef="#br0" timeOffset="179050.49">10702 11906 0,'-119'80'16,"106"-67"-16,-13 0 0,12 0 16,-25 14-16,26-14 15,-1 0-15,-12 0 16,13 1-16,13-28 15,0 1 1,13 0-16,13-40 0,14 0 16,-14 27-16,1 12 15,13-25-15,-14 39 0,-13-13 16,40-1-16,-13 28 16,-14-14-16,14 13 15,-27-13-15,27 13 16,-14 0-16,-12 0 15,12-13-15,-13 14 0,1-14 16</inkml:trace>
  <inkml:trace contextRef="#ctx0" brushRef="#br0" timeOffset="180210.78">2170 2950 0,'92'-40'0,"-52"27"15,0 0-15,26-27 16,-27 27-16,-12 0 0,52-14 16,-52 14-16,12-13 0,-25 12 15,12 1-15</inkml:trace>
  <inkml:trace contextRef="#ctx0" brushRef="#br0" timeOffset="180431.04">2659 2527 0,'146'0'16,"-133"13"-16,27 0 0,-27 0 15,13 27-15,-26 0 16,0 0-16,-13-1 15,-13 14-15,-27 40 0,-14-1 16,28-52-16</inkml:trace>
  <inkml:trace contextRef="#ctx0" brushRef="#br0" timeOffset="185428.54">4075 5556 0,'26'-13'16,"-13"13"-16,1-13 0,12 13 15,14 0-15,-1-13 16,14 13-16,0-14 0,79 1 0,-52 0 16,-1 13-16,1-13 0,-1 13 15,106-27-15,-79 27 0,-13-13 16,-1 13-16,1-13 0,-1 13 0,1 0 16,0-13-16,-14 13 0,14 0 15,-14 0-15,-26-14 0,13 14 0,-13 0 16,-27 0-16,14 0 0,-13 0 0,-1 0 15,0 0-15,-12 0 0,-1 0 16</inkml:trace>
  <inkml:trace contextRef="#ctx0" brushRef="#br0" timeOffset="185696.06">4974 5543 0,'93'0'0,"-27"0"0,0 0 16,13 0-16,1 0 0,-1 0 0,106-13 16,-92 13-16,92 0 15,-92 0-15,-1 0 0,-12 0 16,-14 0-16,-13 0 0,0 0 15,-14 13-15,-12-13 0,-1 0 0,-12 0 16,12 13-16,-13 0 0,1-13 16,-14 14-16</inkml:trace>
  <inkml:trace contextRef="#ctx0" brushRef="#br0" timeOffset="193459.21">463 3215 0,'-13'26'0</inkml:trace>
  <inkml:trace contextRef="#ctx0" brushRef="#br0" timeOffset="194146.81">370 3625 0,'40'13'0,"-40"0"15,13 0-15,-13 1 16,0-1-16,-13 40 15,13-13-15,-13-14 0,13-13 16,0 14 0,0-14-1,13-13 1,0 0-16,1 0 0,-1 0 16,0 0-16,13 0 15,1 0-15,-1 13 16</inkml:trace>
  <inkml:trace contextRef="#ctx0" brushRef="#br0" timeOffset="194475.69">476 4247 0,'0'66'15,"0"-40"-15,13-26 16,-13 27-16,0-14 15,14 0-15,-14 0 16,-14 14 0,1-1-16,0-13 0,-27 40 15,1 0 1,12-39-16</inkml:trace>
  <inkml:trace contextRef="#ctx0" brushRef="#br0" timeOffset="195001.2">450 5239 0,'-40'53'0,"27"-40"16,-14 66-16,14-65 16,13 12-16,0-13 15,0 0-15,0 1 0,0-1 16,13-13 0,1-13-16,-1 13 15,13-27-15,-12 27 0,-14-13 16,13 0-16,0 13 0,-13-13 15,13-1-15,0 14 16,1 14-16,-14-1 16,0 13-16,0-13 15,13 54-15,-26-41 16,26 0-16,-13 14 0,0-13 16,13-1-16,-13 1 0</inkml:trace>
  <inkml:trace contextRef="#ctx0" brushRef="#br0" timeOffset="195925.16">119 12039 0,'13'39'16,"-13"-26"-16,0 1 0,0 12 15,14 1 1</inkml:trace>
  <inkml:trace contextRef="#ctx0" brushRef="#br0" timeOffset="196101.95">357 11972 0,'0'27'16,"0"13"-16,0-14 16,0 0-1,13 1-15,-13-1 16,14-26-16</inkml:trace>
  <inkml:trace contextRef="#ctx0" brushRef="#br0" timeOffset="196927.9">8837 2977 0,'0'52'0,"-13"-25"16,13-1-1,-13-12-15,-1 12 16</inkml:trace>
  <inkml:trace contextRef="#ctx0" brushRef="#br0" timeOffset="197196.79">8930 3003 0,'0'13'31,"0"0"-31,0 1 16,0-1-16,13 13 16,0-12-1,-13-1-15,13-13 0,1 26 16,-14 1-1,-14-1-15,14-13 16,-26 40-16,-1 0 16</inkml:trace>
  <inkml:trace contextRef="#ctx0" brushRef="#br0" timeOffset="197471.67">8930 4101 0,'0'27'15,"-14"-14"1,14 0-16,-13 0 16,13 0-16,-13 1 15,13-1-15</inkml:trace>
  <inkml:trace contextRef="#ctx0" brushRef="#br0" timeOffset="197681.97">9088 4048 0,'-52'80'31,"52"-67"-15,0 0-16,0 0 16,13-13-1,0 13-15,0 1 16,0-160-16,1 318 15,-14-159-15,0 1 16</inkml:trace>
  <inkml:trace contextRef="#ctx0" brushRef="#br0" timeOffset="198087.96">8520 5252 0,'0'53'15,"0"-40"1,0 0-16,-14 14 16,28-14-1</inkml:trace>
  <inkml:trace contextRef="#ctx0" brushRef="#br0" timeOffset="198279.75">8705 5265 0,'-13'40'15,"26"-14"1,-26 1-16,13-1 16,0-12-16,-14-14 15,1 39-15,-13-12 16,12-14-16,94-225 0</inkml:trace>
  <inkml:trace contextRef="#ctx0" brushRef="#br0" timeOffset="199062.04">7779 11351 0,'53'-27'15,"-40"27"-15,13 13 16,-26 1-16,0 25 16,0-12-16,-13 12 15,-13 1-15,26-27 16,-14 1-16,1 12 16,13-13-1,13 1-15,1-14 16,-1 0-1,0-14-15,14 1 16,-1 0-16,27-40 0</inkml:trace>
  <inkml:trace contextRef="#ctx0" brushRef="#br0" timeOffset="199272.32">8149 11351 0,'27'53'47,"-14"-67"-31,0 14-16,-13-13 15,13 13 1,-13-13-16,-13-14 16,0 27-1,0-13-15,-14 13 16</inkml:trace>
  <inkml:trace contextRef="#ctx0" brushRef="#br0" timeOffset="199632.19">7938 11827 0,'66'-27'0,"79"-65"16,-92 65 0,26-39-16,14 13 0,-40-13 15,-27 40 1,14-27-16,-27-13 16,1 39-16,-28-39 0,-343 159 0,714-212 15,-396 39-15,25 54 16,-12-1-16,0 1 0,-107-14 15,14 53 1,66 1-16,-66 25 16,66-12-16,-39 39 0,26-13 15,13 13-15,39-40 16,-25 27-16,25-26 16,14-14-16,-13 13 15</inkml:trace>
  <inkml:trace contextRef="#ctx0" brushRef="#br0" timeOffset="200840.75">1865 4723 0</inkml:trace>
  <inkml:trace contextRef="#ctx0" brushRef="#br0" timeOffset="201136.1">1945 5583 0,'0'13'0</inkml:trace>
  <inkml:trace contextRef="#ctx0" brushRef="#br0" timeOffset="202087.05">2037 7686 0</inkml:trace>
  <inkml:trace contextRef="#ctx0" brushRef="#br0" timeOffset="202815.88">1892 9604 0</inkml:trace>
  <inkml:trace contextRef="#ctx0" brushRef="#br0" timeOffset="203086.86">1865 10292 0</inkml:trace>
  <inkml:trace contextRef="#ctx0" brushRef="#br0" timeOffset="203347">1879 10993 0</inkml:trace>
  <inkml:trace contextRef="#ctx0" brushRef="#br0" timeOffset="-209709.9">384 2606 0,'0'40'16,"13"-27"-16,-13 0 16,0 14-16,0-14 15,0 13-15,0-12 0,13-1 0,-13 0 16,0 0-16,0 1 0,0-1 0,0 0 15</inkml:trace>
  <inkml:trace contextRef="#ctx0" brushRef="#br0" timeOffset="-209425.9">291 2249 0,'66'-13'0,"-39"13"15,-1 13-15,1 0 0,12 0 16,41 54-16,-41-28 0,-12 1 16,12 13-16,-12-13 0,-14 12 15,0-12-15,-13 0 0,14 13 0,-28 0 16,1 13-16,-27 53 0,1-53 15,-1 13-15,14-12 0,-27 12 16,0 0-16,0-13 0,0 14 16,13-27-16,1 0 0,-14 0 0</inkml:trace>
  <inkml:trace contextRef="#ctx0" brushRef="#br0" timeOffset="-208021.72">8308 11192 0,'-27'26'31,"27"-12"-31,-39 38 15,26-25 1,-14-14-16,14 14 0,0-1 0,-1-13 16,1 1-16,0 12 0,0-13 0,13 0 15,-14 1-15,14-1 16,0 0-16,0 0 16,14 1-16,-1-14 0,0 0 15,14 0-15,-14 0 0,0 0 16,14 0-16,-1 0 0,40-14 15,-53 14-15,14-13 0,-14 13 16,0 0-16,1-13 0,-1 13 16,0 0-16</inkml:trace>
  <inkml:trace contextRef="#ctx0" brushRef="#br0" timeOffset="-207852.24">8268 11377 0,'0'0'0,"0"27"0,0-1 15,13 0-15,-13 14 0,0 0 0,0 13 16,14-14-16,-14 28 0,0-1 0,0 0 16,0-13-16,0 0 0,0 0 15,0 0-15,0-1 0,0-12 0,-14 13 16</inkml:trace>
  <inkml:trace contextRef="#ctx0" brushRef="#br0" timeOffset="-200689.88">4194 4908 0,'-27'-26'0,"27"12"16,-26-12 0,-14-1-1,27 14-15,0 13 0,-1-13 0,-52-14 16,53 27-16,-13-13 15,12 13-15,-65 0 16,52 0-16,1 0 0,0 13 16,-14 14-16,13-14 0,-12 14 15,12-1-15,1 1 0,-1 12 0,-12 54 16,25-53-16,1-1 16,0 1-16,13 13 0,0-13 15,0-1-15,13 1 0,0 0 0,1-1 0,25 27 16,-12-26-16,-1-13 15,14-1-15,0 0 0,-1-12 16,14-1-16,-13 0 0,13-13 0,-13 0 16,12-13-16,1 0 0,0-1 0,0-12 15,-13 0-15,13-1 0,-14-13 16,1 1-16,-13-1 0,12-13 0,-25 0 16,12 0-16,-13 0 0,-13 0 0,-13 1 15,13-1-15,-26 0 0,12 0 16,-12 13-16,-1 0 0,1 1 0,-14-1 15,1 27-15,-1 0 16,0-1-16,1 1 0,-1 13 0</inkml:trace>
  <inkml:trace contextRef="#ctx0" brushRef="#br0" timeOffset="-183240.94">2844 3043 0,'27'0'16,"12"0"-1,-25 0-15,12 0 16,-13 0-16,14 0 0,26-14 15,-27 14-15,1-13 0,-1 13 16,27 0-16,-27 0 16,1 0-16,13-13 15,-14 13-15,-13 0 0,1 0 0,25 0 16,-12 0 0,-27-13-16,13 13 15</inkml:trace>
  <inkml:trace contextRef="#ctx0" brushRef="#br0" timeOffset="-183004.32">3307 2871 0,'40'0'0,"0"26"15,-27-13-15,13 1 16,14 25 0,-27-12-16,0-1 0,-13-13 0,0 14 15,0-1-15,0 27 16,-13-13-16,0-14 0,13 14 0,-13-13 16,0-14-16</inkml:trace>
  <inkml:trace contextRef="#ctx0" brushRef="#br0" timeOffset="-180405.01">4286 2884 0,'-13'-26'16,"0"26"-16,0 0 16,-1 13-16,1 0 15,0-13-15,13 13 16,-13 0-16,13 1 0,-14-1 16,14 0-16,-13 0 0,13 1 0,0-1 15,0 0-15,-13 13 16,26-12-16,-13-1 0,13 0 15,1-26 1,-1 0-16,0-1 16,-13 1-16,13 0 0,-13 0 15,14 0-15,-14-1 0,0 1 16,13 0-16,-13 0 16,13 26 15,-13 0-31,13-13 0,-13 13 15,0 1-15,0-1 0,0 0 16,13-13-16,-13 13 0,0 0 16,14 1-16,-14-1 0,13-13 15,-13 13-15,13-13 0</inkml:trace>
  <inkml:trace contextRef="#ctx0" brushRef="#br0" timeOffset="-179959.89">4379 2778 0,'-13'27'16,"13"-14"0,0 13-16,0 14 0,0-14 15,0 14-15,13 0 0,-13-1 16,13 1-16,-13-13 0,0 12 15,13-12-15,-13-1 0,14 14 16,-14-14-16,0 1 0,13-14 16,-13 14-16,0-14 0,13 0 15,-26-53 17,0 27-32,13-13 0,-14-14 15,14 13-15,-13-25 16,13 25-16,0 14 0,13-14 0,-13 1 15,27-1 1,-14 14-16,0 13 0,0 13 16,1-13-1,-1 27-15,-13-14 0,0 0 0,0 1 16,0 12-16,0-13 16,0 1-16,-13-1 15,13 0-15,-14 13 0,14-12 16,-13-14-16</inkml:trace>
  <inkml:trace contextRef="#ctx0" brushRef="#br0" timeOffset="-179551.54">4498 2910 0,'0'0'31,"26"27"-31,-26-14 16,14 14-16,-14-14 0,13 13 0,0 27 16,-13-26-16,13 12 15,-13-12-15,0-14 16,14 27-16,-14-27 0,0 27 16,0-27-1,-14-26 1,14-1-1,-13-39-15,13 40 16,-13-13-16,13-1 0,0-12 16,13 25-16,-13 1 0,0 0 0,13 0 15,1-1-15,-1 14 16,0 0-16,0 0 16,-13 14-16,0-1 15,0 0-15,0 0 16,0 14-16,-13-14 15,13 0-15,-13 14 0,0-14 16,-1 0-16</inkml:trace>
  <inkml:trace contextRef="#ctx0" brushRef="#br0" timeOffset="-179070.98">4630 2990 0,'27'0'16,"-27"13"-16,26 27 31,-26-27-31,13 0 0,-13 0 16,14 1-16,-94-120 16,173 198 15,-93-105-31,0 0 15,0 0 1,0-1-16,0 1 16,13 0-16,0 13 15,0 0 1,1 13 0,-14 0-1,13 1 1,0-14-16,0 0 31,1 0-31,-1 0 16,-13-14-16,13 14 15,-13-13-15,13 0 0,-26 0 16,0 13 15,-27 13-15,40 0-16,-13-13 0,0 13 15</inkml:trace>
  <inkml:trace contextRef="#ctx0" brushRef="#br0" timeOffset="-178895.87">5080 2897 0,'13'27'16,"-13"-14"-16,0 13 16,-13 14-16,0 0 15,13-27-15,-13 13 0,13-12 16,0-1-16</inkml:trace>
  <inkml:trace contextRef="#ctx0" brushRef="#br0" timeOffset="-178715.59">4961 2990 0,'0'-13'16,"0"26"-1,26-13 1,-12 0 0,-1 13-16,0-13 0,14 13 15,-14-13-15,0 13 16,0-13-16,0 0 0,1 0 15</inkml:trace>
  <inkml:trace contextRef="#ctx0" brushRef="#br0" timeOffset="-178153.56">5477 2858 0,'-27'13'0,"14"0"16,13 0-1,-13-13-15,13 27 0,0-14 16,13 0-16,0 0 15,14-13 1,-14-13 0,0 0-1,-13 0 1,-13-1-16,13 1 16,0 0-1,13 26 16,14 14-31,-27-14 0,26 27 16,-13-1 0,14 14-16,-14 0 15,0-13-15,-13-27 16,0 0-16,14 0 0,-14 1 0,0-1 16,0 0-16,0 0 15,0-52 16,13 25-31,-13 1 0,0-26 0,13 25 16,-13-12-16,13 13 16,1-1-16,-1-25 0,0 39 15,0-27-15</inkml:trace>
  <inkml:trace contextRef="#ctx0" brushRef="#br0" timeOffset="-177503.84">6363 2672 0,'27'53'32,"-27"-26"-32,26 26 15,1 26 1,-27-53-16,13 1 0,0-14 16,-13 27-16,13-27 15,-13 13-15,0-12 0,14-1 16,-14 0-16,-27-26 31,27 0-31,-13-14 0,0-26 16,-14-26-16,14 13 15,13 39-15,13-12 16,-13-1-16,13 27 16,1 13-16,-14-13 0,26-1 15,-13 14-15,1 14 16,-1-14-16,-13 13 0,0 0 15,13 13-15,-26 27 16,13-39-16,-13-1 0,-1 0 16,14 14-16,-26-1 15,-1 0-15</inkml:trace>
  <inkml:trace contextRef="#ctx0" brushRef="#br0" timeOffset="-176816.98">6601 2725 0,'-13'80'16,"79"-27"30,-39-67-46,-1 1 16,-132-93-16,225 199 16,-119-120-16,-13 1 15,0 13-15,0-1 16,0 14-16,-1 0 16,-12 0-16,13 14 15,-1-1-15,1-13 16,13 13-16,-13-13 0,13 13 15,13-13-15,0 0 16,14-13 0,-14 0-16,0-14 15,1 14-15,-1 0 0,-13 0 16,13 0-16,0-1 16,0 1-16,1 13 15,-1 13 1,0 14-16,14 39 15,-1 13 1,0 1-16,-12-14 0,-1-40 16,-13 27-1,13-13-15,-13-27 16,13 0-16,-39-52 31,26 12-31,-13 1 16,-1-67-16,14 14 15,14 13-15,-1 13 16,0 39-16,0 1 16,14-13-16,-14 26 15,0-13-15,14 26 16,-27 0-16,0 0 16,0 27-16,-13-27 0,-1 14 15,1-14 1,13 13-16,-26 1 15,26-14-15,-14-13 0,1 13 16</inkml:trace>
  <inkml:trace contextRef="#ctx0" brushRef="#br0" timeOffset="-175947.68">6972 2738 0,'13'-13'15,"-13"53"17,0-27-17,0 0 1,13-13-16,-13 14 0,13-1 15,1-13-15,-1 0 16,0-13 0,-13-1-16,13 14 15,1-13 1,-1 13 15,0 13-31,0 1 16,1-14-1,-1 0-15,0-14 16,0-12 0,-13-1-16,0 14 0,13-26 15,-13-14 1,-13 26-16,13-13 0,0 27 16,0-13-16,0 13 0,0 39 31,-198 172-31,409-303 15,-197 184 1,-14-39-16,26 92 16,-26-92-1,0 26 1,0-40 0,-13-13-16,0-39 31,13 0-16,-14 12-15,14-25 32,0 12-32,0 14 15,0 0 1,0 0 0,0-1-1,14 14 126,-14-13-126</inkml:trace>
  <inkml:trace contextRef="#ctx0" brushRef="#br0" timeOffset="-175486.67">7395 2646 0,'-13'-13'16,"-80"92"31,93-66-47,-13 14 16,26-27-1,93-106 1,-185 198-16,92-105 15,0 13-15,-13-13 16,13 13 0,1 0-16,-1 13 15,-13 0 1,13 1 0,0-1-16,1-13 15,-1 0-15</inkml:trace>
  <inkml:trace contextRef="#ctx0" brushRef="#br0" timeOffset="-175053.99">7554 2553 0,'0'-145'31,"0"224"16,0-39-32,0-14-15,0-13 0,13 40 16,-13-13-16,0-13 0,0-1 16,0-13-1,0 14-15,-13-14 32,0-13-32,-1-13 15,14-1 1,0 1-1,0 0 1,14-13-16,-1 12 16,0 1-16,-26-93 0,39 199 15,-12-93-15,-1-13 16,-13-1-16,13 14 0,0 0 16,0 0-1,1 0-15,-1 14 16,-13-1-16,0 0 15,0 0-15,0 1 16,13-1-16,-13 0 16</inkml:trace>
  <inkml:trace contextRef="#ctx0" brushRef="#br0" timeOffset="-174896.13">7713 2434 0,'-14'-13'16,"14"26"-16,-13 0 15,13 1-15,0-1 16</inkml:trace>
  <inkml:trace contextRef="#ctx0" brushRef="#br0" timeOffset="-174419.95">7818 2500 0,'-13'27'47,"13"-14"-47,0 0 0,0 0 16,0 1-16,0-1 15,13 0 1,1-13-16,-1 0 15,-145-172-15,264 331 16,-119-159-16,-13-13 0,0-1 16,13 14-16,-13-13 0,-13-13 15,13 13 1,0-1-16,-13 1 0,13 0 31,-40 53-31,53-54 0,27 14 47,-27 0-31,1 0-16,-1 0 15,0 0 1,0 0-16,1 0 16,-1 0-1,0 0-15,0 0 16,0 0-16,1-13 15,-1 13-15,-13-13 16,13 13-16,0-13 16,1 13-16</inkml:trace>
  <inkml:trace contextRef="#ctx0" brushRef="#br0" timeOffset="-173888.78">8202 2315 0,'0'27'15,"13"-1"17,-13-13-17,0 0 1,27-26 15,-27 0-15,13 0-16,0 13 15,0 0 1,14 0 0,-27 13-1,13-13 1,0 0 15,1-13-15,-1 0-1,0 13 1,27-14 0,-27 14-1,-13-13-15,13 13 0,0 0 16,1 0-16</inkml:trace>
  <inkml:trace contextRef="#ctx0" brushRef="#br0" timeOffset="-173181.24">8599 2302 0,'13'-27'16,"-13"14"-16,0 0 0,0 0 31,0-1-15,-26 28-1,26-1 1,0 0-16,-14-13 15,14 13-15,0 1 16,14-14-16,-14 13 16,13-13-16,0 0 0,0 0 15,14 0-15,-14 0 16,0-13-16,14 13 0,-1-14 16,-13 1-16,1 0 15,-1 13-15,0-13 0,0-1 16,-13 1-16,0 0 47,-13 26-16,26 0 16,1 1-32,-1-14 1,0 0 15,0 13-31,1-13 16,12-13 15,-13 13-15,0-14-16,1 14 0,-1 0 15</inkml:trace>
  <inkml:trace contextRef="#ctx0" brushRef="#br0" timeOffset="-172556.68">5318 3598 0,'-13'0'0,"39"-13"16,1 0-16,13-14 0,12 1 0,15-1 15,12 1-15,27 0 0,119-54 16,13 14-16,-132 40 16,-1-1-16,1-13 0,-13 27 15,0-26-15,65-1 0,-92 27 16,1-1-16,25-12 15,-65 26-15,-1-13 0,-13 13 0,1 0 16</inkml:trace>
  <inkml:trace contextRef="#ctx0" brushRef="#br0" timeOffset="-172328.41">5887 3638 0,'370'-146'16,"-237"107"-16,-67 26 0,0-14 0,0 14 16,-13 0-16,0-1 15,-13 1-15,-1 0 0,-12 13 0,-1-13 16,1 13-16,-14 0 0,0 0 0,0-13 15,1 13-15</inkml:trace>
  <inkml:trace contextRef="#ctx0" brushRef="#br0" timeOffset="-169849.11">12885 860 0,'27'-53'0,"-1"40"16,-13 13-16,14-13 0,-14 13 16,14 0-16,-14 0 0,26 13 0,1 0 15,0 0-15,-14 14 0,40 12 16,-26 1-16,-13-14 0,-1 1 16,0 13-16,-12-14 15,-1 14-15,0-1 0,0 1 0,1 0 0,-14 0 16,0-14-16,0 0 0,0 1 15,-14 13-15,1-14 0,0 14 0,0-14 16,-1 14-16,-12-14 0,0 14 16,-14-13-16,27-14 15,-1 0-15,-12-13 0,13 13 0,-1-13 16,-12 0-16,13 0 0,-27-26 16,14 13-16,12-1 0,-12-12 15,0 13-15,-1-14 0,14-13 16,0 14-16,-1 0 0,1-14 15,0 0-15,0 14 0,13-14 0,0 0 0,0 14 16,0-14-16,13 0 0,-13 1 16,13 12-16,14-39 0,-14 40 15,0-1-15,0 1 0,1-1 0,-1 1 16,0 13-16,13-14 16,-12 14-16,-14 0 0,13 0 0,0-1 15,0 1-15,1 13 0,-14-13 16</inkml:trace>
  <inkml:trace contextRef="#ctx0" brushRef="#br0" timeOffset="-168950.96">12740 1244 0,'-14'26'31,"1"-26"-31,13 13 16,-13 0-16,0 1 0,-14-1 0,1 13 15,13-12-15,-14-1 0,1 13 16,-1-12-16,1 12 16,13-13-16,-1 0 0,1-13 15,13 14-15,-13-14 0,0 13 16,13 0-16,-14-13 15,14 13-15,14-13 16,-1 0 0,0 0-16,0 0 0,1 0 15,25 0-15,-12-13 0,12 13 16,-25 0-16,-1 0 0,13-13 16,-12 13-16,12-13 15,-13 13-15,0 0 0,1-14 16,-1 1-1</inkml:trace>
  <inkml:trace contextRef="#ctx0" brushRef="#br0" timeOffset="-168743.62">12793 1270 0,'-14'26'32,"14"-12"-32,-13 12 0,13 1 15,-13-1-15,-14 14 32,27-27-32,-13 0 0,13 0 0,-13 14 15</inkml:trace>
  <inkml:trace contextRef="#ctx0" brushRef="#br0" timeOffset="-168404.79">12515 1455 0,'-53'-39'15,"40"39"1,-14-14-16,-13 1 0,1 0 16,26 0-16,-14 13 0,-13-14 15,14 14-15,13 0 16,-14 0-16,-12 0 15,12 0-15,14 0 0,0 0 0,-1 0 0,-12 14 16,0-14 0,26 13-16</inkml:trace>
  <inkml:trace contextRef="#ctx0" brushRef="#br0" timeOffset="-168159.95">12091 1204 0,'-66'92'16,"53"-78"-16,-13 52 15,26-40-15,0-12 16,0 12-16,0-13 0,0 0 0,13 1 15,40 25 1,-40-39-16,13 0 0,1 0 16,-14 0-16,0-13 15,1 13-15,-1-13 0</inkml:trace>
  <inkml:trace contextRef="#ctx0" brushRef="#br0" timeOffset="-167489.5">10649 1442 0,'0'40'16,"14"-40"-1,-14 26-15,13-26 0,-13 27 16,13-14 0,0 0-1,1-26 17,-14 0-32,13-14 15,13 14 16,-26 0-31,14 13 16,-1 13-16,0-13 16,0 13-1,0 0 1,1-26 15,-1-13-15,-13 12-1,13 14-15,14-13 32,-1 13-17,-13 0 1,14 0 0,-1 0-16</inkml:trace>
  <inkml:trace contextRef="#ctx0" brushRef="#br0" timeOffset="-166962.83">11099 1376 0,'-13'-27'0,"0"27"16,0 14-1,-1-14-15,14 13 16,-13 0-16,13 0 15,0 1 1,0-1-16,13-13 0,1 0 16,-14 13-16,13-13 15,26-13 1,-25 13-16,-1-13 0,0 13 0,0-14 16,1 1-16,12 0 15,-26 0-15,13-1 0,1 1 16,-14 0-1,-27 26 32,27 0-31,13 1 15,1-14-15,-1 0-16,0 0 15,0 0 1,14 0 0,-14 0-16,-13-14 15,13 14-15,0 0 16,1 0-16,-1 0 16,0 0-16,0 0 15,1 0-15,-1 0 16,-13 14-16,13-14 15</inkml:trace>
  <inkml:trace contextRef="#ctx0" brushRef="#br0" timeOffset="-166718.45">10808 1733 0,'27'-13'16,"-1"13"-16,14-13 0,-133 39 16,278-92-16,-79 13 15,13 13-15,0 1 16,-26 12-16,-53 14 16,26 0-16,-40-1 15,-12 14-15,-1 0 0,0 0 16</inkml:trace>
  <inkml:trace contextRef="#ctx0" brushRef="#br0" timeOffset="-166276.65">11126 1680 0,'39'-13'16,"-25"0"-16,25-1 15,1 1-15,-14 0 0,14-13 0,0 12 16,0-12-16,-1 13 0,41-40 16,-54 39-16,40-38 15,-39 38-15,26-39 0,-40 27 16,13-14-16,-12-13 16,-14 14-16,-27-54 15,14 53 1,-53-26-16,26 40 15,0 12-15,-79-25 0,53 26 16,-132-1-16,118 14 16,-65 14-16,317 766 0,-424-1534 15,186 767-15,-66 40 0,13 13 16,26 27-16,54-40 16,-14 39-16,26-39 15,14 0-15,13 0 0,0 27 16,13-41-16,0 1 0,14 0 15,13-1-15,-1 1 0,80 13 16,-26-40 0,-53-13-16,52 0 0,-39-13 15,0-14-15,53-12 0</inkml:trace>
  <inkml:trace contextRef="#ctx0" brushRef="#br0" timeOffset="-163486.06">11430 1733 0,'40'119'0,"-40"-106"0,13 14 16,13 39-16,-12-53 0,39 80 16,-27-40-1,0-27-15,-12-13 0,12 14 16,-13-14-16,27 27 0,-13-14 15,25-13-15,-38 1 16,25-1-16,1 0 16,0 0-16,-14-13 15,-13 0-15,14 0 0,-14 0 16,66 0-16,-26-13 16,-26 13-16,-1-13 15,40 0-15,-39-1 16,39-12-16,0 13 0,-13-14 15,-40 27-15,40-26 16,-40 13-16,14-1 16,26-25-16,-13 12 15,26-39 1,-40 40-16,1-1 16,-14 14-16,13-27 0,1 14 15,-1-1-15,-13 14 16,14 0-16,-27 0 15,13-1-15,0 1 16,1 0 15,-14 0 16</inkml:trace>
  <inkml:trace contextRef="#ctx0" brushRef="#br0" timeOffset="-163055.79">12819 1680 0,'-13'-13'15,"39"13"16,-12 0-31,25 0 16,-26 13 0,1-13-16,12 13 15,-13 1-15,1-1 16,12 0-16,-26 0 0,13 0 16,-13 1-16,0-1 0,0 40 15,0-40-15,0 0 16,-13 40-16,13-26 15,0-1 1,0-13-16,-13 1 0</inkml:trace>
  <inkml:trace contextRef="#ctx0" brushRef="#br0" timeOffset="-160740.27">12369 2421 0,'-26'26'0,"13"1"16,-1-14-16,14 27 16,-13 13-16,13-27 15,0 14 1,0-27-16,13 27 15,1-27-15,-1 0 16,0-13-16,0 0 16,0 0-16,1 0 0,-1-26 15,13 13-15,-12-1 16,-1-12 0,0-14-16,0 0 15,-13 27-15,0 0 16,0 0-16,0-14 15,0 14-15,14 0 16,-28 0-16,28 39 47,-14 1-47,13-1 16,0-26-16,-13 13 0,26 14 15,1-14 1,-14-13-16,0 0 15,1 0-15,39 0 16,-27-27 0,-13 14-1,0 0 1,-13 0-16,14 0 16,-28 39 46,14-13-62,14 0 16,-1 1-16,0-14 15,0 0 1,1 0-16,12 0 16,-26-14-16,13 1 15,1-13 1,-14-1-16,-14 14 15,1 13-15,13-13 16,-13 13-16,0-13 16,-27 13-16,27 0 15,13 13 1,-14-13-16,14 13 16,0 0-1</inkml:trace>
  <inkml:trace contextRef="#ctx0" brushRef="#br0" timeOffset="-160463.08">12978 2408 0,'-13'13'0,"26"93"47,0-80-31,-26 1-1,0-14 1,13 0-16,-14-13 16,1 13-16,0-13 15,0 0-15</inkml:trace>
  <inkml:trace contextRef="#ctx0" brushRef="#br0" timeOffset="-160160.72">13084 2540 0,'39'-53'0,"-39"13"47,-26 54-32,13-1-15,13 0 16,-14 14 0,14-14-16,0 13 15,0-13 1,14 1-16,12-14 15,1-14 1,25 14 0,-12 0-16,0-13 15</inkml:trace>
  <inkml:trace contextRef="#ctx0" brushRef="#br0" timeOffset="-159612.78">13414 2342 0,'-330'198'32,"674"-330"-32,-344 158 15,0 14-15,0 79 16,0-66-1,0-40-15,0 14 16,0-1-16,0 0 31,-14-52-15,14 0-16,14-14 16,-1-40-16,0 54 15,0 0-15,14-27 16,-14 39-16,27-25 15,-27 39-15,0 0 16,0 0 0,-26 26-16,0-13 0,0 14 15,-14 13-15,14-27 16,0 13 0,0-13-16,-1 1 0</inkml:trace>
  <inkml:trace contextRef="#ctx0" brushRef="#br0" timeOffset="-159316.54">13652 2421 0,'14'79'62,"-266"-237"-62,517 330 0,-252-172 0,0 0 16,1 0-16,-1 0 16,0-14-16,-13 1 15,0 0-15,0 0 16,0-14-16,-13 14 16,0 0-1,-1 13 1,-12 0-16,13 0 15,-1 0-15,1 13 16</inkml:trace>
  <inkml:trace contextRef="#ctx0" brushRef="#br0" timeOffset="-77584.92">4035 2580 0,'-27'238'0,"27"-172"0,0 13 16,0 1-16,14 184 15,-14-184-15,13 12 0,-13-26 16,26 146 0,-12-119-16,-1-54 15,0 1-15,-13-13 0,13-1 0,-13-13 0,0 14 16,14-27-16</inkml:trace>
  <inkml:trace contextRef="#ctx0" brushRef="#br0" timeOffset="-76722.54">3850 2593 0,'13'0'0,"27"-13"16,-14-1-16,67-12 15,-54 13 1,14 0-16,-13-1 0,26 1 16,-13 0-16,159-40 15,-133 40-15,80-27 0,-53 14 16,-27 12-16,146-39 16,106-26-1,-226 53-15,266-54 0,-239 54 16,-13-1-16,14 1 0,237-40 15,-238 39 1,1 1-16,-14 13 0,0-14 0,0 1 0,0 12 16,0-12-16,172-27 15,-212 40-15,80-14 16,-93 14-16,0 0 0,0 0 0,-13 13 16,-13-14-1,0 14-15,-1-13 0,14 13 16,-26-13-16,-14 13 0,0 0 0,0 0 15,1-13-15,-1 13 16,0 0-16,0-13 16,1 13-1,-1 13 1,0 13 0,0 14-16,1-27 15,-1 27-15,0-14 0,0 1 0,40 79 16,-40-80-1,1 14-15,-1-14 0,13 40 16,-12-39-16,-1 12 0,0-12 16,13 65-16,-26-65 15,14 39-15,-14-39 16,0-1-16,0-13 0,-14 53 16,1-39-1,0-14-15,13 14 0,-13-14 0,-67 66 16,54-52-16,-106 52 15,79-53 1,0 14-16,0-13 0,0-1 0,0 14 16,-13-1-16,0 1 0,-14 0 15,-118 66-15,132-80 16,-14 14-16,1-14 0,-14 14 0,-118 26 16,118-39-16,-13-1 15,1 0-15,-1 1 0,0-1 0,-132 1 16</inkml:trace>
  <inkml:trace contextRef="#ctx0" brushRef="#br0" timeOffset="-75705.29">2619 2765 0,'27'-13'0,"-14"-1"0</inkml:trace>
  <inkml:trace contextRef="#ctx0" brushRef="#br0" timeOffset="-55386.6">1865 2950 0,'14'-26'16,"12"-1"0,-13 14-16,14 13 15,-1-26-15,1 12 0,12-12 16,54-14-1,-53 14-15,-14 12 0,0 1 0,27-13 16,-26 13-16,-1-1 16,1 1-1,-14 0-15,0 13 0,-13-13 0,13 13 16,1-27-16</inkml:trace>
  <inkml:trace contextRef="#ctx0" brushRef="#br0" timeOffset="-55074.62">2275 2487 0,'80'13'0,"-54"1"16,-26-1-16,13 0 16,-13 0-16,14 0 0,-14 1 15,0 12-15,0-13 16,-14 1-16,1 52 15,0-53-15,0 13 0,0-12 0</inkml:trace>
  <inkml:trace contextRef="#ctx0" brushRef="#br0" timeOffset="-52941.66">1799 2262 0,'-13'13'0,"13"1"0,0-1 16,-13 0-1,13 27-15,-14-27 16,14 0-16,0 0 0</inkml:trace>
  <inkml:trace contextRef="#ctx0" brushRef="#br0" timeOffset="-33347.47">2289 3201 0,'0'-26'0,"-27"39"47,14 27-31,0 0-16,-1-1 0,1 14 15,-13 0-15,13 0 0,-1 13 0,1-13 0,0 0 16</inkml:trace>
  <inkml:trace contextRef="#ctx0" brushRef="#br0" timeOffset="-33225.52">2262 4551 0,'-40'198'0</inkml:trace>
  <inkml:trace contextRef="#ctx0" brushRef="#br0" timeOffset="-33108.56">2209 5411 0,'-26'39'16</inkml:trace>
  <inkml:trace contextRef="#ctx0" brushRef="#br0" timeOffset="-30909.63">8943 9935 0,'13'-13'0,"-39"39"94,12-26-79,1 14-15,0-14 0,0 0 16,0 0-16,-1 13 0,1-13 0,-40 0 15,40 0-15,-27 13 16,14-13-16,-1 0 16,1 0-16,13 0 0,-14 0 0,-52 0 15,52 0-15,-26 13 16,27-13 0,0 0-16,-1 0 0,-13 0 0,14 0 15,-67 0-15,67 0 16,-40-13-16,26 13 15,14 0-15,-14 0 0,13 0 0,-12 0 16,-67-13-16,66 13 16,-26 0-16,40-13 15,-14 13-15,13 0 0,1 0 16,-14-14-16,14 14 0,-1 0 0,-39 0 16,40 0-16,-1-13 0,-65 13 15,78 0-15,-12 0 16,0 0-16,-41-13 15,54 13-15,-26 0 16,25 0-16,1 0 16,0 0-1</inkml:trace>
  <inkml:trace contextRef="#ctx0" brushRef="#br0" timeOffset="-30185.91">7210 9922 0,'-40'-106'16,"27"80"-16,0-14 0,-14-53 16,14 27-16,0 13 0,-14 0 15,14-13-15,0 13 0,0-13 0,-27-40 16,27 53-16,0 14 15,-40-67 1,53 79-16,-14 1 0,1 13 0,0-1 0</inkml:trace>
  <inkml:trace contextRef="#ctx0" brushRef="#br0" timeOffset="-29738.12">6853 8956 0,'-53'225'0,"40"-198"0,-1 39 16,14-53-1,-13-13-15,13 13 0,0 0 0,0-52 31,0 25-31,13-38 16,1 38-16,-14 1 0,13 0 0,13-14 16,-13 27-16,1-13 15,25 26 1,1-13-16,0 14 0,-1-1 0,14-13 16,14 13-16,78 27 15,-105-40-15</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4.924"/>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19:15.923"/>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0:10.475"/>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0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57:16.157"/>
    </inkml:context>
    <inkml:brush xml:id="br0">
      <inkml:brushProperty name="width" value="0.05292" units="cm"/>
      <inkml:brushProperty name="height" value="0.05292" units="cm"/>
      <inkml:brushProperty name="color" value="#0070C0"/>
    </inkml:brush>
  </inkml:definitions>
  <inkml:trace contextRef="#ctx0" brushRef="#br0">1363 4855 0,'383'0'16,"-317"0"-16,1 0 0,-1 0 15,0 0-15,13 0 0,-26 0 16,13 13-16,-13-13 0,0 0 0,53 0 16,-53 14-16,-13-14 0,39 13 15,-39-13-15,-14 0 16,1 0-16</inkml:trace>
  <inkml:trace contextRef="#ctx0" brushRef="#br0" timeOffset="1086.28">5569 4749 0,'40'0'0,"-27"0"0,27 0 0,0 0 0,171 0 16,-131 0-16,-1 0 15,14 0-15,-14 0 0,199 0 16,-172 13-16,185 1 16,-199-1-16,1-13 15,0 13-15,-14-13 0,146 27 16,-159-14-16,80 0 15,-120-13 1,1 0-16,-1 0 0</inkml:trace>
  <inkml:trace contextRef="#ctx0" brushRef="#br0" timeOffset="4768.93">1680 3069 0,'0'27'16,"13"26"-16,-13-27 16,0 0-16,0 1 0,-13 13 0,13-1 15,0-12-15,0-1 0,0 1 0,0-1 16,0-13-16,0 14 0,0-14 16,0 0-16,0 0 0,0 1 15,-13-41 1,26-79-1,-13 54 1,0-1-16,0-14 0,0 1 0,13 13 16,-13 0-16,27-66 15,-14 80-15,-13 12 0,26 1 16,-26 13-16,14-1 0,-1 14 16,0-13-16,14 40 15,-1-14-15,-13 13 0,27 40 16,-27-26-16,0 0 15,1-1-15,-1 1 0,27 66 16,-27-66-16,-13-14 0,13 1 16,-13-1-16,13 1 0,-13-1 15,14-13-15,-14 14 0,0-14 0,0 0 16,0 0-16,13-13 0,-26 14 0</inkml:trace>
  <inkml:trace contextRef="#ctx0" brushRef="#br0" timeOffset="5001.88">1495 3360 0,'53'-26'15,"-40"26"-15,53-27 16,-39 27-16,12-13 0,-12 13 16,12-13-16,1 0 0,79-14 15,-92 27-15,-1-13 0,14 13 16</inkml:trace>
  <inkml:trace contextRef="#ctx0" brushRef="#br0" timeOffset="5485.86">2355 3056 0,'-53'66'0,"40"-39"16,13-14-16,0 13 0,0-13 0,0 1 15,0 12-15,0-13 0,13 1 16,-13-1-16,13 0 0,14 14 16,-14-14-16,0-13 15,0 0-15,0-13 0,27-1 16,-27 1-16,14-13 0,-14-1 16,0-13-16,14 14 0,-14-14 15,0-13-15,0-26 0,1 26 16,-14 13-16,13 1 0,-13 12 15,13 1-15,-13-1 0,0 14 0,0-13 16,0 12-16,13 1 16,-13 0-16,-13 53 15,13 39 1,13 14 0,-13-54-16,0 1 0,14 0 15,-14-1-15,13-12 0,0-1 0,-13 1 16,13-14-16,1 13 0,-14-12 0,13 12 15,0-13-15,0-13 16,-13 14-16,0-1 0,13-13 0</inkml:trace>
  <inkml:trace contextRef="#ctx0" brushRef="#br0" timeOffset="5903.82">2580 3188 0,'-14'-13'0,"28"26"0,-28-39 31,41-1-15,-14 27-16,14-13 0,-14 13 15,0-13-15,0 0 16,1 13-16,12-14 0,-13 1 0,0 13 16,1-13-16,-1 13 0,0-13 15,0 13-15,14 0 16,-14 13-1,0-13-15,-13 13 0,14 0 16,-1 1-16,0 12 31,0-26-31,0 13 0,1-13 16,12-13 0,-26 0-16,13 13 0,-13-13 0,14-1 15,-1 1 1,0 0-1,0 13 1,0 13 0,-13 0-16,0 1 15,0-1-15,14 0 0,-1 0 16,0-13-16,14 14 16,-14-14-1</inkml:trace>
  <inkml:trace contextRef="#ctx0" brushRef="#br0" timeOffset="6477.84">3360 2977 0,'-13'0'0,"-13"0"16,12 13-16,1 0 16,13 0-1,-13-13-15,13 13 0,-13 1 16,13-1-16,0 0 31,13-13-15,0 0-1,0 0 1,1 13-16,-1-13 16,0 0-1,13 0 1,1-13-16,-14 0 15,0 0-15,27-40 16,-27 26-16,0 1 0,1-14 16,-1 1-16,0-28 15,0 41-15,-13-1 0,0 14 0,14 0 16,-14 0-16,0 0 0,0-1 0,-14 67 31,14 0-15,0-26-16,0-14 15,0 13-15,0-12 0,14 12 0,-14-13 16,13 14-16,0-14 0,0 0 16,1 0-16,-1-13 0,0 14 0</inkml:trace>
  <inkml:trace contextRef="#ctx0" brushRef="#br0" timeOffset="8880.12">3545 9009 0,'0'27'0,"0"-14"0,0 0 0,-13 0 15,13 14 1,0-14-16,-13 0 0</inkml:trace>
  <inkml:trace contextRef="#ctx0" brushRef="#br0" timeOffset="10276.45">3440 9300 0,'52'0'0,"-52"13"0,0 1 0,-13 25 15,13-26 1,-13 1-16,0 12 0,0-13 0,-1 1 16,1-1-16,-13 27 15,12-27 1,14 0-16,-13-13 0,13 13 15,13 0 17,14-26-17,-14 0 1,0 13-16,1-13 0,-1 13 0,26-40 16,-25 27-16</inkml:trace>
  <inkml:trace contextRef="#ctx0" brushRef="#br0" timeOffset="10532.96">3598 9366 0,'-26'27'0,"13"-14"15,13 0-15,0 0 0,0 1 16,0-1-16,0 0 16,13-13-1,13 0 1,-12 0-16,-1-13 15,0 0-15,-13-1 16,-13 1 0,13 0-16,-13 13 0,13-13 15,-14 13 1,1 0-16</inkml:trace>
  <inkml:trace contextRef="#ctx0" brushRef="#br0" timeOffset="10694.28">3625 9406 0,'26'13'0,"-52"-26"0,65 26 0,-39 0 16,14-13-1,-28-13 32,14 0-31</inkml:trace>
  <inkml:trace contextRef="#ctx0" brushRef="#br0" timeOffset="12233.68">3916 9036 0,'-13'26'0,"13"-13"0,0 0 16,0 1-16,-14 25 16,14-25-16</inkml:trace>
  <inkml:trace contextRef="#ctx0" brushRef="#br0" timeOffset="12972.2">3836 9274 0,'14'0'0,"-1"0"0,0 0 15,14 0 1,-14 0 0,0 13-16,0-13 15,-13 13 1,14-13-1,-14 13 1,-14 1 0,14-1-1,0 0 1,0 0-16,0 0 0,0 1 16,-13 12-1,13-13-15,0 14 16,0-14-16,-13 0 0,13 1 15,-13-1 1</inkml:trace>
  <inkml:trace contextRef="#ctx0" brushRef="#br0" timeOffset="13356.85">3863 9432 0,'13'-26'0,"0"13"15,14 13-15,-27-14 0,13 14 16,0 0-16,1-13 0,-1 13 31,0 13-15,-13 1-1,0 12 1,13-26 0,-13 13-16,13-13 0,1 0 15,-1 14 1,0-28 0,-13 1-1,-13 0 1,0 13-1,-1 0-15,1 0 16</inkml:trace>
  <inkml:trace contextRef="#ctx0" brushRef="#br0" timeOffset="13546">4061 9432 0,'14'0'0,"-1"0"31,-13-13-15,0 0-1,-13-14 1,13 14-16,-14 13 0,14-13 0,-13 0 16,13 0-1,0-1 1</inkml:trace>
  <inkml:trace contextRef="#ctx0" brushRef="#br0" timeOffset="15373.9">4313 9009 0,'-14'27'31,"14"-1"-15,-13-13-16,13 0 0,0 1 0,0-1 16,0 0-16,-13 0 15,13 14 1,0-14-16</inkml:trace>
  <inkml:trace contextRef="#ctx0" brushRef="#br0" timeOffset="16292.83">4207 9300 0,'26'0'0,"-12"0"0,-14 13 16,0 14-1,-14-1 1,14-13-16,-13 1 16,13-1-16,-13 0 15,13 0-15,0 1 16,13-1 0,0-26-1,1-1 1,-1 1-1,0 0-15,0 0 16,-13-1-16,13 14 31,1 14-15,-14-1 0,13 0-1,0-13 1,0 0-1,-13-13 1,0 0 0,0-1-1,0 1 1,0 0-16,0 0 16,14 13-1</inkml:trace>
  <inkml:trace contextRef="#ctx0" brushRef="#br0" timeOffset="16468.95">4419 9353 0,'13'13'0,"-13"-26"31,-13 0-15,13 0 15</inkml:trace>
  <inkml:trace contextRef="#ctx0" brushRef="#br0" timeOffset="16933.99">4749 9049 0,'0'13'0,"-13"13"0,13-12 15,0-1-15,-13 13 16</inkml:trace>
  <inkml:trace contextRef="#ctx0" brushRef="#br0" timeOffset="17436.79">5173 9049 0,'-14'26'16,"1"-26"-16,13 13 0,0 1 0,0-1 15,-13 0-15,13 0 16,0 1-1</inkml:trace>
  <inkml:trace contextRef="#ctx0" brushRef="#br0" timeOffset="17673.27">5821 9049 0,'-27'13'16,"14"0"-16,13 0 0,-13-13 16,13 14-16,0-1 15,0 0-15,0 0 0</inkml:trace>
  <inkml:trace contextRef="#ctx0" brushRef="#br0" timeOffset="17877.28">6297 9022 0,'-13'14'16,"13"12"0,-13-13-1,26 14 1</inkml:trace>
  <inkml:trace contextRef="#ctx0" brushRef="#br0" timeOffset="18066.93">7064 9062 0,'-26'40'0,"26"-27"16,0 0-1</inkml:trace>
  <inkml:trace contextRef="#ctx0" brushRef="#br0" timeOffset="18262.07">7646 9022 0,'0'14'0,"0"-1"16,0 13 15,0-13-15,14-13 0</inkml:trace>
  <inkml:trace contextRef="#ctx0" brushRef="#br0" timeOffset="18402.89">7951 9102 0,'-27'53'16,"27"-40"0,14 0-1</inkml:trace>
  <inkml:trace contextRef="#ctx0" brushRef="#br0" timeOffset="21606.01">7104 9472 0,'13'13'16,"-13"1"-16,14-1 15,-1 0 1,-13 0-1,13-13-15,-26 13 16,0 1 0,-1-14-16,1 13 0</inkml:trace>
  <inkml:trace contextRef="#ctx0" brushRef="#br0" timeOffset="21900.86">7210 9578 0,'26'26'0,"-12"-26"0,-14 14 15,13-14-15,0 0 0,0 0 16,0 0-1,-13-14 1,0 1-16,-13 0 16,-13 0-1,26-1-15,-13 14 0,-1-13 16</inkml:trace>
  <inkml:trace contextRef="#ctx0" brushRef="#br0" timeOffset="22114.84">7699 9459 0,'-26'40'16,"26"-27"0,-13 13-16,13-13 0</inkml:trace>
  <inkml:trace contextRef="#ctx0" brushRef="#br0" timeOffset="22377.04">7766 9525 0,'-14'13'16,"28"0"-16,-1 1 16,0-1-16,0-13 15,0-13 1,1 13-16,-14-14 15,0 1 1,0 0-16,-14 13 16,14-13-16,-13 13 15</inkml:trace>
  <inkml:trace contextRef="#ctx0" brushRef="#br0" timeOffset="23322.95">8784 9578 0,'13'0'0</inkml:trace>
  <inkml:trace contextRef="#ctx0" brushRef="#br0" timeOffset="24125.58">3334 8612 0,'79'-13'0,"-66"13"16</inkml:trace>
  <inkml:trace contextRef="#ctx0" brushRef="#br0" timeOffset="24374.92">3321 8083 0,'79'-13'16</inkml:trace>
  <inkml:trace contextRef="#ctx0" brushRef="#br0" timeOffset="24605.81">3426 7541 0,'53'-14'0</inkml:trace>
  <inkml:trace contextRef="#ctx0" brushRef="#br0" timeOffset="24819.04">3532 7131 0,'13'0'0,"14"-14"16,-67 28-16,93-41 0,-40 27 15</inkml:trace>
  <inkml:trace contextRef="#ctx0" brushRef="#br0" timeOffset="25054.03">3466 6535 0,'66'-13'0</inkml:trace>
  <inkml:trace contextRef="#ctx0" brushRef="#br0" timeOffset="27543.88">6866 9274 0,'172'-40'16,"-66"27"-1,-40 0-15,53-1 16,13-12-16,186-1 15,-239 14 1,172 0-16,-158 13 16,357-13-1,-278 13 1,-80 13-16,67-13 0,66 26 16,-66 1-1,-106-14-15,26 14 16,-39-14-16,66 53 15,-27 40 17,-79-80-32,13 1 0,-13 52 15,0 40 1,-13-40 0,-13 27-1,-14-13-15,13-27 16,-12-13-1,-27 40 1,13-54-16,26-12 0,-26 12 16,27-12-16,-14-14 15,0 0-15,-65 40 16,-81 0 0,67-40-16,-92 1 15,65-28 1,1 14-16,79-13 15,-80 0-15,0-14 16,-25 1-16,78 0 16,-119-27-1,159 26 1,-211-105 0,131 26-1,107 80 1,-40-94-1,53 68-15,13 25 0,0 1 16,26-80 0,1-13-16,-1 53 15,14-1 1,13-38 0,-53 91-16,39-25 15,-26 26-15,1-1 16</inkml:trace>
  <inkml:trace contextRef="#ctx0" brushRef="#br0" timeOffset="28442.01">8652 10517 0,'0'53'16,"-13"-13"-16,13-1 16,-27 94-1,14-94 1,13-12-16,-13-1 0,13 1 15</inkml:trace>
  <inkml:trace contextRef="#ctx0" brushRef="#br0" timeOffset="28741.4">8731 10530 0,'-26'0'16,"13"14"-16,-27-1 0,27-13 16,-1 13-16,1-13 0,-13 13 15,-1-13-15,14 14 16,0-14-16,39 0 47,-13 0-47,14 0 15,-1 13-15,1-13 0,-14 13 16,14-13-16,-14 0 0,0 13 0,27-13 16,-27 0-16,0 0 15,14-13-15</inkml:trace>
  <inkml:trace contextRef="#ctx0" brushRef="#br0" timeOffset="32027.32">6734 7977 0,'13'-13'16,"0"13"-16,0 0 0,1-13 16,-1 13-16,0-13 0,0 13 15,27-27-15,0 14 16,26-14-16,-27 14 0,1 0 15,0 0-15,13-1 0,-14 1 16,1 0-16,13 0 0,-13 0 0,13 13 0,-14-14 16,1 1-16,13 0 15,-13 13-15,13-13 0,13 13 0,0-14 16,-13 1-16,13 13 0,-13-13 0,0 13 16,13-13-16,-13 13 0,26-14 15,-13 14-15,-13 0 0,13-13 0,-13 13 16,66 0-16,-66 0 0,0 0 15,0 0-15,0 0 0,-13 13 16,13-13-16,-14 0 0,1 14 0,13-14 16,-13 13-16,13-13 0,39 26 15,-52-26-15,0 14 16,12-14-16,-12 13 0,0 0 0,-1-13 16,1 13-16,0 1 0,0-1 0,-14 0 15,0-13-15,1 13 0,-1 0 16,1 1-16,26-1 0,-40 0 15,13 0-15,-12 1 0,12-1 0,1 0 16,-14 0-16,0 1 0,13-1 16,1 26-16,-1-12 15,-12-14-15,-1 0 0,0 1 16,0 12-16,-13-13 0,14 0 16,-14 14-16,13-14 0,-13 0 15,0 1-15,0 12 16,0 14-16,0-27 15,0 13-15,-13-12 0,13 12 0,-14 1 16,14-14-16,-13 0 16,0 14-16,0-14 0,13 0 0,-14 13 15,-39 14-15,40-13 16,0-14-16,-13 0 16,-14 13-16,27-12 0,-27 12 15,14-13-15,-1-13 0,1 14 16,-41 12-16,28-13 15,-41 1-15,41-1 0,-1-13 16,-13 0-16,-39 13 0,52-13 16,-13 13-16,13-13 0,1 0 15,-14 0-15,13 0 0,0 0 0,1 0 16,-28 0-16,28 0 16,-1-13-16,0 13 0,14 0 15,-14 0-15,14-13 0,-14 13 0,0 0 0,14-13 16,-14 13-16,1-14 0,-1 14 15,0-13-15,-39 0 0,39 13 16,14-13-16,-14-1 0,0 14 16,1-13-16,-41 0 0,14 0 15,0-1 1,-13-12-16,52 13 0,1 13 16,-41-27-1,28 14-15,-27-27 0,39 27 16,-13 0-16,-12-27 0,25 27 0,1 0 15,12 0-15,1-14 16,0 14-16,-14-14 16,-12-39-16,39 53 15,-13 0-15,-1-40 16,14 40 0,-13-27-16,13 27 0,0 0 15,0-1-15,-13-65 16,13 66-1,13-14-15,0-12 16,14-28-16,12 15 16,14-1-16,0 13 15,-13 13-15,-14 14 0,67-13 16,-40 26 0,-13 0-16</inkml:trace>
  <inkml:trace contextRef="#ctx0" brushRef="#br0" timeOffset="35838.86">3029 8678 0,'14'0'31,"-1"0"79,0 0-95,0 0-15,1 14 16,-1-14-16,-13 13 15,0 0 1,0 0-16,0 0 0,-13 1 16,13-1-16,-14-13 0,1 26 15,0-12 1,13-1 0,-13-13-16,26 13 15,0-13 1,0 0-16,40 0 31,-26-13-31,-14 13 16</inkml:trace>
  <inkml:trace contextRef="#ctx0" brushRef="#br0" timeOffset="36878.08">3228 8705 0,'-13'-13'0,"-1"26"16,14 13-1,0-13 1,0 1-16,0-1 0,0 0 16,0 0-1,14-13-15,-14 14 16,13-14-16,0 0 16,-13-14-16,13 14 15,-13-13 1,-13 0-16,13 0 15,-13-1 1,13 1 0,-13 13-16,-1 0 15</inkml:trace>
  <inkml:trace contextRef="#ctx0" brushRef="#br0" timeOffset="37097.97">3268 8811 0,'13'13'0,"0"-13"0,0-13 16,-13-1 0,0 1-1,0 0 1,0 0-16,-13-1 15,0 1-15,0 13 16,-1-13-16,1 13 16</inkml:trace>
  <inkml:trace contextRef="#ctx0" brushRef="#br0" timeOffset="37957.25">2672 6509 0,'0'26'16,"0"-13"0,0 1-16,-13 25 15,13-25 1,0-1-16,0 0 0,13 0 15,-13 1-15,0-1 16,0 0-16</inkml:trace>
  <inkml:trace contextRef="#ctx0" brushRef="#br0" timeOffset="38260.94">2778 6548 0,'-13'14'16,"13"12"-1,13-26-15,0 13 16,1-13 0,-1 0-16,-13-13 31,0 0-16,-13 0 1,-1-1-16,1 14 0,0 0 16,0 0-1,-1 0 1</inkml:trace>
  <inkml:trace contextRef="#ctx0" brushRef="#br0" timeOffset="38532.1">2844 6548 0,'27'27'16,"-14"-14"-1,0-13-15,0 0 16,1 0-16,-1 0 15,-13-13 1,0 0 0,-13-1-1,-1 14-15,1-13 16,0 13 0,0 0-1</inkml:trace>
  <inkml:trace contextRef="#ctx0" brushRef="#br0" timeOffset="38789.22">3056 6575 0,'13'0'0,"14"13"0,-67-26 0,93 13 15,-40 0-15,-13-13 0,13-1 16,-13 1 0,-13 0-16,13 0 0,-13 0 15,0-1-15,-14 1 16,14 13-16,0-13 16,-1 13-16,1 0 0,0 0 0,-27 13 15,27-13-15</inkml:trace>
  <inkml:trace contextRef="#ctx0" brushRef="#br0" timeOffset="40922.9">2871 6800 0,'66'-27'16</inkml:trace>
  <inkml:trace contextRef="#ctx0" brushRef="#br0" timeOffset="41089.76">2738 6998 0,'133'-26'16</inkml:trace>
  <inkml:trace contextRef="#ctx0" brushRef="#br0" timeOffset="42117.14">4591 9406 0,'0'40'16,"0"-14"-16,0-13 0,0 1 15</inkml:trace>
  <inkml:trace contextRef="#ctx0" brushRef="#br0" timeOffset="42519.29">4670 9406 0,'-13'13'47,"13"0"-47,13 1 16,-13-1-16,0 0 15,13-13-15,-13 13 16,13 1-16,-13-1 15,0 0-15,0 13 32,-13-26-32,13 14 0,-13-14 15,13 13-15</inkml:trace>
  <inkml:trace contextRef="#ctx0" brushRef="#br0" timeOffset="42771.96">4762 9459 0,'14'13'16,"-28"-26"-16,41 26 16,-14-13-1,-13-13 1,0 0-1,0-1 1,0-12-16,-13 26 16,13-13-1,-13 13-15</inkml:trace>
  <inkml:trace contextRef="#ctx0" brushRef="#br0" timeOffset="43429.02">4961 9327 0,'0'0'0,"13"0"16,-13 13-1,0 0 1,0 0-16,0 0 16,-13 1-16,13-1 15,0 0-15,0 0 16,0 1 15,13-28-15,0 1-1,1 0-15,-1 0 16,0 13-16,-13-14 16,13 14-16,1 0 62,-14 14-46,26-28-1,-13 14 17,-13-13-32,0 0 15,-13 13 1,13-13 0,13 0 15</inkml:trace>
  <inkml:trace contextRef="#ctx0" brushRef="#br0" timeOffset="43621.45">5173 9366 0,'26'13'15,"-13"-13"-15,-13-13 16,14 13-16,-28-13 31,14 0-31,-13 13 16,0 0-16,13-13 15</inkml:trace>
  <inkml:trace contextRef="#ctx0" brushRef="#br0" timeOffset="46030.16">4670 9684 0,'145'-27'16,"-105"27"-16,106-26 15,-107 13-15,14-1 0,0 14 16,27-26-16,-41 26 0,-12-13 16,12-1-16,1 14 15,-27 0-15,1-13 0,-1 13 16,-13-13 0,13 13-16,-13-13 15</inkml:trace>
  <inkml:trace contextRef="#ctx0" brushRef="#br0" timeOffset="47018.98">4366 6403 0,'26'13'31,"27"-13"-15,-40 0-16,14 0 16</inkml:trace>
  <inkml:trace contextRef="#ctx0" brushRef="#br0" timeOffset="47171.12">4789 6429 0,'40'-13'15,"-27"13"-15,0-13 16</inkml:trace>
  <inkml:trace contextRef="#ctx0" brushRef="#br0" timeOffset="47289.03">5067 6376 0,'13'0'15</inkml:trace>
  <inkml:trace contextRef="#ctx0" brushRef="#br0" timeOffset="50993.29">7990 9485 0,'0'27'16,"0"-14"-16,0 13 15,0-12 1,0-1 0,0 0-16,14 0 0,-1-13 0,0 0 15,0 0 1,1 0 0,-1-26-16,-13 13 15,0-1 1,-13 1-16,13 0 15,-14 0 1,1 13 0,0 13-16,0-13 15</inkml:trace>
  <inkml:trace contextRef="#ctx0" brushRef="#br0" timeOffset="52601.21">7686 9419 0,'13'-13'15,"1"13"-15,-1 0 0,-13-13 16,26 13-16,-12-14 15,-1 14 1,-40 14 15,14-1-15,0-13-16,0 13 0,-1-13 16,1 13-16,0-13 0,0 14 15,-1-1-15,14 0 16,14 0-1,-1 1 1,0-1-16,0-13 0,1 13 16,-1 0-16,0 0 15,-13 1-15,0-1 16,0 0 0,0 0-16,-13-13 0,13 14 15,-13-14-15,-1 13 16,-25-13-16,25 13 15,1-13-15,0 0 16</inkml:trace>
  <inkml:trace contextRef="#ctx0" brushRef="#br0" timeOffset="52930.04">7805 9512 0,'-13'26'15,"13"-13"-15,0 1 16,13 12 0,-13-13-16,13-13 15,1 0-15,-1 14 0,0-14 16,0 0-16,1 0 0,12 0 15,-13-14-15,1 14 16,-14-13-16,0 0 16,0 0-16,0-1 15,-14 1-15,1 0 0,0 13 16,0 0-16,13-13 0,-40 13 16,27 0-1,-1 0-15,1 13 16</inkml:trace>
  <inkml:trace contextRef="#ctx0" brushRef="#br0" timeOffset="53162.95">8043 9419 0,'14'13'0,"-14"1"0,0 12 16,0-13-16,0 1 0,0 12 16,-14 14-16,1 39 15,13-52 1,-13-1-16,13 0 16,13-12-1</inkml:trace>
  <inkml:trace contextRef="#ctx0" brushRef="#br0" timeOffset="53471.96">8255 9512 0,'-13'0'15,"0"13"-15,-14 0 16,-13 14-1,27-27-15,-27 39 16,27-39-16,-13 27 16,26-14-1,0 14 1,39-1 0,-25-13-16,-1-13 15,13 0 1,-12 13-16,-1-13 15,0 0 1,0 0-16</inkml:trace>
  <inkml:trace contextRef="#ctx0" brushRef="#br0" timeOffset="57457.95">13229 4022 0,'80'-53'16,"-54"40"-16,0 13 0,1-14 15,-1 1-15,14 0 0,0 0 0,52-1 16,-52 14-16,39-13 16,-39 13-16,0 0 0,-14 0 15,1-13-15,-1 13 0,1 0 16,12 0-16,-25 0 0,12 0 0,-13-13 15,0 13 1</inkml:trace>
  <inkml:trace contextRef="#ctx0" brushRef="#br0" timeOffset="57689.03">13877 3664 0,'27'-13'15,"-1"13"1,-12 0-16,-1 13 0,13 1 16,14 25-16,-27-25 0,0-1 15,1 13-15,12 14 0,-26-27 16,0 14-16,0-14 0,0 13 16,-13 14-16,-14 13 15,14-40-15,0 14 0,-14-14 16,1 0-16,26 0 15</inkml:trace>
  <inkml:trace contextRef="#ctx0" brushRef="#br0" timeOffset="58177.9">14486 3598 0,'0'40'0,"0"0"15,13-1-15,-13-25 0,0 12 16,0-13-16,0 14 0,0 12 15,0-25-15,0 12 16,0-13-16,0 1 0,0-1 16,-13-53 15,13 0-31,-13 14 16,13 0-16,0-1 0,0 1 0,0-14 15,0 13-15,13-25 0,-13 38 16,0-12-16,26-14 15,1 27-15,-27 0 16,13 13-16,0 13 16,1-13-16,-14 13 15,13 0-15,-26 1 0,13-1 0,0 0 16,0 0-16,-14 1 0,14-1 16,-13 0-16,0 0 0,0 14 15,-1-14-15,1 0 0,13 0 16,-13-13-16</inkml:trace>
  <inkml:trace contextRef="#ctx0" brushRef="#br0" timeOffset="58569.65">14658 3638 0,'0'26'31,"0"-12"-31,0-1 0,0 27 16,13-27-16,0 13 15,14 1 1,-14-27 0,14 0-16,-27-13 0,13 13 15,0-14 1,0-12-16,-13 13 0,13-1 15,-13 1-15,14-13 16,-14 12 0,13 14-16,-13 14 31,13 12-15,-13-13-1,13-13-15,-13 14 16,14-1-16</inkml:trace>
  <inkml:trace contextRef="#ctx0" brushRef="#br0" timeOffset="58871.25">14989 3638 0,'0'-26'0,"0"52"32,0-13-32,0 0 15,0 1-15,0-1 16,0 0-16,0 0 16,0-52 15,13 25-16,-13 1 1,13 0-16,-13 0 16,13 13-16,-13-13 0,14 13 15,-1-14 1</inkml:trace>
  <inkml:trace contextRef="#ctx0" brushRef="#br0" timeOffset="59374.29">15266 3506 0,'-26'13'0,"26"0"15,-13 0-15,0 27 16,13-27 0,0 1-16,0-1 0,0 0 15,13 0-15,-13 0 16,13-13-16,0 14 15,0-14-15,14 0 16,-27-14 0,13 14-16,0-13 0,1 0 15,-1 0-15,-13 0 0,13-1 16,-13-12-16,0 13 0,13-1 0,-13-12 16,14 13-16,-14-27 15,13 27-15,-13 0 0,0-1 16,0 1-16,0 40 47,0-14-47,-13 0 15,13 0-15,-14 14 0,1 12 16,13-25-16,0-1 16,0 13-16,-13-12 0,13-1 15,0 0-15,0 0 16,13-13-16,0 13 15,1-13 1,-1 0-16,0 0 16,0 0-16,0 0 0,1-13 15,-1 13-15,0 0 0,0-13 16</inkml:trace>
  <inkml:trace contextRef="#ctx0" brushRef="#br0" timeOffset="59810.57">15597 3519 0,'0'-27'0,"-13"27"16,-13 0 0,26 14-1,0-1 1,13 0 15,-13 0-31,13 1 16,0-14-1,0 13 1,1 0 31,-14 0-16,0 1-15,0-1 15,-14-13-15,14 13-1,-13-13 1,0 0 0,0 0-1,0 0 1</inkml:trace>
  <inkml:trace contextRef="#ctx0" brushRef="#br0" timeOffset="60558.55">13679 4710 0,'40'-14'16,"-14"14"-16,1 0 15,-1-13-15,0 13 0,14-13 0,0 13 16,39-27-16,-52 27 0,26-13 16,0 0-16,-40 0 15,13 13-15,-13 0 0,1-13 16,-1-1-16,0 14 0</inkml:trace>
  <inkml:trace contextRef="#ctx0" brushRef="#br0" timeOffset="60788.98">14155 4419 0,'13'-14'0,"14"28"0,-14-14 16,0 0-16,-79 0 0,146 13 0,-27 13 15,-40-13-15,0 14 16,0-1-16,0-12 16,-13 25-16,0-25 0,-13 12 15,0 14-15,0-27 16,13 0-16,-13 0 0,-1 1 0,14-1 16,-13 0-16,0 0 0</inkml:trace>
  <inkml:trace contextRef="#ctx0" brushRef="#br0" timeOffset="61484.2">14909 4339 0,'13'0'0,"14"27"15,-27-14 1,0 0-16,0 27 16,-13-14-16,13-13 15,-14 1-15,14-1 16,0 0-16,0 0 16,0 1-16,14-14 15,-1-14-15,0 14 16,0 0-16,1 0 0,-1-13 15,0 13-15,0 0 0,1-13 0,-1 13 16,0-13-16,0 13 0,0-14 0,1 14 16,-1-13-16,0 13 15</inkml:trace>
  <inkml:trace contextRef="#ctx0" brushRef="#br0" timeOffset="61820.96">15214 4180 0,'0'14'31,"0"-1"-31,-14 0 0,14 0 16,0 14-1,14-14 17,-1-26-1,0 13-15,0 0-16,0 0 15,1 0 1,-1-13-16,13-1 15,-12 14-15</inkml:trace>
  <inkml:trace contextRef="#ctx0" brushRef="#br0" timeOffset="62131.13">15505 4048 0,'0'-13'16,"0"39"15,-14-26-15,14 14-1,-13-14-15,13 13 16,-13 0-16,0-13 0,13 13 16,-14 1-1,1-1-15,13 0 16,13 0 15,1-26-15,-1 13-16,0 0 0,0 0 15,1 0-15,-14-13 16</inkml:trace>
  <inkml:trace contextRef="#ctx0" brushRef="#br0" timeOffset="65130.89">4207 9763 0,'26'13'15,"14"14"17,-14-27-32,-12 13 0,52 13 15,-26 1-15,-1-14 0,41 14 16,-41-1-16,41 1 15,-1-14-15,-39 0 16,-1 0-16,1-13 0,13 13 16,-13-13-16,-14 0 0,1 0 15,-1-13-15,40 13 0,-26-13 16,-14 0-16,14 0 0,0-1 16,-14 1-16,1 0 0,-1 0 0,54-27 15,-67 27 1,0-1-16,13 1 0,-12-13 15,25-1-15,-25 14 0,-1 0 16,0 0-16,0-14 0,0 14 0,1 0 16,-1 0-16,0-14 0,0-13 15,1 27-15,-1-13 0,-13 12 16,13-12-16,-13 13 0,13 0 16,-13-14-16,0-13 15,0 27-15,0-13 0,0 12 0,0 1 16,0-13-16,-13 13 0,13-27 15,-13 13-15,13 1 16,0 13-16,-13 0 0,13-1 0,0-12 16,-14 13-16,14-1 0,-13 1 15,13-13-15,-13 12 0,0-12 16,-1 0-16,1 12 0,-13 1 0,13 0 16,-1 0-16,1-1 0,-13-12 15,-1-1-15,1 14 0,-1-13 16,-12 13-16,25-1 0,-12-12 15,-27-1-15,40 27 16,-14-13-16,1 0 0,-1 0 0,14-1 16,-40 1-16,14-13 15,12 26-15,14-13 0,-14 13 0,14-14 16,-13 14-16,-1-13 16,14 13-16,-13-13 0,-1 13 0,1 0 15,-1 0-15,1-13 0,-54 13 16,67 0-16,-13 0 0,-1 0 15,1 0-15,-1 0 0,1 0 16,-1 13-16,1-13 0,-1 0 0,14 0 16,-13 13-16,-1-13 0,-26 13 15,0 14-15,1-14 16,38 0-16,-12 0 16,-1 14-16,14-14 0,0 0 15,0 1-15,0-1 0,-27 53 16,27-26-1,-1-14-15,1-13 0,-13 40 16,-1 0-16,27-26 16,-26 26-16,13-27 0,13 1 15,-27 65 1,27-65-16,-13-1 0,13 0 0,0 27 16,0-26-16,0-1 15,0 1-15,0-1 0,13 14 16,0-14-16,-13 14 0,14-13 0,12-1 0,-13 0 15,27 27-15,-27-26 16,27-1-16,-27 1 16,14-14-16,-14 0 0,13-13 0,-13 13 15,14 1-15,-14-1 0,14 0 16,-14-13-16,0 13 0</inkml:trace>
  <inkml:trace contextRef="#ctx0" brushRef="#br0" timeOffset="66381.16">4657 10213 0,'0'40'0,"-14"-27"0,14 13 16,-13 27-16,13-13 15,0 0-15,-13-14 0,13 14 16,-13-1-16,13-12 0,0-1 0,-13 1 16,13-1-16,0 1 0,-14-1 0,14-13 15,0 1-15,-13-1 0,13 0 16</inkml:trace>
  <inkml:trace contextRef="#ctx0" brushRef="#br0" timeOffset="66690.28">4617 10266 0,'-66'0'0,"13"26"15,40-26-15,-1 14 16,1-1-16,0 0 15,0 0-15,26 0 16,0-13 0,27 0-16,-14-13 15,1 13-15,79 0 16,-67-13-16,-12 13 0,12-13 16,-12 13-16,-14 0 0,27-13 15,-14 13-15,-12-14 0,12 14 16,-13 0-16,-13-13 0,13 13 0,1 0 15</inkml:trace>
  <inkml:trace contextRef="#ctx0" brushRef="#br0" timeOffset="70775.96">18852 2222 0,'26'53'15,"-26"-26"-15,0-1 16,0 14-16,0 13 0,0 0 0,-13 26 16,13-13-16,-13 93 15,-1-79-15,1 25 0,0 14 0,0-13 16,13 13-16,-14 0 0,1 0 16,0 14-16,0-1 0,13 0 0,-14 14 15,14-14-15,-13 0 0,13 1 0,0 12 16,0-13-16,0 1 0,0-1 15,0 119-15,0-118 0,0-14 16,-13-13-16,13-14 0,-13 160 16,0-173-16,-1 0 0,1-13 15,0 1-15,0-14 0,-1-1 16,1-25-16,13-1 0,-13 1 16,0-27-16,0 13 0</inkml:trace>
  <inkml:trace contextRef="#ctx0" brushRef="#br0" timeOffset="71579.64">17515 6125 0,'411'-13'15,"-319"13"-15,93 0 16,14 0-16,-93 0 0,26 0 0,13 0 16,279 0-1,-279 13-15,1-13 0,13 13 16,-14-13-16,159 14 0,-145-1 15,0 0-15,0 0 0,-14 0 16,14 1-16,0-1 0,-14 0 0,173 14 16,-173-14-16,1 0 15,12-13-15,1 13 0,-13 1 16,-14-1-16,13 0 0,-12 0 0,-1 0 16,199 1-16,-146-1 15,-106-13-15,1 0 16,-1 0-16,-26 0 0,0 0 0,0 13 15,-13-26-15,-14 13 0,0 0 0,1 0 16,-14 0-16,0 0 0,14 0 16,-14 0-16,0 0 0,1 0 0,-1 0 15,0 0-15,0 0 0,0 0 16,1 0-16,-1 0 0,0-13 0,0 13 16,1 0-16,-1 0 0,0 0 15,14 0-15,-14 0 0,0 0 0,13 0 0,1 0 16,-1 0-16,1 0 0,13-14 15,-14 14-15,14 0 0,-14 0 16,14 0-16,-14 0 0,14 14 0,-14-14 16,1 0-16,-1 0 0,1 0 0,-1 0 15,1-14-15,-14 14 0,0 0 16,0 0-16,1 0 0,-1 0 0,0 0 16,0 0-16,1 0 15,-54 0 16,27 0-15</inkml:trace>
  <inkml:trace contextRef="#ctx0" brushRef="#br0" timeOffset="74746.87">19010 6085 0,'-13'27'16,"13"-14"-16,0 0 0,0 1 0,0-1 16,0 26-1,0-12 1</inkml:trace>
  <inkml:trace contextRef="#ctx0" brushRef="#br0" timeOffset="75217.73">18865 6376 0,'13'-13'0,"0"13"15,0 13 1,-39 14 15,26-14-31,-13 14 16,0-27-16,13 13 0,-14 0 0,1-13 15,13 13-15,-13 1 16,26-1 15,14-26-15,-14 13-1,0 0-15,0-14 0,0 14 16,1 0-16,-1-13 0</inkml:trace>
  <inkml:trace contextRef="#ctx0" brushRef="#br0" timeOffset="75478.35">19103 6363 0,'-27'27'47,"27"-14"-31,-13 13-1,13-12-15,-13-14 16,13 13-16,0 0 16,13 0-1,0 1-15,1-14 31,25-14-15,-25 1-16,-1 0 16,0 13-16,0 0 0</inkml:trace>
  <inkml:trace contextRef="#ctx0" brushRef="#br0" timeOffset="77297.89">18865 6363 0,'-13'13'31,"13"14"-31,0-14 16,-14 27-1,14-27-15,0 0 0,0 1 16,-13-1-16,13 0 0,0 0 16,0 0-1,0 1-15,0-41 32,0 14-32,0 0 15,13-14-15,-13 1 16,0 13-16,14-1 0,-14 1 31,0 40-15,0-1 15,-14-13-31,14 1 0,0 12 0,-13-13 16,13 0-16,0 1 15,-13-14-15</inkml:trace>
  <inkml:trace contextRef="#ctx0" brushRef="#br0" timeOffset="77690.2">19619 6072 0,'-27'53'0,"14"-40"15,13 1-15,0-1 0,-13 0 0,13 13 16,-13 1-16,13-1 15</inkml:trace>
  <inkml:trace contextRef="#ctx0" brushRef="#br0" timeOffset="78056.53">19513 6429 0,'13'0'16,"14"14"0,-27-1-1,-14 13-15,14-12 16,-13-1-16,-13 40 15,13-53 1,13 13-16,-14 0 16,14 0-1,14 1 1,-1-28 0,13 14-16,-13-13 15,1 13-15,-1-13 0,0 13 16,0-13-16,1-1 0</inkml:trace>
  <inkml:trace contextRef="#ctx0" brushRef="#br0" timeOffset="78311.81">19778 6403 0,'-14'13'15,"1"14"1,13-14-16,-13 0 15,13 14-15,-13-27 0,13 13 16,0 0-16,0 0 16,0 0-16,0 1 15,0-1-15,13-13 16,13 0 0,-12 0-16,-1-13 0,0 13 15,0-14-15,27 1 16,-27 0-16,14 0 15</inkml:trace>
  <inkml:trace contextRef="#ctx0" brushRef="#br0" timeOffset="78751.78">20174 6152 0,'-13'26'46,"13"-13"-46,0 0 0,0 1 0,0-1 16,0 0-16,0 0 16,0 1-16,0-1 0,0 0 0,0 14 15,0-1-15,0-13 16</inkml:trace>
  <inkml:trace contextRef="#ctx0" brushRef="#br0" timeOffset="79108.8">20174 6496 0,'14'13'16,"-1"-13"-1,-13 13-15,-13 0 16,-1 14 0,1-14-16,13 0 0,0 0 15,-13 1 1,13-1-16,13-13 16,-13 13-1,0 0 1,0 1-1,-13-14-15,13 13 0,-13-13 16,0 13-16</inkml:trace>
  <inkml:trace contextRef="#ctx0" brushRef="#br0" timeOffset="79355.05">20294 6522 0,'0'13'0,"0"0"16,0 1-16,-14-1 15,1 0-15,13 0 16,-13 1-16,13 12 0,-13-13 16,13 1-16,0 12 15,13-13 1,0-13-16,14 0 15,-14 0 1,-13-13-16,13 13 0,0-13 16,0 13-16,1 0 0,-14-13 0,13-1 0</inkml:trace>
  <inkml:trace contextRef="#ctx0" brushRef="#br0" timeOffset="79672.14">20770 6112 0,'0'40'15,"0"-27"-15,0 0 0,0 0 0,-13 0 16,13 14-16,0-14 0,0 0 16,-14 27-16,14-27 15,0 1-15,0-1 0,0 0 0</inkml:trace>
  <inkml:trace contextRef="#ctx0" brushRef="#br0" timeOffset="80096.42">20770 6522 0,'-13'0'16,"-1"13"-1,1 0-15,-13 14 16,26-14 0,-14-13-16,14 13 15,0 1-15,0-1 16,14 0-16,-14 0 16,0 1-1,0-1 1,0 0-16,-14-13 0,1 13 15,0 0 1</inkml:trace>
  <inkml:trace contextRef="#ctx0" brushRef="#br0" timeOffset="80337.3">20849 6535 0,'13'27'16,"-26"12"-1,13-12 1,0-14 0,13 14-1,-13-14-15,14-13 0,-1 0 16,0 0-16,14 0 15,-14 0-15,0 0 0,0-13 16,0 13-16,14-14 0</inkml:trace>
  <inkml:trace contextRef="#ctx0" brushRef="#br0" timeOffset="81077.12">24143 6297 0,'0'27'16,"0"12"0,-13 1-1,13-27-15,0 53 16,0-52-1,-13-1-15,13 0 0,0 27 16</inkml:trace>
  <inkml:trace contextRef="#ctx0" brushRef="#br0" timeOffset="81889.35">24209 6734 0,'40'-14'0,"-66"28"31,-1-1-15,14-13-16,0 13 16,-1-13-16,1 13 0,0 1 0,0-1 15,13 0 1,0 0 0,13-13-16,0 13 15,0 1-15,1-1 16,-14 0-1,-14 14 1,1-27 0,0 13-16,0-13 15,0 13-15,-1-13 16,1 0-16</inkml:trace>
  <inkml:trace contextRef="#ctx0" brushRef="#br0" timeOffset="82202.94">24368 6773 0,'-13'14'15,"0"12"1,13-13-16,0 0 15,0 1-15,13-1 16,-13 0-16,13-13 0,0 13 16,14-26-1,-14 13-15,-13-13 16,0 0 0,0-14-16,-13-12 15,0 39 1,13-14-16,-14 14 0,1-13 15,0 13-15,0 0 16</inkml:trace>
  <inkml:trace contextRef="#ctx0" brushRef="#br0" timeOffset="82709.17">23746 6363 0,'14'13'16,"-14"1"-1,0-1-15,-14 53 16,1-39-1,13-1-15,-13 14 0,13-14 0,-13 14 16</inkml:trace>
  <inkml:trace contextRef="#ctx0" brushRef="#br0" timeOffset="83058.99">23614 6892 0,'-13'0'15,"-14"0"-15,14 14 16,0-1-1,0 0-15,13 0 16,0 1 15,13-1-31,0-13 0,0 0 16,1 0-16,-1 0 16,0 0-16,14 0 15,-14 0-15,0 0 16,0-13-16,0 13 0</inkml:trace>
  <inkml:trace contextRef="#ctx0" brushRef="#br0" timeOffset="83238.99">23746 6813 0,'-26'13'15,"26"0"-15,-13 1 16,-1-1-16,14 0 15,-26 27 1,26-27-16,0 0 16,13-13-16,-13 14 15</inkml:trace>
  <inkml:trace contextRef="#ctx0" brushRef="#br0" timeOffset="83467.84">23812 6906 0,'0'13'31,"0"0"-31,0 0 16,0 1-16,14-14 0,-1 0 15,-13 13-15,13-13 16,0-13-16,1 13 16,-14-14-16,0 1 15,-67-13-15,147 52 0,-93-52 16,13-1-16,-14 14 15,1 0-15,0 13 16,-14-27-16,-12 14 16</inkml:trace>
  <inkml:trace contextRef="#ctx0" brushRef="#br0" timeOffset="83877.39">23244 6324 0,'0'39'15,"0"-26"-15,-14 14 0,14-14 16,0 27-16,-13 13 16,13-27-16,0-13 0,-13 14 15,13-1-15,0-12 0,0 12 16,0-13-16</inkml:trace>
  <inkml:trace contextRef="#ctx0" brushRef="#br0" timeOffset="84356.98">23111 6892 0,'27'27'15,"-40"-14"1,-1 0 0,14 1-16,0-1 15,0 0 1,0 0-16,0 0 16,0 1-1,0-1-15,-13 0 16,26-26 31</inkml:trace>
  <inkml:trace contextRef="#ctx0" brushRef="#br0" timeOffset="84572.41">23297 6932 0,'13'0'16,"-13"13"-16,0 1 15,13-14 1,0 0 0,0 0-1,-13-14-15,0 1 16,-13 0 0,13 0-16,-13 13 0,0 0 15,0 0-15,-1-14 0,-12 14 16,13 0-16,-1 0 0,1 0 15,0 0-15</inkml:trace>
  <inkml:trace contextRef="#ctx0" brushRef="#br0" timeOffset="88703.01">18759 6006 0,'13'0'94,"0"-13"-79,1 13 1,-1-13-16,0-1 16,0 1-1,1-13 1,-1 12-16,-13 1 15,0-13 1,13 13-16,-13-1 0,13-12 16,-13 13-16,0-1 0,13 1 15,-13 0-15,0 0 0,14-1 16,-14 1-16,13 0 0,-13 0 0,0 0 16,13-1-16,-13 1 0,13 0 0,1-40 15,-1 40 1,-13-14-16,13 1 15,0-1-15,1 1 0,-1-1 16,-13 14-16,13 0 16,-13 0-16,0 0 0,13-27 15,-13 27-15,0-1 0,13 1 0,-13-13 16,0 12-16,0-12 0,14 13 16,-14 0-16,0-14 0,13 14 0,-13-14 15,0 14-15,13-13 16,-13-14-16,13 27 0,-13 0 15,14-14-15,-14 14 0,0 0 0,0-1 16,13-12-16,-13 13 0,0-1 0,13 1 16,-13-13-16,0 13 15,13-1-15,-13-12 0,0 13 0,14-1 0,-14 1 16,0-13-16,13 12 0,-13 1 16,0 0-16,13-13 0,-13 12 0,13 1 15,-13-13-15,13 12 16,-13-25-16,14 26 0,-14-14 0,13 14 15,-13-14-15,13 1 16,0-1-16,-13 1 0,14 0 16,-14-1-16,0 14 0,13 0 0,-13-1 15,0-12 1,13-14-16,-13 27 0,13 0 0,-13 0 16,14-27-16,-14 13 15,13 14-15,-13 0 0,0-13 16,13 12-16,-13-12 0,13-14 15,0 27-15,-13-27 0,14 14 16,-14 13-16,13-14 0,-13 14 16,0-14-16,13 1 0,-13 13 15,0-1-15,0-12 0,0 13 16,13-14-16,-13 14 16,0 0-16,0 0 0,0-14 15,14 1-15,-14 12 16,0 1-16,13 0 0,0-27 15,-13 27 1,13-13-16,0 12 0,-13 1 16,14 0-1,-14 0-15,13-1 0,-13 1 0,13 0 16,-13 0-16,13 13 0,-13-13 0,0-1 16,14 14-16,-14-13 0,13 0 15,-13 0-15,13-1 16,0 1-16,1 0 15,-1 0-15,0-14 16,0 1-16,0 26 16,1-13-16,-14-1 15,0 1-15,13 13 0,-13-13 16,13 0-16,-13-1 16,0 1-16,13 13 0,-13-13 15,0 0 1,14-14-16,-14 14 15,13 13-15,-13-26 16,13 12 0,0 1-1,1 13 1,-14-13 0,13 13-1,0 0 1,0 0-1,0 0 1,1 0 0,-1 0-1,-13 13 1,13 0 0,0 1-1,-13-1 1,14-13-1,-14 13-15,13 0 16,-13 1-16,13-14 16,-13 13-16,0 0 15,13 0 1,-13 0 0,13 1-16,-13-1 15,0 0-15,14-13 16,-14 13-16,0 1 15,0-1 1,0 0-16,13-13 16,-13 13-16,0 1 15,0-1 1,0 0 0,0 0-16,13 0 15,-13 1 1,0-1-16,0 0 15,0 0 1,0 1 0,0-1-16,0 0 15,0 0 1,13 0 0,-13 1-16,0-1 15,0 0 1,0 0-1,0 1 1,0-1 0,14-13-16,-14 13 15,0 0 1,0 1 0,13-1-1,-13 0 1,0 0-1,13 0 1,-13 1 0,13-1-16,1 27 31,-1-27-15,0 13-1,-13-12-15,0-1 16,13-13-16,0 26 15,-13-13-15,14 14 16,-14-14-16,0 0 16,13 1-16,-13-1 0,0 0 15,0 0-15,13 1 0,-13 12 16,0-13-16,13 0 0,-13 1 16,0-1-16,27 27 15,-14-27-15,0 13 0,1-26 16,-14 14-16,13-1 15,-13 0-15,0 0 0,0 14 0,-13-14 16</inkml:trace>
  <inkml:trace contextRef="#ctx0" brushRef="#br0" timeOffset="89580.22">18852 3043 0,'26'-14'16,"-13"14"-16,14-13 16,-14 13-16,40-13 0,-27 13 0,14-13 15,0 13-15,-14 0 0,1-13 16,12 13-16,-12 0 0,39 0 15,27 13 1,-54-13-16</inkml:trace>
  <inkml:trace contextRef="#ctx0" brushRef="#br0" timeOffset="90960.97">19645 5913 0,'80'-52'0,"-67"38"16,0 14-16,14-13 0,-14 13 0,27 0 16,-27 0-16,13 0 0,-13 0 15,14 0-15,-14 13 0,0 1 0,1-14 16,-1 13-16,0-13 0,13 13 0,-12 0 16,-14 0-16,13 1 0,0-14 15,-13 13-15,13 0 0,1-13 16,-14 13-16,26 1 0,-13-14 15,-13 13-15,14-13 16,-1 0-16,13-13 0,-13 13 0</inkml:trace>
  <inkml:trace contextRef="#ctx0" brushRef="#br0" timeOffset="94598.45">20294 4101 0,'13'0'47,"0"0"-16,0 13-15,0 1 0,-13-1-1,14 0 17,-14 0-17,13 0 16,-13 1 1,0-1-17,13 0 1,-13 0 0,0 1-1,0-1 1,13 0-16,-13 0 15,0 0 1,14 14-16,-14-14 16,0 0-1,0 1-15,13-14 0,-13 13 0,0 0 16,0 0-16,13 1 16,-13-1-16,0 0 15,13 0-15,-13 0 16,0 1-16,14-14 0,-14 13 15,0 0-15,13-13 0,-13 13 16,13 14-16,0-14 16,0 0-16,-13 1 0,27 12 15,-14-13-15,-13 0 0,13 1 16,1-1-16,12 0 0,-13 14 16,1-14-16,-1 0 15,0 0-15,0 14 0,0-14 16,14 0-16,-27 0 15,13 1-15,0-1 0,1 0 16,-14 0-16,13 1 0,0-1 16,-13 0-16,13 0 0,0 14 15,14-14 1,-27 0-16,13 0 0,0 1 0,-13-1 16,14 0-16,-1 0 15,0 1-15,-13-1 0,13 0 0,1 0 16,-1 14-16,0-14 15,0 0-15,0 0 0,1 14 16,-1-1-16,13-12 16,-26-1-16,14 0 0,-1 0 15,0 0-15,14 14 16,-14-14 0,0 0-16,0-13 15,-13 14-15,13-14 0,1 13 0,-1-13 16,0 13-16,14 0 15,-14 1-15,0-1 16,0-13-16,-13 13 0,13-13 16,1 13-16,12 0 0,-13-13 0,1 0 15,-1 14-15,0-1 16,0-13-16,1 0 0,-1 13 16,0-13-16,0 13 0,14-13 15,-14 14-15,0-14 16,0 0-16,-13 13 0,14-13 0,-1 0 15,13 13-15,-12-13 16,-1 0-16,0 13 0,0-13 16,0 0-16,1 0 0,-1 0 0,13 13 15,1-13-15,-1 14 16,1-14 0,-14 13-16,0-13 0,0 0 15,14 13-15,-1-13 16,-12 0-16,-1 0 0,0 13 15,0-13-15,14 0 16,-14 14-16,0-14 16,0 0-16,1 13 0,12-13 15,-13 0-15,1 13 16,-1-13-16,26 0 16,-25 13-16,-1-13 15,0 0-15,0 0 0,1 14 0,-1-14 16,13 0-16,1 0 15,-14 13-15,0-13 0,0 0 16,1 0-16,12 0 16,-13 13-16,14-13 0,-14 0 0,0 0 15,14 0-15,12 13 16,-12-13-16,-14 0 16,0 0-16,14 13 0,-1-13 15,-13 0-15,1 14 16,12-14-16,-13 0 0,14 13 15,-1-13 1,-12 0-16,12 13 16,-13-13-16,0 0 0,1 0 15,-1 13-15,0-13 16,0 0-16,1 0 0,-1 0 16,0 0-16,0 14 0,1-14 15,-1 0-15,13 0 16,1 0-16,-1 13 15,-13-13-15,1 0 0,-1 0 16,0 13-16,0-13 0,1 0 16,-1 0-16,0 13 0,0-13 0,0 0 15,1 0-15,12 0 16,-13 14-16,1-14 0,-1 0 16,0 0-16,0 0 0,1 0 0,-1 0 15,0 13-15,13-13 0,-12 0 16,12 0-16,-13 0 15,1 13-15,25-13 0,-12 0 16,-14 0-16,13 13 0,-12-13 16,12 0-16,1 0 0,12 13 15,-12-13 1,-1 0-16,14 14 16,-27-14-16,27 0 0,-27 0 15,27 13-15,-14-13 16,1 0-16,-14 0 0,0 0 15,13 0-15,1 13 16,13-13-16,-27 0 0,0 0 16,0 0-16,1 0 15,12 0-15,-13 0 0,0 0 0,1 0 16,12 0-16,-13 0 16,27 0-16,-27 0 0,14 0 15,-1 0-15,27 0 16,-13 0-16,13 0 15,-40 13-15,13-13 16,14 0-16,-13 0 16,-14 0-16,13 0 0,-12 0 0,-1 0 0,53 0 15,-53-13 1,0 13-16,1 0 16,-1 0-16,13 0 0,-13 0 15,1 0-15,-1 0 0,0 0 31,-26-13-15,0 0-16,-1 13 16</inkml:trace>
  <inkml:trace contextRef="#ctx0" brushRef="#br0" timeOffset="96345.86">23323 6204 0,'172'-39'0,"-79"26"16,-54-1-16,14 14 0,40 0 16,-40 0-16,-14 0 0,14 14 15,-13-14-15,13 0 0,-13 13 16,-1-13-16,14 13 0,27 13 16,-41-12-16,1-1 0,0 0 15,-1 0-15,-12 1 0,39 12 16,-13 14-16,-27-27 0,-12 0 15,12 0-15,-13 1 0,14 12 16,-1-13-16,-13 14 16,1-1-16,-1-12 0,0 12 15,-13-13-15,27 27 16,-27-27-16,13 27 0,-13-27 0,0 53 16,0-53-1,0 14-15,0 26 16,0-14-16,-13 14 15,-1 0-15,14-26 0,-13-1 16,13 1-16,-13-14 16,13 13-16,-13 1 0,-1-1 0,1 14 0,0-14 15,-14 27-15,1-26 16,13-1-16,-14 1 0,14-14 0,-13 13 16,-14 1-16,0 13 15,27-27-15,-13 0 16,-27 13-16,0 1 15,13-1-15,0-12 16,14-1-16,-14 0 0,-79 14 16,79-27-16,-12 0 15,12 0-15,-13 0 0,13 0 0,1 0 16,-1 0-16,-53 0 16,54-14-16,-1 14 0,0-13 0,1 13 15,-94-26 1,94 12-16,-1 14 0,-39-13 15,39 0-15,-40 0 16,54 13-16,0-14 0,-1 1 16,-26 0-16,27 0 0,-14-14 15,0-12-15,1-1 16,25 13-16,-12-12 16,-1 12-16,27 1 0,-13 13 15,-13-27-15,13-13 16,-1 40-16,14-14 0,0-26 15,0-13-15,27-13 16,-14 39-16,0-13 0,14 14 16,-14-14-16,27 13 15,-14-13-15,1 13 0,52-52 16,-39 52-16,52-39 0,-12 13 16,-41 39-16,41-26 15,-54 27-15,14-1 0,26-12 16,13 12-1,-26 14-15,-13 0 16,0 13-16,-1 0 16</inkml:trace>
  <inkml:trace contextRef="#ctx0" brushRef="#br0" timeOffset="97380.92">23111 5821 0,'-79'132'0,"53"-79"15,-27 26-15,0 1 0,-53 131 16,40-105-16,0 13 0,-1 0 0,1 0 15,-66 146-15,66-146 16,13 13-16,-13-13 0,-40 106 16,53-119-16,0-13 0,13 13 15,1-14-15,-1-12 0,0-27 0,14 13 16</inkml:trace>
  <inkml:trace contextRef="#ctx0" brushRef="#br0" timeOffset="97833.06">22966 6019 0,'198'-66'16,"-171"66"-16,-14 0 0,40 0 16,-27 27-16,27 12 15,-26 1-15,-14 39 0,-13-39 16,0 13-16,0-13 0,-13 26 15,-14 53-15,1-13 16,13-53-16</inkml:trace>
  <inkml:trace contextRef="#ctx0" brushRef="#br0" timeOffset="98936.05">22291 8572 0,'27'14'0,"-14"-1"15,0 0-15,-13 0 16,0 1-16,0-1 16,-13 0-16,0 14 0,13-14 15,-14 0-15,14 0 0,0 0 16,0 1-1,14-1 1,-1 0-16,0 0 16,0 1-16,1-1 15,-14 0-15,13-13 16,-13 13-16,-13 1 0,-1-1 16,1 0-1,0 0-15,0-13 0,-1 0 16,1 0-16,13-13 31,27-13-15,-14 12-16,0 14 15,-13-13-15,13 13 0,1-13 16,-1 13-16,0 0 16,0 0-16,0 13 15,1-13 1,-1 0-16,13 0 15,-12 0 1,-14-13-16,13 13 0,-13-13 16,0-1-16,0 1 0,0 0 15,-13 13-15,13-13 16,-14-1-16,14 1 16</inkml:trace>
  <inkml:trace contextRef="#ctx0" brushRef="#br0" timeOffset="99165.21">22794 8718 0,'13'0'15,"14"0"1,-14 13 0,0-13-16,13-13 15,-12 13 1,-1 0-16,0 0 0,0 0 16,14-13-16,-14 13 0,14-13 0,-14 13 0,13-14 15</inkml:trace>
  <inkml:trace contextRef="#ctx0" brushRef="#br0" timeOffset="99781.46">23217 8612 0,'13'0'16,"1"-13"0,-1 13-16,-53 13 31,53 0-31,-26-13 0,13 14 16,-13-1-16,-27 0 15,14 14-15,13-14 0,-1 0 16,1 0-16,0 0 15,13 1-15,-13-1 0,26-13 16,0 13 0,0-13-16,1 0 15,-1 0-15,0 0 0,0-13 16,14 13-16,-14 0 0,0 0 16,-13-13-16,13 13 0,1-14 0,-1 1 15,0 13-15,0-13 16,-13 0-16,14 0 0,-14-1 15,13 1-15,-13 0 16,0 0-16,0-1 16,-13 1-1,-1 13-15,1 13 16,0-13 0,0 14-16,-1-1 0,14 0 15,-13 0-15,0 1 0,13-1 16,0 0-16,0 0 15,13-13-15,0 0 16,1 0 0,-1 0-16,13-13 0,-12 0 15,-1 13 1,0 0-16,-13-13 16,13 13-16,0 0 15,1 0 1,-1-14-1,-13 1 1,-13 0 0,-1 13-1,-25 13 1,26-13 0,-14 13-16,-13 14 15</inkml:trace>
  <inkml:trace contextRef="#ctx0" brushRef="#br0" timeOffset="100125.67">22794 9102 0,'159'-40'0,"-106"27"0,-1 0 15,1-14-15,14 14 0,-15-14 0,15 1 16,52-40-16,0-14 15,-53 41-15,-13-14 0,13 0 16,26-40-16,-25-13 16,-41 27-16,-26 53 15,-13-14-15,-40-26 0,-66 26 16,53 27-16,-14 0 16,-12 13-16,-41 13 0,1 0 0,-13 0 15,12 14-15,-12 12 0,26 1 16,0 0-16,13 0 0,13 12 15,14-12-15,-40 39 0,39 14 16,67-53-16,0-14 16,13 14-16,26 26 0,1-26 0,-1-14 15,1 1-15,26-1 0,-14-13 16</inkml:trace>
  <inkml:trace contextRef="#ctx0" brushRef="#br0" timeOffset="101592.99">19672 5887 0,'13'-13'31,"13"0"-15,1 13-16,-14 0 15,0 0-15,1 0 0,-1 0 16,13 0-16,1-14 0</inkml:trace>
  <inkml:trace contextRef="#ctx0" brushRef="#br0" timeOffset="107258.24">13692 8149 0,'106'0'0,"-53"0"0,0 0 15,26 13-15,1-13 0,12 0 0,1 0 16,-1 0-16,120 0 16,-80 0-16,1 14 0,-1-14 15,-26 0-15,172 0 0,-146 13 16,0-13-16,-26 0 0,304 13 15,-185-13 1,-119 13-16,-14-13 0,14 14 16,66-14-16,-92 13 0,-1-13 15,14 13-15,-40-13 16,-40 13-16</inkml:trace>
  <inkml:trace contextRef="#ctx0" brushRef="#br0" timeOffset="107549.21">14446 8639 0,'265'-14'15,"13"14"-15,-146 0 0,27 0 16,-14 0-16,1 14 0,-1-14 0,14 0 16,119 13-16,-146 0 0,0-13 15,-26 0-15,0 13 0,-13-13 16,13 0-16,-14 14 0,1-14 0,-14 0 16,0 13-16,1-13 0,-40 0 0,12 0 15,-12 0-15,-13 0 0,-14 0 16,13 0-16</inkml:trace>
  <inkml:trace contextRef="#ctx0" brushRef="#br0" timeOffset="185135.01">18825 2222 0,'-40'40'15,"27"-27"-15,13 1 0,-13-14 0,-14 39 16,14-25 0,0 12-1,13-13-15,-13-13 0,13 13 16,26-26 15,-26 0-31,13 13 0,1-13 16,12-14-1,1 14-15,-1 13 16,-13 13 0,14 1-1,-14-14-15,0 13 0,0-13 0,1 0 16,12 13-16,-13-13 0</inkml:trace>
  <inkml:trace contextRef="#ctx0" brushRef="#br0" timeOffset="185613.74">19751 1879 0,'0'-14'0,"13"14"16,1-13-1,-1 13-15,13 0 0,-12-13 16,-1 13-16,40-13 16,-40 13-16,0-14 0,0 14 15,1 0-15,-1 14 16,-13-1-1,0 0-15,0 0 0,0 1 0,0-1 16,0 0-16,-13 0 0,13 14 0,-14-14 16,14 0-16,-13 0 0,13 1 15,-13-1-15,13 0 0,0 0 16,-13-13-16,13 14 16,13-1-1,0-13 1,0-13-1,1 13-15,-1-14 16,0 14-16,0 0 0,0 0 0,1-13 16,-1 13-16,0-13 15,0 13-15</inkml:trace>
  <inkml:trace contextRef="#ctx0" brushRef="#br0" timeOffset="185881.22">20227 1879 0,'-13'26'63,"26"-13"-47,-13 0-1,14-13 1,-1 0-1,0 0 1,0 0-16,1 0 0,12-13 16,-13 13-16,0 0 15,1-13-15,-1 13 16,0 0-16,14-13 0</inkml:trace>
  <inkml:trace contextRef="#ctx0" brushRef="#br0" timeOffset="186316.16">20558 1799 0,'27'-53'0,"-54"66"47,27 1-47,-13-14 0,13 13 16,-13 0-16,13 14 16,0-14-16,13 0 15,13-26 1,-26 0-16,40-40 15,-27 26-15,1 1 16,-14-1-16,13 1 0,0-1 16,-13 14-16,13 0 0,-13 0 15,0 0-15,0-1 0,13 1 16,-26 53 0,13-27-1,0 13-15,-13 14 16,13-13-16,0-14 0,0 13 15,0-13-15,0 1 0,0-1 0,13 0 16,-13 0-16,13-13 0,1 14 0,-1-1 16,0-13-16,0 0 15,-13 13-15,14-13 16,-1 0-16,0 13 16</inkml:trace>
  <inkml:trace contextRef="#ctx0" brushRef="#br0" timeOffset="186566.8">20849 1746 0,'13'0'0,"-13"13"63,14 1-63,-14-1 15,13-13 17,0 13-32,0-13 15,1 0-15,-1 13 0,0-13 16,0 27-1,-13-14-15</inkml:trace>
  <inkml:trace contextRef="#ctx0" brushRef="#br0" timeOffset="186789.8">19897 2302 0,'264'-40'16,"-184"27"-16,-1 0 0,0-1 15,80-25-15,-66 26 0,-14-1 16,93-12-16,-93 13 16,41-14-16,-81 27 0,-12 0 0,-14 13 15</inkml:trace>
  <inkml:trace contextRef="#ctx0" brushRef="#br0" timeOffset="186911.02">20214 2355 0,'357'-93'16,"-224"67"-16,12-1 0,1-12 15,12-14-15</inkml:trace>
  <inkml:trace contextRef="#ctx0" brushRef="#br0" timeOffset="191698.03">13983 10134 0,'-13'-14'0,"0"14"0,39 14 47,1-1-31,-14-13-16,0 0 0,0 0 16,1 0-16,-1 0 0,0 0 0,14 0 0,-14 0 15,0 0-15,0-13 0,0 13 16,14 0-16,-14-14 0,14 14 15,-14 0-15,0-13 0</inkml:trace>
  <inkml:trace contextRef="#ctx0" brushRef="#br0" timeOffset="191945.78">14221 9988 0,'40'26'0,"-27"-26"0,14 40 15,-14-13-15,0-14 16,-13 13-16,13-12 0,-13-1 0,0 13 16,0-13-16,0 1 0,-13 12 15,13-13-15,-26 27 0,13-13 16,-1-14-16,14 0 15,-13-13-15</inkml:trace>
  <inkml:trace contextRef="#ctx0" brushRef="#br0" timeOffset="193653.16">12568 10094 0,'0'26'32,"0"1"-17,0-14-15,0 0 16,0 0-16,0 1 0,0-1 15,0 0-15,0 0 16,13-39 31,-13 13-47,13-14 16,0 27-16,1-13 0,-1 0 15,0 13-15,0 0 16,14 13-1,-14-13-15,0 13 0,-13 0 16,13 1 0,-13-1-1,0 0-15,14-26 47,-1 13-31,-13-13-16,13 13 15,0 0 1,1 0-16,-1 0 16,0 0-16,14 13 15,-14-13 1,13 0 0,-13 0-16</inkml:trace>
  <inkml:trace contextRef="#ctx0" brushRef="#br0" timeOffset="194888.14">12978 10226 0,'13'-13'0,"0"0"16,-13-1 15,0 1-31,-13 0 31,0 26-15,0 0-16,-1 14 15,14-14 1,14 14 15,12-27-15,-13-14-16,14 14 15,-27-13 1,13 13-16,0 0 0,-13-13 16,13 13-16,-26 26 62,26-26-31,-13 14-31,14-14 16,-1 0 15,0 0-31,0-14 0,1 14 16,-1-13-16,0 0 0</inkml:trace>
  <inkml:trace contextRef="#ctx0" brushRef="#br0" timeOffset="195054.85">13348 10094 0,'13'-13'15,"-13"26"1,0 0-16,0 14 16,14-27-16,-14 13 15,0 0-15,13-13 0,-13 13 0,13-13 16,-13 27-16</inkml:trace>
  <inkml:trace contextRef="#ctx0" brushRef="#br0" timeOffset="195492.87">13428 10623 0,'13'0'16,"0"13"0,-26 14-1,13-14-15,-13 0 0,13 0 16,0 1-16,-14-1 16,14 0-16,0 0 15,14-13 1,12-13-16,-13 13 15,14-13-15,-14 13 16,0-13-16,0 13 0,1 0 0,-1 0 16,0 0-16,0 0 0,1 26 15</inkml:trace>
  <inkml:trace contextRef="#ctx0" brushRef="#br0" timeOffset="195829.91">13441 11245 0,'13'26'31,"0"1"-15,-13-14-16,14 0 16,-1 0-16,-13 1 15,13-1-15,0 0 0,-13 0 16,0 1 0,0-1-16,-13-13 15,13 13-15,-13-13 0,0 13 16,-1-13-16,1-13 15,13-27 1</inkml:trace>
  <inkml:trace contextRef="#ctx0" brushRef="#br0" timeOffset="196234.81">15187 9882 0,'13'40'16,"-13"-14"-1</inkml:trace>
  <inkml:trace contextRef="#ctx0" brushRef="#br0" timeOffset="196361.94">15399 10544 0,'0'26'0,"-13"-26"0,13 13 0,-14 1 16,14-1-16,-13 0 15,13 13-15,-13-12 0</inkml:trace>
  <inkml:trace contextRef="#ctx0" brushRef="#br0" timeOffset="196487.22">15359 11139 0,'-26'40'0,"12"-27"16,1 0-16,13 0 15</inkml:trace>
  <inkml:trace contextRef="#ctx0" brushRef="#br0" timeOffset="196690.1">15306 11880 0,'0'13'16</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8.852"/>
    </inkml:context>
    <inkml:brush xml:id="br0">
      <inkml:brushProperty name="width" value="0.05" units="cm"/>
      <inkml:brushProperty name="height" value="0.05" units="cm"/>
      <inkml:brushProperty name="ignorePressure" value="1"/>
    </inkml:brush>
  </inkml:definitions>
  <inkml:trace contextRef="#ctx0" brushRef="#br0">1 627,'15'-41,"-9"28,12-41,-2-2,-2 0,11-94,-10 55,-27 167,10-40,0-4,3 49,-1-71,1-1,0 1,0 0,0-1,0 1,1-1,0 1,0-1,1 0,0 0,0 0,0 0,0 0,7 6,-8-9,1 0,0 0,0-1,0 1,0-1,0 1,0-1,0 0,1-1,-1 1,0-1,0 1,1-1,-1 0,0 0,1 0,-1 0,0-1,0 0,1 1,-1-1,0 0,0-1,0 1,0 0,0-1,0 0,0 0,-1 0,5-3,2-2,0 0,-1-1,0 0,0 0,-1 0,0-1,11-19,10-36,-1-1,18-76,-33 104,-8 19,-4 14,0 1,1 0,-1 0,1 0,0-1,0 1,1 0,-1 0,0 0,1 1,0-1,2-3,-3 6,-1 1,1-1,0 1,-1-1,1 1,-1 0,1-1,0 1,-1 0,0 0,1-1,-1 1,1 0,-1 0,0 0,0-1,1 1,-1 0,0 0,0 0,0 0,0-1,0 1,0 0,-1 2,4 27,-2 14,-1-17,0 0,2-1,1 1,1-1,11 38,-13-58,1 1,0-1,-1-1,2 1,-1 0,1-1,0 1,0-1,0 0,1-1,0 1,0-1,0 0,0 0,0 0,1-1,0 0,0 0,0 0,0-1,0 0,1 0,-1-1,0 1,1-1,-1-1,12 1,1-1,-2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629"/>
    </inkml:context>
    <inkml:brush xml:id="br0">
      <inkml:brushProperty name="width" value="0.05" units="cm"/>
      <inkml:brushProperty name="height" value="0.05" units="cm"/>
      <inkml:brushProperty name="ignorePressure" value="1"/>
    </inkml:brush>
  </inkml:definitions>
  <inkml:trace contextRef="#ctx0" brushRef="#br0">0 60,'7'-3,"5"-5,4 0,3 0,1 2,1-1,3 0,1 2,-1 1,-1 2,0 1,-2 0,-5 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2.273"/>
    </inkml:context>
    <inkml:brush xml:id="br0">
      <inkml:brushProperty name="width" value="0.025" units="cm"/>
      <inkml:brushProperty name="height" value="0.025" units="cm"/>
      <inkml:brushProperty name="ignorePressure" value="1"/>
    </inkml:brush>
  </inkml:definitions>
  <inkml:trace contextRef="#ctx0" brushRef="#br0">19 4,'-2'2,"0"0,0 0,1 0,-1 0,1 0,0 1,-1-1,1 0,0 1,0-1,1 1,-1 0,0-1,1 1,0 0,0-1,-1 1,1 0,1-1,-1 1,0 0,1-1,-1 1,1-1,0 1,0-1,0 1,0-1,0 1,1-1,-1 0,1 0,-1 0,1 0,0 0,0 0,0 0,0 0,0-1,0 1,5 2,-5-3,-1 0,1 1,0-1,0 0,-1 0,1 0,0-1,0 1,0 0,0-1,0 1,0-1,0 1,0-1,0 0,0 0,0 0,1 0,-1 0,0-1,0 1,0-1,0 1,0-1,0 0,-1 1,1-1,0 0,0 0,0-1,-1 1,1 0,0 0,-1-1,0 1,1-1,-1 0,0 1,1-1,-1 0,0 0,0 0,-1 1,1-1,0 0,-1 0,1 0,-1 0,1 0,-1-1,0 1,0-2,0 1,0 1,0 0,0-1,0 1,0-1,-1 1,1-1,-1 1,0 0,1-1,-1 1,0 0,-1 0,1 0,0 0,0 0,-1 0,1 0,-1 0,0 0,0 1,1-1,-1 0,0 1,0 0,-1 0,1-1,0 1,0 0,0 1,-1-1,1 0,0 1,-1-1,1 1,-4-1,-1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19.970"/>
    </inkml:context>
    <inkml:brush xml:id="br0">
      <inkml:brushProperty name="width" value="0.05" units="cm"/>
      <inkml:brushProperty name="height" value="0.05" units="cm"/>
      <inkml:brushProperty name="ignorePressure" value="1"/>
    </inkml:brush>
  </inkml:definitions>
  <inkml:trace contextRef="#ctx0" brushRef="#br0">1 58,'6'-4,"6"0,5 0,1 0,2-1,1-1,-1 1,1 1,-1-1,0-1,0 1,0 2,-4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2.952"/>
    </inkml:context>
    <inkml:brush xml:id="br0">
      <inkml:brushProperty name="width" value="0.05" units="cm"/>
      <inkml:brushProperty name="height" value="0.05" units="cm"/>
      <inkml:brushProperty name="ignorePressure" value="1"/>
    </inkml:brush>
  </inkml:definitions>
  <inkml:trace contextRef="#ctx0" brushRef="#br0">1 219,'23'-25,"-21"22,1-1,0 1,-1 0,1-1,1 2,-1-1,0 0,1 0,-1 1,1 0,0 0,-1 0,1 0,0 1,0-1,0 1,1 0,-1 0,0 0,0 1,1 0,-1 0,5 0,59 14,-53-10,-1 0,0-1,1-1,19 1,-30-3,1-1,-1 1,0-1,1 0,-1 0,0 0,1 0,-1-1,0 0,0 0,0 0,0 0,-1-1,1 1,0-1,-1 0,0 0,5-5,-3 1,0-1,-1 1,0-1,0 0,-1 0,5-12,-6 11,1 1,0 0,1 0,0 0,0 1,6-8,0 4</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3.609"/>
    </inkml:context>
    <inkml:brush xml:id="br0">
      <inkml:brushProperty name="width" value="0.05" units="cm"/>
      <inkml:brushProperty name="height" value="0.05" units="cm"/>
      <inkml:brushProperty name="ignorePressure" value="1"/>
    </inkml:brush>
  </inkml:definitions>
  <inkml:trace contextRef="#ctx0" brushRef="#br0">0 40,'1'-1,"-1"-1,0 0,1 1,0-1,-1 0,1 1,0-1,0 1,0-1,0 1,0-1,0 1,1 0,-1-1,0 1,1 0,-1 0,1 0,-1 0,1 0,-1 1,1-1,-1 0,1 1,0-1,0 1,-1-1,1 1,2 0,52-6,-56 6,5-1,0 1,0 0,0 1,0-1,0 1,0 0,-1 0,1 0,0 1,-1-1,1 1,-1 0,1 1,-1-1,0 1,0 0,5 4,-7-4,0 0,0 0,-1 0,1 0,-1 0,1 0,-1 0,0 1,0-1,0 0,-1 1,1-1,-1 1,0-1,0 1,0-1,0 0,-1 1,1-1,-1 1,0-1,0 0,0 1,0-1,-3 3,-1 6,-2 0,0-1,0 0,-1 0,-1 0,-16 15,-24 32,49-57,-1-1,1 0,0 1,-1-1,1 0,0 1,0-1,-1 1,1-1,0 1,0-1,0 0,-1 1,1-1,0 1,0-1,0 1,0-1,0 1,0-1,0 1,0-1,0 1,0-1,0 1,0-1,1 1,-1-1,0 0,0 1,0-1,1 1,-1-1,1 1,17 3,24-11,130-50,-160 52</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4.798"/>
    </inkml:context>
    <inkml:brush xml:id="br0">
      <inkml:brushProperty name="width" value="0.05" units="cm"/>
      <inkml:brushProperty name="height" value="0.05" units="cm"/>
      <inkml:brushProperty name="ignorePressure" value="1"/>
    </inkml:brush>
  </inkml:definitions>
  <inkml:trace contextRef="#ctx0" brushRef="#br0">207 45,'1'0,"-1"1,0-1,1 0,-1 0,1 0,-1 0,1 0,-1 0,0 0,1 0,-1 0,1 0,-1-1,1 1,-1 0,0 0,1 0,-1 0,1 0,-1-1,0 1,1 0,-1 0,0-1,1 1,-1 0,0-1,0 1,1 0,-1-1,0 1,0 0,1-1,-1 1,0-1,0 1,0 0,0-2,0 2,0-1,0 0,-1 1,1-1,-1 1,1-1,0 1,-1-1,1 1,-1-1,1 1,-1-1,0 1,1 0,-1-1,1 1,-1 0,0-1,1 1,-1 0,0 0,1 0,-1 0,0-1,0 1,-12 0,1 1,-1 0,1 0,0 1,0 1,-1 0,2 0,-1 2,0-1,1 1,0 1,0 0,0 1,-13 10,22-15,1 0,-1-1,1 1,0 0,0-1,0 1,0 0,0 0,0 0,0 0,0 0,1 0,-1 0,1 1,0-1,-1 0,1 0,0 0,0 0,1 1,-1-1,0 0,1 0,-1 0,1 0,0 0,-1 0,1 0,0 0,0 0,0 0,1-1,-1 1,0 0,1-1,-1 1,3 1,8 9,1-1,0 0,27 17,-17-12,-21-15,0 0,0 0,-1 1,1-1,0 1,-1-1,1 1,-1 0,0-1,1 1,-1 0,0 0,0 0,0 0,-1 0,1 0,0 0,-1 0,1 0,-1 0,0 0,0 1,1-1,-2 0,1 0,0 0,0 0,-1 1,1-1,-1 0,1 0,-1 0,0 0,0 0,0 0,0 0,0-1,-1 1,1 0,0 0,-1-1,1 1,-1-1,0 0,1 1,-1-1,0 0,0 0,0 0,0 0,0 0,0 0,0-1,0 1,0-1,0 0,-1 1,1-1,0 0,0 0,0 0,0 0,-1-1,1 1,0-1,-3 0,5 1,-1-1,1 1,-1 0,0 0,1 0,-1-1,1 1,-1 0,1-1,-1 1,1-1,-1 1,1 0,0-1,-1 1,1-1,0 1,-1-1,1 1,0-1,0 0,-1 1,1-1,0 1,0-1,0 0,0 1,0-1,0 1,0-1,0 0,10-21,28-18,-34 37,16-15,-4 5,-2 0,1-2,-2 1,21-29,-32 40,0 0,0 0,-1 0,1-1,0 1,-1 0,0-1,0 1,0-1,0 0,-1 1,1-1,-1 1,0-1,0 0,0 1,-1-1,1 0,-1 1,0-1,0 1,0-1,0 1,-1 0,0-1,1 1,-1 0,0 0,0 0,-1 0,1 0,-4-3,3 4,0-1,0 1,0 0,0 0,0 0,0 1,0-1,-1 1,1 0,0 0,-1 0,1 0,-6 0,-8-1</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203"/>
    </inkml:context>
    <inkml:brush xml:id="br0">
      <inkml:brushProperty name="width" value="0.05" units="cm"/>
      <inkml:brushProperty name="height" value="0.05" units="cm"/>
      <inkml:brushProperty name="ignorePressure" value="1"/>
    </inkml:brush>
  </inkml:definitions>
  <inkml:trace contextRef="#ctx0" brushRef="#br0">78 1,'-6'3,"1"1,0 0,0 0,1 0,-1 0,1 1,0 0,0 0,0 0,1 0,0 1,0-1,0 1,1 0,-3 9,2-8,1 1,0 0,0 0,1 0,0-1,0 1,1 0,0 1,0-1,1-1,3 15,-2-18,0 0,0 0,0-1,0 1,1 0,-1-1,1 1,0-1,0 0,1 0,-1 0,1-1,-1 1,1-1,0 0,0 0,0 0,0 0,0-1,0 1,0-1,1 0,-1 0,0-1,1 0,-1 1,0-1,1-1,-1 1,6-2,-5 2,0-1,1 1,-1-1,0-1,0 1,0-1,0 0,0 0,0-1,-1 1,1-1,-1 0,1 0,-1-1,0 1,-1-1,1 0,0 0,-1 0,0 0,0-1,0 1,-1-1,4-9,-4 6,-1 0,1 0,-2 0,1 0,-1 0,-1 0,1-1,-3-7,3 12,-1 0,0 0,-1 0,1 0,0 1,-1-1,0 0,0 1,0-1,0 1,-1-1,0 1,1 0,-1 0,0 0,0 1,-6-4,-9-3</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25.555"/>
    </inkml:context>
    <inkml:brush xml:id="br0">
      <inkml:brushProperty name="width" value="0.05" units="cm"/>
      <inkml:brushProperty name="height" value="0.05" units="cm"/>
      <inkml:brushProperty name="ignorePressure" value="1"/>
    </inkml:brush>
  </inkml:definitions>
  <inkml:trace contextRef="#ctx0" brushRef="#br0">1 55,'0'9,"0"1,1-1,-1 0,2 1,-1-1,1 0,1 0,0 0,4 9,-4-14,-1 0,1 0,0-1,0 1,0-1,0 0,1 0,-1 0,1 0,0 0,0-1,0 0,0 0,0 0,0 0,1-1,-1 1,0-1,1 0,6 0,9 2,0-1,0-1,0-1,0-1,30-5,-43 5,-1-1,0 1,1-2,-1 1,0-1,-1 1,1-2,0 1,6-5,-10 5,1 1,0-1,-1 0,0 0,1 0,-1 0,0 0,-1 0,1-1,0 1,-1 0,0-1,0 0,0 1,0-1,-1 0,1-4,-1 4,0-1,-1 1,0-1,0 1,0 0,0 0,0-1,-1 1,0 0,0 0,0 0,0 1,-1-1,0 0,1 1,-1 0,0 0,-1 0,1 0,0 0,-1 0,0 1,0 0,1 0,-1 0,-1 0,-3-1,-2-1,0 0,0 1,0 1,0 0,0 0,0 1,-1 0,1 0,-1 1,-14 3,-1 2,-48 18,52-14</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2.443"/>
    </inkml:context>
    <inkml:brush xml:id="br0">
      <inkml:brushProperty name="width" value="0.05" units="cm"/>
      <inkml:brushProperty name="height" value="0.05" units="cm"/>
      <inkml:brushProperty name="ignorePressure" value="1"/>
    </inkml:brush>
  </inkml:definitions>
  <inkml:trace contextRef="#ctx0" brushRef="#br0">197 3,'-12'-1,"13"-1,1 2,-1 0,1 0,0 1,-1-1,1 0,-1 1,1-1,-1 1,0-1,1 1,-1 0,1 0,-1-1,2 3,0-1,-1-1,1 1,-1 1,1-1,-1 0,0 1,0-1,0 1,0-1,-1 1,1 0,-1 0,1 0,-1 0,0 0,0 0,-1 0,1 0,0 1,-1 5,0-4,-1 0,0-1,-1 1,1 0,-1 0,0-1,0 1,0-1,0 1,-1-1,0 0,-4 5,-7 6,-1 1,-1-2,0 0,-1-1,-22 13,7-10,26-13,-1-1,1 1,0 0,0 1,0 0,0 0,1 0,0 0,-7 8,12-12,-1 1,1-1,0 1,0-1,0 1,0-1,0 1,0-1,0 1,0 0,0-1,0 1,0-1,0 1,1-1,-1 1,0-1,0 1,0-1,1 1,-1-1,0 1,1-1,-1 0,0 1,1-1,-1 1,1-1,-1 0,0 1,1-1,-1 0,1 0,-1 1,1-1,-1 0,1 0,-1 0,1 0,-1 1,1-1,-1 0,1 0,0 0,0 0,29 4,-28-4,104 1,-85-1</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276"/>
    </inkml:context>
    <inkml:brush xml:id="br0">
      <inkml:brushProperty name="width" value="0.05" units="cm"/>
      <inkml:brushProperty name="height" value="0.05" units="cm"/>
      <inkml:brushProperty name="ignorePressure" value="1"/>
    </inkml:brush>
  </inkml:definitions>
  <inkml:trace contextRef="#ctx0" brushRef="#br0">172 2,'1'-1,"-1"1,0 0,0 0,0 0,1 0,-1 0,0 0,0 0,0 0,1 0,-1 0,0 0,0 0,1 0,-1 0,0 0,0 0,1 0,-1 0,0 0,0 0,0 0,1 0,-1 0,0 0,0 0,0 0,1 0,-1 1,0-1,0 0,0 0,0 0,1 0,-1 1,0-1,0 0,0 0,0 0,0 1,0-1,1 0,-1 0,0 0,0 1,0-1,0 0,0 0,0 1,0-1,0 0,0 0,0 0,0 1,0-1,0 0,-1 1,-13 13,-26 11,30-20,0 0,1 0,0 1,0 0,1 0,-13 13,20-18,0-1,1 1,-1 0,0 0,1 0,-1 0,1 0,-1 0,1 0,-1 0,1 1,0-1,0 0,-1 0,1 0,0 0,0 0,0 1,0-1,0 0,1 0,-1 0,0 2,2-1,-1 0,1 0,-1 0,1 0,0 0,-1-1,1 1,0-1,0 1,1-1,-1 1,0-1,0 0,0 0,4 1,1 1,1 0,1 1,-1-1,-1 2,1-1,10 9,-17-13,0 1,0 0,-1 0,1 0,0 0,0 0,0 0,-1 0,1 1,-1-1,1 0,-1 0,1 0,-1 1,1-1,-1 0,0 1,0-1,0 0,0 0,0 1,0-1,0 0,0 1,-1-1,1 0,0 0,-1 1,1-1,-1 0,1 0,-1 0,0 0,1 1,-1-1,0 0,0 0,0 0,0-1,0 1,0 0,0 0,0 0,0-1,-2 2,-4 3,0-1,0 0,-1 0,0 0,1-1,-1 0,0-1,-1 1,1-2,0 1,-1-1,-14 0,5-1</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3.863"/>
    </inkml:context>
    <inkml:brush xml:id="br0">
      <inkml:brushProperty name="width" value="0.05" units="cm"/>
      <inkml:brushProperty name="height" value="0.05" units="cm"/>
      <inkml:brushProperty name="ignorePressure" value="1"/>
    </inkml:brush>
  </inkml:definitions>
  <inkml:trace contextRef="#ctx0" brushRef="#br0">77 0,'10'0,"1"0,0 1,-1 0,1 1,18 4,-27-5,0 0,0-1,0 1,0 0,0 0,0 0,-1 1,1-1,0 0,-1 1,1-1,-1 1,1 0,-1-1,0 1,1 0,-1 0,0 0,0 0,-1 0,1 0,0 0,-1 0,1 0,-1 0,1 0,-1 0,0 1,0-1,0 0,0 0,-1 0,1 0,0 0,-2 4,0 0,0-1,-1 0,0 1,0-1,0 0,0 0,-1 0,0-1,0 1,0-1,0 0,-7 5,-63 42,65-46,-47 35,56-40,0 0,-1 0,1 1,0-1,0 0,0 0,0 0,0 0,-1 1,1-1,0 0,0 0,0 0,0 0,0 1,0-1,0 0,0 0,0 0,0 1,0-1,0 0,0 0,0 1,0-1,0 0,0 0,0 0,0 1,0-1,0 0,0 0,0 0,0 1,0-1,0 0,0 0,1 0,-1 0,0 1,0-1,0 0,0 0,0 0,1 0,-1 0,0 1,16 3,16-2,71-20,-86 16</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180"/>
    </inkml:context>
    <inkml:brush xml:id="br0">
      <inkml:brushProperty name="width" value="0.05" units="cm"/>
      <inkml:brushProperty name="height" value="0.05" units="cm"/>
      <inkml:brushProperty name="ignorePressure" value="1"/>
    </inkml:brush>
  </inkml:definitions>
  <inkml:trace contextRef="#ctx0" brushRef="#br0">58 1,'-3'7,"-2"5,1 4,-2-1,-1 1,1 0,2 2,1 0,-2 1,0 0,1 0,1 1,0-4</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251"/>
    </inkml:context>
    <inkml:brush xml:id="br0">
      <inkml:brushProperty name="width" value="0.025" units="cm"/>
      <inkml:brushProperty name="height" value="0.025" units="cm"/>
      <inkml:brushProperty name="ignorePressure" value="1"/>
    </inkml:brush>
  </inkml:definitions>
  <inkml:trace contextRef="#ctx0" brushRef="#br0">142 0,'-11'8,"0"0,0 1,1 0,0 1,1 0,-12 15,-11 12,29-35,1 0,-1 1,1-1,0 1,0 0,0 0,0 0,0 0,1 0,-1 0,1 1,-1 2,2-5,0 0,0 0,0-1,0 1,0 0,0-1,0 1,1 0,-1-1,0 1,0 0,1-1,-1 1,0-1,1 1,-1-1,1 1,-1 0,0-1,1 1,0-1,-1 0,2 1,27 7,74-11,-85 3</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4.931"/>
    </inkml:context>
    <inkml:brush xml:id="br0">
      <inkml:brushProperty name="width" value="0.05" units="cm"/>
      <inkml:brushProperty name="height" value="0.05" units="cm"/>
      <inkml:brushProperty name="ignorePressure" value="1"/>
    </inkml:brush>
  </inkml:definitions>
  <inkml:trace contextRef="#ctx0" brushRef="#br0">8 12,'0'-3,"-3"-2,-1 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276"/>
    </inkml:context>
    <inkml:brush xml:id="br0">
      <inkml:brushProperty name="width" value="0.05" units="cm"/>
      <inkml:brushProperty name="height" value="0.05" units="cm"/>
      <inkml:brushProperty name="ignorePressure" value="1"/>
    </inkml:brush>
  </inkml:definitions>
  <inkml:trace contextRef="#ctx0" brushRef="#br0">161 0,'-7'12,"-1"-1,1-1,-2 0,0 0,0 0,0-1,-18 13,13-11,1 0,1 1,-16 19,27-30,0-1,1 1,-1 0,0 0,1 0,-1 0,1 0,-1 0,1 0,-1 0,1 1,0-1,-1 0,1 0,0 0,0 0,0 0,0 0,0 1,0-1,0 0,0 0,1 0,-1 0,0 0,1 0,-1 1,1-1,-1 0,1 0,-1 0,1-1,0 1,-1 0,1 0,0 0,0 0,0-1,0 1,0 0,0-1,0 1,0 0,0-1,0 0,0 1,2 0,4 1,0 1,0-2,0 1,0 0,15 0,-4-2</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5.609"/>
    </inkml:context>
    <inkml:brush xml:id="br0">
      <inkml:brushProperty name="width" value="0.05" units="cm"/>
      <inkml:brushProperty name="height" value="0.05" units="cm"/>
      <inkml:brushProperty name="ignorePressure" value="1"/>
    </inkml:brush>
  </inkml:definitions>
  <inkml:trace contextRef="#ctx0" brushRef="#br0">95 0,'-3'4,"-2"3,-2 5,-1 3,1 3,-1 1,0 1,3 0,-3-3,1-1,2-1,-3-2,2 0,0 1,2-2</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6.127"/>
    </inkml:context>
    <inkml:brush xml:id="br0">
      <inkml:brushProperty name="width" value="0.05" units="cm"/>
      <inkml:brushProperty name="height" value="0.05" units="cm"/>
      <inkml:brushProperty name="ignorePressure" value="1"/>
    </inkml:brush>
  </inkml:definitions>
  <inkml:trace contextRef="#ctx0" brushRef="#br0">113 1,'-4'0,"-3"0,-5 3,-3 2,-3-1,-1 3,0 0,5 2,9-1,9-1,6 1,6 3,-1 2,-2 3,-1 2,-2-2</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7.172"/>
    </inkml:context>
    <inkml:brush xml:id="br0">
      <inkml:brushProperty name="width" value="0.05" units="cm"/>
      <inkml:brushProperty name="height" value="0.05" units="cm"/>
      <inkml:brushProperty name="ignorePressure" value="1"/>
    </inkml:brush>
  </inkml:definitions>
  <inkml:trace contextRef="#ctx0" brushRef="#br0">77 16,'0'-1,"0"0,0 1,0-1,0 1,0-1,0 0,0 1,-1-1,1 1,0-1,0 0,-1 1,1-1,0 1,-1-1,1 1,-1-1,1 1,0-1,-1 1,1 0,-1-1,1 1,-1 0,1-1,-1 1,0 0,1-1,-1 1,1 0,-1 0,-1 0,-25 3,25-2,0-1,0 1,0-1,0 1,1 0,-1 0,0 0,1 0,-1 0,0 0,1 1,0-1,-1 0,1 1,0-1,-1 1,1-1,0 1,0 0,0 0,1-1,-1 1,0 0,1 0,-1 0,1 0,-1 2,2-1,0 0,1 0,-1-1,1 1,0-1,0 1,0-1,0 0,0 0,0 1,0-2,1 1,-1 0,4 1,-3 0,1-1,-1 0,0 1,0 0,0-1,-1 1,1 0,0 1,-1-1,2 4,-2-2,-1 1,0-1,0 1,0-1,-1 1,0 0,0-1,0 1,-1-1,0 1,-2 8,-23 63,18-56,1-5</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536"/>
    </inkml:context>
    <inkml:brush xml:id="br0">
      <inkml:brushProperty name="width" value="0.05" units="cm"/>
      <inkml:brushProperty name="height" value="0.05" units="cm"/>
      <inkml:brushProperty name="ignorePressure" value="1"/>
    </inkml:brush>
  </inkml:definitions>
  <inkml:trace contextRef="#ctx0" brushRef="#br0">191 0,'-74'6,"69"-5,-1 0,1 1,-1-1,1 1,0 0,0 0,-1 1,1 0,1 0,-9 6,13-9,-1 1,0 0,1 0,-1 0,1 0,-1-1,1 1,-1 0,1 0,0 0,-1 0,1 0,0 0,0 0,0 0,0 0,0 0,0 0,0 0,0 0,0 0,0 0,0 0,1 0,-1 0,0 0,1 0,-1 0,1 0,-1 0,1 0,0-1,-1 1,1 0,0 0,-1-1,1 1,0 0,1 0,43 31,-29-22,-14-9,-1 0,1 1,0-1,-1 0,1 1,-1-1,1 1,-1-1,0 1,1 0,-1 0,0-1,0 1,0 0,-1 0,1 0,0 0,-1 0,1 0,-1 0,0 0,0 0,0 3,0-2,-1 0,0-1,0 1,-1 0,1-1,-1 0,1 1,-1-1,1 0,-1 0,0 1,0-1,0-1,-5 4,-6 4,0-2,0 1,-1-2,1 0,-17 5,12-6</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38.857"/>
    </inkml:context>
    <inkml:brush xml:id="br0">
      <inkml:brushProperty name="width" value="0.05" units="cm"/>
      <inkml:brushProperty name="height" value="0.05" units="cm"/>
      <inkml:brushProperty name="ignorePressure" value="1"/>
    </inkml:brush>
  </inkml:definitions>
  <inkml:trace contextRef="#ctx0" brushRef="#br0">120 0,'0'7,"0"5,-3 7,-1 4,-1 4,2 5,-3 3,0 2,-2 5,-3 5,0 5,-1-1,-2-1,1-4,0 1,2-7</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237"/>
    </inkml:context>
    <inkml:brush xml:id="br0">
      <inkml:brushProperty name="width" value="0.05" units="cm"/>
      <inkml:brushProperty name="height" value="0.05" units="cm"/>
      <inkml:brushProperty name="ignorePressure" value="1"/>
    </inkml:brush>
  </inkml:definitions>
  <inkml:trace contextRef="#ctx0" brushRef="#br0">288 2,'-18'-1,"1"1,0 0,0 2,-1 0,1 1,0 0,1 1,-21 9,36-13,0 0,0 1,0-1,-1 1,1-1,0 1,0-1,0 1,0 0,0-1,1 1,-1 0,0 0,0 0,0 0,1-1,-1 1,0 0,1 0,-1 1,1-1,-1 0,1 0,0 0,-1 0,1 0,0 0,0 1,0-1,0 0,0 0,0 0,0 0,0 1,0-1,1 0,-1 0,1 2,2 3,1 0,0 0,1 0,-1-1,10 9,-10-11,-1 0,0 0,0 0,-1 0,1 0,0 1,-1-1,0 1,0-1,0 1,0 0,-1 0,2 5,-4-6,1 0,-1 0,0 0,0 1,-1-1,1 0,-1 0,1-1,-1 1,0 0,0-1,0 1,-1-1,1 1,0-1,-1 0,0 0,1 0,-1 0,0-1,0 1,0-1,0 0,-7 2,3 0,-1-1,0 0,0 0,0-1,-1 0,1 0,0-1,-17-1,8-3</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0.572"/>
    </inkml:context>
    <inkml:brush xml:id="br0">
      <inkml:brushProperty name="width" value="0.05" units="cm"/>
      <inkml:brushProperty name="height" value="0.05" units="cm"/>
      <inkml:brushProperty name="ignorePressure" value="1"/>
    </inkml:brush>
  </inkml:definitions>
  <inkml:trace contextRef="#ctx0" brushRef="#br0">197 1,'-2'30,"-2"-1,-2 0,0 1,-2-2,-1 1,-15 30,-8 30,-64 155,88-205,6-23</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056"/>
    </inkml:context>
    <inkml:brush xml:id="br0">
      <inkml:brushProperty name="width" value="0.05" units="cm"/>
      <inkml:brushProperty name="height" value="0.05" units="cm"/>
      <inkml:brushProperty name="ignorePressure" value="1"/>
    </inkml:brush>
  </inkml:definitions>
  <inkml:trace contextRef="#ctx0" brushRef="#br0">109 2,'2'-1,"-1"1,1 0,-1 0,1 0,0 0,-1 0,1 0,-1 0,1 1,-1-1,1 1,-1-1,1 1,-1-1,1 1,-1 0,1 0,-1-1,0 1,0 0,1 0,-1 1,0-1,0 0,0 0,0 1,0-1,0 0,-1 1,1-1,0 1,-1-1,1 1,-1-1,1 1,-1-1,0 1,0-1,0 1,0 0,0-1,0 1,0-1,0 1,0 0,-1-1,1 1,-2 1,0 5,0-1,-1 0,-1 0,1 0,-1 0,0-1,0 0,-1 1,-5 5,-97 82,107-94,0 0,0 0,0 0,0 0,0 0,0 0,-1 1,1-1,0 0,0 0,0 0,0 0,0 0,0 0,0 1,0-1,0 0,0 0,0 0,0 0,0 1,0-1,0 0,0 0,0 0,0 0,0 0,0 1,0-1,0 0,0 0,0 0,0 0,0 1,0-1,0 0,0 0,1 0,-1 0,0 0,0 0,0 0,0 1,0-1,0 0,0 0,1 0,-1 0,0 0,0 0,0 0,0 0,0 0,1 0,-1 0,0 0,0 0,0 0,0 0,1 0,-1 0,0 0,0 0,20 0,21-6,-36 5,19-4,45-15,-56 1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3.701"/>
    </inkml:context>
    <inkml:brush xml:id="br0">
      <inkml:brushProperty name="width" value="0.025" units="cm"/>
      <inkml:brushProperty name="height" value="0.025" units="cm"/>
      <inkml:brushProperty name="ignorePressure" value="1"/>
    </inkml:brush>
  </inkml:definitions>
  <inkml:trace contextRef="#ctx0" brushRef="#br0">97 1,'-3'3,"-4"5,-2 4,2 3,-2 3,0 1,-1-2,2-1,1 0,-1-3,1 0,1 2,2 0,2-2</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636"/>
    </inkml:context>
    <inkml:brush xml:id="br0">
      <inkml:brushProperty name="width" value="0.05" units="cm"/>
      <inkml:brushProperty name="height" value="0.05" units="cm"/>
      <inkml:brushProperty name="ignorePressure" value="1"/>
    </inkml:brush>
  </inkml:definitions>
  <inkml:trace contextRef="#ctx0" brushRef="#br0">1 1,'19'0,"-4"-1,0 1,0 1,0 0,-1 1,26 6,-36-6,0-1,-1 1,1 0,-1-1,0 1,1 1,-1-1,0 1,0-1,-1 1,1 0,0 0,-1 0,0 0,0 0,0 1,0-1,0 0,-1 1,1 0,-1-1,0 1,0 0,0 0,-1 0,0 0,1 4,-1 9,-1 1,0-1,-1 0,-5 19,-3 34,9-55</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1.969"/>
    </inkml:context>
    <inkml:brush xml:id="br0">
      <inkml:brushProperty name="width" value="0.05" units="cm"/>
      <inkml:brushProperty name="height" value="0.05" units="cm"/>
      <inkml:brushProperty name="ignorePressure" value="1"/>
    </inkml:brush>
  </inkml:definitions>
  <inkml:trace contextRef="#ctx0" brushRef="#br0">1 1,'3'0,"5"0,4 0,3 0,3 0,1 0,1 0,0 0,0 0,-3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301"/>
    </inkml:context>
    <inkml:brush xml:id="br0">
      <inkml:brushProperty name="width" value="0.05" units="cm"/>
      <inkml:brushProperty name="height" value="0.05" units="cm"/>
      <inkml:brushProperty name="ignorePressure" value="1"/>
    </inkml:brush>
  </inkml:definitions>
  <inkml:trace contextRef="#ctx0" brushRef="#br0">75 1,'-3'3,"-2"5,1 4,-3 3,1 3,0 1,-1 1,0 0,-3 0,2 0,1 0,2-3</inkml:trace>
  <inkml:trace contextRef="#ctx0" brushRef="#br0" timeOffset="1">172 20,'-4'7,"0"5,-4 4,1 3,-3 1,1 1,1-1,0-3,0-1,2 0,2 0,2 2,0-4</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2.635"/>
    </inkml:context>
    <inkml:brush xml:id="br0">
      <inkml:brushProperty name="width" value="0.05" units="cm"/>
      <inkml:brushProperty name="height" value="0.05" units="cm"/>
      <inkml:brushProperty name="ignorePressure" value="1"/>
    </inkml:brush>
  </inkml:definitions>
  <inkml:trace contextRef="#ctx0" brushRef="#br0">0 1,'0'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135"/>
    </inkml:context>
    <inkml:brush xml:id="br0">
      <inkml:brushProperty name="width" value="0.05" units="cm"/>
      <inkml:brushProperty name="height" value="0.05" units="cm"/>
      <inkml:brushProperty name="ignorePressure" value="1"/>
    </inkml:brush>
  </inkml:definitions>
  <inkml:trace contextRef="#ctx0" brushRef="#br0">35 1,'3'0,"0"0,0 0,0 0,1 0,-1 1,0-1,0 1,0 0,0 0,0 0,0 0,-1 1,1-1,0 1,3 2,-4-2,-1 0,0-1,0 1,0 0,0 0,0 0,-1 0,1 0,-1 0,1 0,-1 0,0 0,1 0,-1 0,0 0,0 0,-1 0,1 0,0 0,-1 0,1 0,-1 0,0 0,-1 3,0 3,0-1,1 1,0 0,0 15,2-16,-2 0,1 1,-1-1,0 0,-4 13,4-18,0 0,0 1,-1-1,1 0,-1 0,1 0,-1 0,0 0,1-1,-1 1,0 0,0-1,0 1,0-1,-1 0,1 0,0 0,0 0,-1 0,1 0,-4 0,-11 2,1-2</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3.551"/>
    </inkml:context>
    <inkml:brush xml:id="br0">
      <inkml:brushProperty name="width" value="0.05" units="cm"/>
      <inkml:brushProperty name="height" value="0.05" units="cm"/>
      <inkml:brushProperty name="ignorePressure" value="1"/>
    </inkml:brush>
  </inkml:definitions>
  <inkml:trace contextRef="#ctx0" brushRef="#br0">149 0,'-7'0,"-5"0,-4 3,-3 2,-1 2,3 4,7 3,9 3,8 2,3 0,-1 1,-5-3,-6-5,-6 0,-6-3,-2-3,-4-2,4-2</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001"/>
    </inkml:context>
    <inkml:brush xml:id="br0">
      <inkml:brushProperty name="width" value="0.05" units="cm"/>
      <inkml:brushProperty name="height" value="0.05" units="cm"/>
      <inkml:brushProperty name="ignorePressure" value="1"/>
    </inkml:brush>
  </inkml:definitions>
  <inkml:trace contextRef="#ctx0" brushRef="#br0">1 36,'0'-2,"1"0,-1 0,1 1,-1-1,1 0,0 1,0-1,0 0,0 1,0-1,0 1,1 0,-1-1,0 1,1 0,-1 0,1 0,-1 0,1 0,-1 0,1 0,0 0,-1 1,1-1,0 1,0-1,0 1,-1 0,1 0,0 0,3 0,4-1,0 0,-1 1,1 1,0-1,11 3,-18-2,1-1,0 1,-1 0,1 0,-1 0,1 0,-1 0,0 0,0 1,1-1,-1 1,0-1,0 1,0 0,0 0,2 3,-4-3,1-1,0 1,-1 0,1 0,-1 0,1 0,-1 0,0 0,0 0,0 0,0 0,0 0,0 0,0-1,-1 1,1 0,-2 3,-3 7,-1 0,-1-1,0 1,0-1,-14 14,-4 10,25-34,-1-1,1 1,0-1,-1 1,1-1,0 1,-1-1,1 1,0 0,0-1,0 1,-1-1,1 1,0 0,0-1,0 1,0 0,0-1,0 1,0-1,0 1,1 0,-1-1,0 1,0-1,0 1,1 0,-1-1,0 1,1-1,-1 1,0-1,1 1,-1-1,1 1,-1-1,1 1,-1-1,1 0,-1 1,1-1,-1 0,1 0,0 1,-1-1,1 0,-1 0,1 0,0 0,-1 1,1-1,0 0,-1 0,1 0,-1 0,1-1,0 1,-1 0,1 0,0-1,51-6,-42 5,188-40,-181 39</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6.515"/>
    </inkml:context>
    <inkml:brush xml:id="br0">
      <inkml:brushProperty name="width" value="0.05" units="cm"/>
      <inkml:brushProperty name="height" value="0.05" units="cm"/>
      <inkml:brushProperty name="ignorePressure" value="1"/>
    </inkml:brush>
  </inkml:definitions>
  <inkml:trace contextRef="#ctx0" brushRef="#br0">76 11,'27'36,"-26"-31,1 0,-1 0,-1 0,1 0,-1 1,0-1,0 0,0 0,-1 1,0-1,0 0,0 0,-1 0,0 0,-3 8,3-10,1 1,-1 0,0-1,-1 1,1-1,-1 1,1-1,-1 0,0 0,0 0,0-1,-1 1,1-1,-1 0,1 0,-1 0,0 0,1 0,-1-1,-5 1,8-5,8-7,11-7,21-9,18-13,-53 37,-1-1,0 0,0 0,0 0,-1 0,1 0,-1-1,1 1,-1-1,0 1,-1-1,3-6,-4 8,0 0,0 1,0-1,0 0,-1 1,1-1,-1 0,1 1,-1-1,1 0,-1 1,0-1,0 1,0-1,0 1,0-1,0 1,0 0,0 0,-1-1,1 1,0 0,-1 0,1 0,-1 0,1 1,-1-1,0 0,1 1,-1-1,0 1,1-1,-5 1,-2-3,-1 1,0 1,1 0,-1 0,-13 0,11 3,1-1,-1 2,1-1,-10 5,3-1</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035"/>
    </inkml:context>
    <inkml:brush xml:id="br0">
      <inkml:brushProperty name="width" value="0.05" units="cm"/>
      <inkml:brushProperty name="height" value="0.05" units="cm"/>
      <inkml:brushProperty name="ignorePressure" value="1"/>
    </inkml:brush>
  </inkml:definitions>
  <inkml:trace contextRef="#ctx0" brushRef="#br0">154 1,'-18'12,"-6"3,1 0,1 2,-31 30,52-46,0 0,-1 0,1 0,1 0,-1 0,0 0,0 0,0 1,0-1,1 0,-1 1,1-1,-1 0,1 1,-1-1,1 1,0-1,0 0,0 1,0-1,0 1,0-1,0 1,0-1,1 3,0-2,0 0,1-1,-1 1,1 0,-1-1,1 1,0-1,-1 0,1 0,0 1,0-1,0 0,0 0,0-1,2 2,7 1,1 0,-1 0,1-1,0-1,12 0,-4-1,5 1,0-2,0 0,38-8,-46 4</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366"/>
    </inkml:context>
    <inkml:brush xml:id="br0">
      <inkml:brushProperty name="width" value="0.05" units="cm"/>
      <inkml:brushProperty name="height" value="0.05" units="cm"/>
      <inkml:brushProperty name="ignorePressure" value="1"/>
    </inkml:brush>
  </inkml:definitions>
  <inkml:trace contextRef="#ctx0" brushRef="#br0">107 1,'-4'3,"0"5,-4 0,0 3,1 2,-1 3,1 2,-2-3,0 0,2 1,-1-3,1 0,1 1,2 2,-1 1,-1-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4.734"/>
    </inkml:context>
    <inkml:brush xml:id="br0">
      <inkml:brushProperty name="width" value="0.025" units="cm"/>
      <inkml:brushProperty name="height" value="0.025" units="cm"/>
      <inkml:brushProperty name="ignorePressure" value="1"/>
    </inkml:brush>
  </inkml:definitions>
  <inkml:trace contextRef="#ctx0" brushRef="#br0">81 17,'25'-11,"-11"5,-30 12,12-5,1 0,0 0,0 0,1 1,-1 0,0-1,0 1,1 0,-1 0,1 0,-1 1,1-1,0 1,0-1,0 1,-3 5,5-6,-1 0,1 1,-1-1,1 0,-1 0,1 0,0 1,0-1,0 0,1 0,-1 1,0-1,1 0,0 0,-1 0,1 0,0 0,0 0,0 0,0 0,0 0,1 0,-1 0,0-1,4 3,-4-3,0 0,0 0,0 0,0 0,0 0,0 0,0 0,0 0,-1 0,1 0,0 1,-1-1,1 0,-1 0,1 1,-1-1,0 0,1 1,-1-1,0 1,0-1,0 0,0 1,0-1,0 0,0 1,-1-1,1 0,0 1,-1-1,1 0,-1 1,0-1,1 0,-1 0,0 0,0 1,0-1,1 0,-1 0,-2 0,-3 4,-1-1,1 0,-1 0,0 0,-15 4,16-6,-6 2</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7.696"/>
    </inkml:context>
    <inkml:brush xml:id="br0">
      <inkml:brushProperty name="width" value="0.05" units="cm"/>
      <inkml:brushProperty name="height" value="0.05" units="cm"/>
      <inkml:brushProperty name="ignorePressure" value="1"/>
    </inkml:brush>
  </inkml:definitions>
  <inkml:trace contextRef="#ctx0" brushRef="#br0">174 0,'-13'4,"-8"3,-4 5,0 0,0 1,2 2,1 2,7 1,10-3,9-4,7-3,5-3,3-3,2-2,0 0,0-1,-3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033"/>
    </inkml:context>
    <inkml:brush xml:id="br0">
      <inkml:brushProperty name="width" value="0.05" units="cm"/>
      <inkml:brushProperty name="height" value="0.05" units="cm"/>
      <inkml:brushProperty name="ignorePressure" value="1"/>
    </inkml:brush>
  </inkml:definitions>
  <inkml:trace contextRef="#ctx0" brushRef="#br0">99 1,'-7'6,"-2"6,-3 4,1 3,2 1,0 1,0-1,3 1,2-1,-2 0,0 0,2-1,0 1,2-1,1-3</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577"/>
    </inkml:context>
    <inkml:brush xml:id="br0">
      <inkml:brushProperty name="width" value="0.05" units="cm"/>
      <inkml:brushProperty name="height" value="0.05" units="cm"/>
      <inkml:brushProperty name="ignorePressure" value="1"/>
    </inkml:brush>
  </inkml:definitions>
  <inkml:trace contextRef="#ctx0" brushRef="#br0">131 1,'-6'1,"1"1,-1 0,1 0,-1 1,1 0,0 0,0 0,-7 7,10-8,1-1,0 1,0 0,0 0,0-1,0 1,0 0,1 0,-1 0,1 0,-1 0,1 0,0 0,0 0,-1 0,2 1,-1-1,0 0,0 0,1 0,-1 0,1 0,-1 0,1 0,0 0,0-1,0 1,2 3,1 2,0 1,-1-1,0 1,0 0,-1 0,0 0,0 0,1 13,-3-18,-1 0,1 0,-1 1,1-1,-1 0,0 0,0 0,0 0,-1 0,1 0,-1 0,1 0,-1-1,0 1,0-1,0 1,-1-1,1 0,-1 1,1-1,-1-1,0 1,1 0,-1-1,-4 2,-28 9,18-9</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48.920"/>
    </inkml:context>
    <inkml:brush xml:id="br0">
      <inkml:brushProperty name="width" value="0.05" units="cm"/>
      <inkml:brushProperty name="height" value="0.05" units="cm"/>
      <inkml:brushProperty name="ignorePressure" value="1"/>
    </inkml:brush>
  </inkml:definitions>
  <inkml:trace contextRef="#ctx0" brushRef="#br0">95 0,'0'14,"0"10,-3 8,-5 8,0 5,-3 3,-3 2,2-3,-1 2,1-5,4-3,3-8</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144"/>
    </inkml:context>
    <inkml:brush xml:id="br0">
      <inkml:brushProperty name="width" value="0.05" units="cm"/>
      <inkml:brushProperty name="height" value="0.05" units="cm"/>
      <inkml:brushProperty name="ignorePressure" value="1"/>
    </inkml:brush>
  </inkml:definitions>
  <inkml:trace contextRef="#ctx0" brushRef="#br0">73 1,'1'0,"0"0,0 0,0 0,0 0,0 0,0 0,0 1,0-1,0 0,0 0,-1 1,1-1,0 1,0-1,0 1,0-1,-1 1,1-1,0 1,0 0,-1-1,1 1,-1 0,1 0,-1-1,1 1,-1 0,1 1,0 1,0-1,-1 1,0 0,0-1,0 1,0 0,0-1,0 1,0 0,-2 3,-1 4,0-1,0 1,-1-1,-7 14,-20 10,27-29,0-1,0 1,0-1,1 1,0 1,-1-1,1 0,1 1,-1-1,-3 10,6-14,0 1,1-1,-1 1,0-1,1 1,-1 0,0-1,1 1,-1-1,1 1,-1-1,1 0,-1 1,1-1,-1 1,1-1,0 0,-1 0,1 1,-1-1,1 0,0 0,-1 0,1 0,0 1,-1-1,1 0,0 0,-1 0,1 0,0-1,-1 1,1 0,1 0,25-3,50-20,-31 8,-29 1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480"/>
    </inkml:context>
    <inkml:brush xml:id="br0">
      <inkml:brushProperty name="width" value="0.05" units="cm"/>
      <inkml:brushProperty name="height" value="0.05" units="cm"/>
      <inkml:brushProperty name="ignorePressure" value="1"/>
    </inkml:brush>
  </inkml:definitions>
  <inkml:trace contextRef="#ctx0" brushRef="#br0">0 1,'3'0,"0"-1,1 2,-1-1,0 0,0 0,0 1,0 0,0-1,0 1,0 0,0 1,-1-1,1 0,0 1,-1 0,1-1,-1 1,1 0,-1 0,0 0,0 1,0-1,0 1,0-1,-1 1,1-1,1 5,-1 1,0-1,0 1,0 1,-1-1,-1 0,1 0,-1 0,-1 0,-1 12,-17 73,17-75</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0.817"/>
    </inkml:context>
    <inkml:brush xml:id="br0">
      <inkml:brushProperty name="width" value="0.05" units="cm"/>
      <inkml:brushProperty name="height" value="0.05" units="cm"/>
      <inkml:brushProperty name="ignorePressure" value="1"/>
    </inkml:brush>
  </inkml:definitions>
  <inkml:trace contextRef="#ctx0" brushRef="#br0">1 60,'6'-5,"0"0,0 1,1 0,-1 0,1 1,0 0,0 0,0 1,12-3,71-11,-83 15,26-2,49 2,-62 1,-3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1.301"/>
    </inkml:context>
    <inkml:brush xml:id="br0">
      <inkml:brushProperty name="width" value="0.05" units="cm"/>
      <inkml:brushProperty name="height" value="0.05" units="cm"/>
      <inkml:brushProperty name="ignorePressure" value="1"/>
    </inkml:brush>
  </inkml:definitions>
  <inkml:trace contextRef="#ctx0" brushRef="#br0">211 0,'-14'1,"0"-1,1 2,-1 0,0 0,1 1,0 1,0 0,0 1,0 1,1 0,-1 0,2 1,-13 9,23-15,-1 0,1 0,0 0,0 1,-1-1,1 0,0 1,0-1,0 1,0-1,1 1,-1-1,0 1,1-1,-1 1,0 3,1-5,0 1,1 0,-1 0,0 0,0-1,1 1,-1 0,0 0,1-1,-1 1,1 0,-1-1,1 1,-1-1,1 1,-1 0,1-1,0 1,-1-1,1 0,0 1,-1-1,1 1,1-1,2 2,1-1,-1 0,1 0,-1 0,1 0,0-1,-1 0,1 0,0 0,6-2,32-9,-34 7,0 2,1-1,-1 1,1 0,-1 1,15 0,-21 1,-1 1,1-1,0 1,-1 0,1 0,0 0,-1 0,1 0,-1 0,0 1,1-1,-1 1,0 0,0 0,0 0,0 0,0 0,0 0,-1 0,1 0,-1 1,0-1,1 1,-1-1,0 1,0 0,0 3,10 31,-7-21</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2.577"/>
    </inkml:context>
    <inkml:brush xml:id="br0">
      <inkml:brushProperty name="width" value="0.05" units="cm"/>
      <inkml:brushProperty name="height" value="0.05" units="cm"/>
      <inkml:brushProperty name="ignorePressure" value="1"/>
    </inkml:brush>
  </inkml:definitions>
  <inkml:trace contextRef="#ctx0" brushRef="#br0">52 1,'-2'0,"0"1,0-1,0 1,0 0,0-1,0 1,0 0,1 0,-1 1,0-1,1 0,-1 0,1 1,-1-1,1 1,0 0,-1-1,1 1,0 0,0 0,0-1,0 1,1 0,-2 4,0-1,0 1,1-1,-1 1,1 0,0-1,1 1,-1 10,2-13,0 0,-1 0,1 0,0-1,1 1,-1 0,0-1,1 1,-1-1,1 1,0-1,0 0,0 1,0-1,0 0,3 2,-4-4,0 1,0-1,0 1,0-1,0 1,0-1,0 1,0-1,0 0,0 1,0-1,0 0,0 0,0 0,0 0,0 0,1 0,-1 0,0-1,0 1,0 0,0-1,0 1,0 0,0-1,0 1,0-1,0 0,0 1,-1-1,1 0,0 1,0-1,0 0,-1 0,1 0,0 0,-1 1,1-1,-1 0,1 0,-1 0,0 0,1 0,-1-2,1 0,0 0,0 0,-1 0,1 0,-1 0,0 0,0 0,0 0,0 0,-1 0,1 0,-1 1,1-1,-1 0,0 0,0 0,-1 1,1-1,-4-4,2 1,-1 1,1 1,-1-1,-1 0,1 1,-1 0,1 0,-9-5,-5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485"/>
    </inkml:context>
    <inkml:brush xml:id="br0">
      <inkml:brushProperty name="width" value="0.05" units="cm"/>
      <inkml:brushProperty name="height" value="0.05" units="cm"/>
      <inkml:brushProperty name="ignorePressure" value="1"/>
    </inkml:brush>
  </inkml:definitions>
  <inkml:trace contextRef="#ctx0" brushRef="#br0">191 1,'-19'1,"-1"0,1 2,0 0,0 1,-21 7,38-10,0 0,0-1,0 1,0 0,0 0,0 0,1 0,-1 1,0-1,0 0,1 1,-1-1,1 1,-1 0,1-1,-2 4,3-4,-1 1,1-1,0 0,0 1,-1-1,1 1,0-1,0 0,1 1,-1-1,0 1,0-1,1 0,-1 1,0-1,1 1,0-1,-1 0,2 2,4 6,1-1,0 1,1-1,-1-1,14 10,3 6,-21-21,-1 0,0 1,0-1,0 1,0 0,0-1,0 1,-1 0,1 0,-1 0,0 0,0 0,0 1,0-1,-1 0,1 0,-1 0,0 1,0-1,0 0,0 1,-1-1,1 0,-1 0,0 0,0 1,0-1,0 0,-1 0,1 0,-1-1,0 1,-2 3,-2 0,0 1,0-1,-1-1,0 1,0-1,0-1,-1 1,1-1,-1 0,0-1,-14 4,5-2</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5.833"/>
    </inkml:context>
    <inkml:brush xml:id="br0">
      <inkml:brushProperty name="width" value="0.025" units="cm"/>
      <inkml:brushProperty name="height" value="0.025" units="cm"/>
      <inkml:brushProperty name="ignorePressure" value="1"/>
    </inkml:brush>
  </inkml:definitions>
  <inkml:trace contextRef="#ctx0" brushRef="#br0">31 18,'64'-13,"-51"9,-44 13,28-8,1 0,-1-1,0 1,0 0,1 0,-1 0,1 1,-1-1,1 1,-1-1,1 1,0 0,0 0,0 0,0 0,0 0,0 0,-1 3,2-2,1 0,0 0,0 0,0 0,0 0,0 0,0 0,1 0,0 0,0 0,-1 0,2-1,-1 1,0 0,0-1,1 1,1 2,-1-3,-1 1,1 0,-1-1,0 1,0 0,0-1,-1 1,1 0,-1 0,1 0,-1 0,0 0,0 0,0-1,-1 5,0-5,1-1,-1 1,0 0,0 0,0-1,0 1,-1 0,1-1,0 0,-1 1,1-1,-1 0,1 1,-1-1,0 0,1 0,-1 0,0-1,0 1,0 0,1-1,-1 1,-3 0,-11 2</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3.834"/>
    </inkml:context>
    <inkml:brush xml:id="br0">
      <inkml:brushProperty name="width" value="0.05" units="cm"/>
      <inkml:brushProperty name="height" value="0.05" units="cm"/>
      <inkml:brushProperty name="ignorePressure" value="1"/>
    </inkml:brush>
  </inkml:definitions>
  <inkml:trace contextRef="#ctx0" brushRef="#br0">86 0,'0'7,"0"8,0 5,0 6,-4 5,0 7,-1 7,-1 6,-1 4,-2 3,1-3,-3 0,2 1,2-4,-1-2,0-12</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539"/>
    </inkml:context>
    <inkml:brush xml:id="br0">
      <inkml:brushProperty name="width" value="0.05" units="cm"/>
      <inkml:brushProperty name="height" value="0.05" units="cm"/>
      <inkml:brushProperty name="ignorePressure" value="1"/>
    </inkml:brush>
  </inkml:definitions>
  <inkml:trace contextRef="#ctx0" brushRef="#br0">263 0,'-50'2,"1"2,-87 18,135-22,0 0,-1 0,1 0,0 0,0 0,-1 1,1-1,0 1,0-1,0 1,0-1,-1 1,1 0,0-1,0 1,0 0,0 0,0 0,1 0,-1 0,0 0,0 0,1 0,-1 0,-1 2,3-2,-1 1,0-1,1 1,-1-1,1 0,-1 0,1 1,0-1,0 0,-1 0,1 0,0 1,0-1,0 0,0 0,0 0,0-1,3 2,5 5,1-1,0 0,0-1,17 6,-18-8,4 1,1 1,-1 0,0 1,21 12,-32-17,-1 0,1 0,-1 1,1-1,-1 1,1-1,-1 1,0-1,0 1,1 0,-1-1,-1 1,1 0,0 0,0 0,-1 0,2 2,-3-2,1 0,0 0,-1 1,1-1,-1 0,1 0,-1 0,0 0,0 0,0 0,0-1,0 1,0 0,-1 0,1-1,-1 1,1-1,-1 1,1-1,-3 2,-4 2,0-1,0 1,-1-1,1-1,-1 0,1 0,-1 0,-17 1,11-2</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7.877"/>
    </inkml:context>
    <inkml:brush xml:id="br0">
      <inkml:brushProperty name="width" value="0.05" units="cm"/>
      <inkml:brushProperty name="height" value="0.05" units="cm"/>
      <inkml:brushProperty name="ignorePressure" value="1"/>
    </inkml:brush>
  </inkml:definitions>
  <inkml:trace contextRef="#ctx0" brushRef="#br0">103 1,'-2'32,"-2"1,-1-1,-2 0,-1 0,-21 54,-15 57,41-124,3-3</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287"/>
    </inkml:context>
    <inkml:brush xml:id="br0">
      <inkml:brushProperty name="width" value="0.05" units="cm"/>
      <inkml:brushProperty name="height" value="0.05" units="cm"/>
      <inkml:brushProperty name="ignorePressure" value="1"/>
    </inkml:brush>
  </inkml:definitions>
  <inkml:trace contextRef="#ctx0" brushRef="#br0">91 1,'0'0,"1"-1,-1 1,1 0,-1 0,1 0,-1 1,0-1,1 0,-1 0,1 0,-1 0,1 0,-1 0,1 1,-1-1,0 0,1 0,-1 1,1-1,-1 0,0 1,1-1,-1 0,0 1,0-1,1 0,-1 1,0-1,0 1,1-1,-1 0,0 1,0 0,-3 18,-16 14,17-31,1 0,0 1,-1-1,1 1,0-1,0 1,1-1,-1 1,1 0,-1-1,1 1,0 0,0 0,0-1,0 1,0 0,1-1,-1 1,1 0,0-1,0 1,0-1,0 1,0-1,0 1,1-1,1 3,-1-1,0 0,0 0,0 1,-1-1,1 1,-1-1,1 7,-2-9,-1 0,1 0,0 0,-1 0,1 0,-1 0,1-1,-1 1,0 0,0 0,0 0,0 0,0-1,0 1,-1-1,1 1,0-1,-1 1,0-1,1 0,-4 2,-3 3,0-1,-1-1,0 0,-12 4,3-1</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623"/>
    </inkml:context>
    <inkml:brush xml:id="br0">
      <inkml:brushProperty name="width" value="0.05" units="cm"/>
      <inkml:brushProperty name="height" value="0.05" units="cm"/>
      <inkml:brushProperty name="ignorePressure" value="1"/>
    </inkml:brush>
  </inkml:definitions>
  <inkml:trace contextRef="#ctx0" brushRef="#br0">1 4,'2'1,"0"0,0 1,0-1,0 1,-1 0,1-1,0 1,-1 0,0 0,1 0,-1 0,0 1,0-1,0 0,0 0,1 4,7 11,-7-15,1 1,0 0,1-1,-1 0,0 0,1 0,-1 0,1-1,-1 1,1-1,0 0,0 0,-1 0,9 0,-11-1,1 0,-1 1,0-1,1 0,-1 0,0 0,1 0,-1 0,0-1,1 1,-1 0,0-1,0 1,1-1,-1 1,0-1,0 0,0 1,1-1,-1 0,0 0,0 0,0 0,0 0,-1 0,1 0,0 0,0 0,-1 0,1 0,0 0,-1-1,1 1,-1 0,0 0,1-1,-1 1,0 0,0-1,0 1,0 0,0-1,0 1,0-3,-1 2,1 0,-1 0,0 1,1-1,-1 0,0 0,0 0,0 1,0-1,0 0,0 1,-1-1,1 1,-1-1,1 1,-1 0,1 0,-1 0,0 0,1 0,-1 0,0 0,0 0,-4 0,-2-2,0 2,0-1,0 1,-14 0,4 1</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8.953"/>
    </inkml:context>
    <inkml:brush xml:id="br0">
      <inkml:brushProperty name="width" value="0.05" units="cm"/>
      <inkml:brushProperty name="height" value="0.05" units="cm"/>
      <inkml:brushProperty name="ignorePressure" value="1"/>
    </inkml:brush>
  </inkml:definitions>
  <inkml:trace contextRef="#ctx0" brushRef="#br0">1 0,'2'2,"-1"-1,1 1,0 0,0-1,-1 1,1 0,-1 0,1 0,-1 0,0 1,0-1,0 0,0 0,1 5,11 18,-10-23,1 1,-1-1,1 0,-1-1,1 1,0 0,0-1,0 0,0 0,0 0,0-1,0 1,7-1,-10 0,0 0,0 0,1 1,-1-1,0 0,0 0,0 0,0-1,0 1,0 0,0 0,0 0,0-1,0 1,0-1,0 1,0-1,0 1,0-1,0 1,0-1,0 0,0 0,-1 1,1-1,0 0,-1 0,1 0,0 0,-1 0,1 0,-1 0,1 0,-1 0,0 0,0 0,1 0,-1 0,0 0,0 0,0 0,0 0,0-1,0 1,0 0,0 0,-1 0,1 0,0 0,-1 0,1 0,-1-1,-1-1,0 0,0 0,0 0,-1 1,1-1,-1 1,1 0,-1-1,0 1,0 0,0 1,0-1,0 0,0 1,0 0,-1 0,1 0,0 0,-1 0,1 1,-1-1,1 1,-1 0,1 0,-5 1,-11 2</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5:59.285"/>
    </inkml:context>
    <inkml:brush xml:id="br0">
      <inkml:brushProperty name="width" value="0.05" units="cm"/>
      <inkml:brushProperty name="height" value="0.05" units="cm"/>
      <inkml:brushProperty name="ignorePressure" value="1"/>
    </inkml:brush>
  </inkml:definitions>
  <inkml:trace contextRef="#ctx0" brushRef="#br0">1 15,'0'6,"0"-1,0 1,1-1,0 1,0-1,1 0,-1 1,1-1,0 0,1 0,-1 0,1 0,0-1,0 1,0-1,1 0,0 1,6 5,-6-8,-1 0,0 0,1 0,-1 0,1-1,0 0,-1 1,1-1,0-1,0 1,0 0,-1-1,1 0,0 0,0 0,0 0,0-1,0 1,0-1,-1 0,1 0,0-1,-1 1,1-1,-1 0,1 0,4-3,-6 4,-1 0,1-1,0 1,-1 0,1-1,0 1,-1-1,0 1,1-1,-1 0,0 0,0 0,0 1,0-1,0 0,-1 0,1 0,-1 0,1 0,-1-1,1 1,-1 0,0 0,0 0,0 0,-1 0,1 0,0 0,-1 0,1-1,-1 1,0 0,1 1,-1-1,0 0,0 0,-1 0,0-1,0-1,-1 1,1 0,0 0,-1 1,0-1,0 0,0 1,0 0,0 0,0 0,0 0,-1 0,1 0,-1 1,0 0,1 0,-1 0,0 0,1 0,-8 0,-6 4,1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324"/>
    </inkml:context>
    <inkml:brush xml:id="br0">
      <inkml:brushProperty name="width" value="0.05" units="cm"/>
      <inkml:brushProperty name="height" value="0.05" units="cm"/>
      <inkml:brushProperty name="ignorePressure" value="1"/>
    </inkml:brush>
  </inkml:definitions>
  <inkml:trace contextRef="#ctx0" brushRef="#br0">250 10,'-15'-3,"0"0,0 1,0 1,0 1,0 0,0 1,-1 0,-17 5,33-6,-1 0,1 0,-1 0,0 0,1 0,-1 0,1 0,-1 0,1 0,-1 0,1 0,-1 0,1 0,-1 0,1 1,-1-1,1 0,-1 0,1 1,-1-1,1 0,-1 1,1-1,0 0,-1 1,1-1,0 1,-1-1,1 0,0 1,0-1,-1 1,1-1,0 1,0-1,0 1,-1-1,1 2,17 13,33 9,-50-24,7 3,1 1,-1-1,0 1,0 0,-1 1,0-1,1 1,6 8,-12-12,0 1,0-1,0 0,0 1,0 0,0-1,0 1,-1-1,1 1,-1 0,1 0,-1-1,0 1,0 0,1 0,-1 0,0-1,-1 1,1 0,0 0,0-1,-1 1,1 0,-1 0,0-1,1 1,-1 0,0-1,0 1,0-1,0 1,0-1,0 0,0 1,-1-1,1 0,-1 0,1 0,0 0,-1 0,0 0,-1 1,-7 4,0 0,-1 0,0-1,1 0,-2-1,1 0,0-1,-1-1,1 1,-1-2,0 1,0-2,0 0,-14-1,10-3</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0.668"/>
    </inkml:context>
    <inkml:brush xml:id="br0">
      <inkml:brushProperty name="width" value="0.05" units="cm"/>
      <inkml:brushProperty name="height" value="0.05" units="cm"/>
      <inkml:brushProperty name="ignorePressure" value="1"/>
    </inkml:brush>
  </inkml:definitions>
  <inkml:trace contextRef="#ctx0" brushRef="#br0">135 1,'1'2,"0"0,1 0,-1 0,0 1,0-1,-1 1,1-1,0 1,-1-1,0 1,1-1,-1 1,0-1,0 1,-1 4,-7 43,5-40,-8 35,-3 0,-29 65,21-59,-17 64,35-99</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225"/>
    </inkml:context>
    <inkml:brush xml:id="br0">
      <inkml:brushProperty name="width" value="0.05" units="cm"/>
      <inkml:brushProperty name="height" value="0.05" units="cm"/>
      <inkml:brushProperty name="ignorePressure" value="1"/>
    </inkml:brush>
  </inkml:definitions>
  <inkml:trace contextRef="#ctx0" brushRef="#br0">134 1,'4'0,"-1"0,0 0,0 0,0 0,0 1,0-1,0 1,0 0,0 0,0 0,0 0,0 0,0 1,0-1,-1 1,1 0,-1 0,1 0,-1 0,0 0,4 5,-5-5,0 1,0-1,-1 1,1 0,-1-1,1 1,-1 0,0-1,0 1,0 0,0-1,0 1,-1 0,1-1,-1 1,0-1,1 1,-1-1,0 1,-1-1,1 1,0-1,-1 0,1 0,-4 3,4-3,0-1,0 1,1 0,-1 0,0-1,1 1,-1 0,1 0,-1 0,1 0,0 0,0 0,0 0,0 0,0 0,0-1,1 1,-1 0,0 0,1 0,0 0,-1 0,1-1,0 1,0 0,0-1,0 1,0 0,1-1,-1 1,0-1,1 0,2 3,15 25,-18-27,-1 0,0-1,0 1,0-1,0 1,0 0,0-1,0 1,0-1,-1 1,1-1,-1 1,1 0,-1-1,0 0,1 1,-1-1,0 1,0-1,0 0,0 0,-2 2,-3 3,0-1,-1 0,1 0,-1 0,0-1,0 0,-1-1,0 0,1 0,-12 3,13-4,-1-1,1 1,-1-1,1 0,-1-1,1 1,-1-1,0-1,1 1,-1-1,1 0,-1-1,-8-2,3-5,4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4.130"/>
    </inkml:context>
    <inkml:brush xml:id="br0">
      <inkml:brushProperty name="width" value="0.025" units="cm"/>
      <inkml:brushProperty name="height" value="0.025" units="cm"/>
      <inkml:brushProperty name="ignorePressure" value="1"/>
    </inkml:brush>
  </inkml:definitions>
  <inkml:trace contextRef="#ctx0" brushRef="#br0">43 4,'-5'4,"1"1,0 0,0 0,1 0,-1 0,1 1,0 0,1-1,-1 1,1 0,0 0,-1 8,3-12,0-1,0 1,0 0,0 0,0 0,0-1,0 1,1 0,-1 0,1-1,-1 1,1 0,0-1,0 1,-1 0,1-1,0 0,2 3,-1-2,1-1,-1 1,0-1,1 1,-1-1,1 0,-1 0,1 0,-1-1,1 1,0 0,-1-1,1 0,0 1,-1-1,4-1,1 1,1-1,-1 0,0-1,0 0,0 0,0 0,0-1,-1 0,1 0,8-6,-13 8,-1 0,1 0,0 0,-1 0,1-1,0 1,-1 0,0-1,1 1,-1-1,0 1,0-1,0 0,0 1,0-1,0 0,0 0,-1 0,1 0,0 0,-1 0,0 0,1 0,-1 0,0 0,0 0,0 0,-1 0,1 1,0-1,-1 0,1 0,-1 0,0 0,1 0,-1 0,0 1,0-1,0 0,0 0,-3-1,1 0,0 0,-1 0,1 1,-1-1,0 1,1 0,-1 0,0 1,-1-1,1 1,0 0,0 0,0 0,-1 0,-8 1,-5-1</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617"/>
    </inkml:context>
    <inkml:brush xml:id="br0">
      <inkml:brushProperty name="width" value="0.05" units="cm"/>
      <inkml:brushProperty name="height" value="0.05" units="cm"/>
      <inkml:brushProperty name="ignorePressure" value="1"/>
    </inkml:brush>
  </inkml:definitions>
  <inkml:trace contextRef="#ctx0" brushRef="#br0">93 1,'6'0,"0"0,1 0,-1 1,0 0,0 0,0 1,0-1,0 1,10 5,-15-6,1 0,-1 0,0-1,0 1,0 0,0 0,0 0,0 1,0-1,0 0,-1 0,1 0,0 1,-1-1,1 0,-1 1,1-1,0 3,-1-2,0 0,0 1,-1-1,1 1,0-1,-1 0,0 1,1-1,-1 0,0 0,0 1,0-1,-1 0,-1 3,-9 10,0 0,-1-1,-1-1,0 0,-17 12,-36 35,66-60,1 0,0 0,-1 0,1 1,0-1,-1 0,1 0,0 0,0 1,-1-1,1 0,0 1,0-1,0 0,-1 1,1-1,0 0,0 1,0-1,0 0,0 1,0-1,-1 0,1 1,0-1,0 0,0 1,0-1,0 0,1 1,-1-1,0 1,0-1,0 0,0 1,0-1,0 0,1 1,-1-1,0 0,0 1,0-1,1 0,-1 1,21 2,23-8,78-21,-105 23</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1.955"/>
    </inkml:context>
    <inkml:brush xml:id="br0">
      <inkml:brushProperty name="width" value="0.05" units="cm"/>
      <inkml:brushProperty name="height" value="0.05" units="cm"/>
      <inkml:brushProperty name="ignorePressure" value="1"/>
    </inkml:brush>
  </inkml:definitions>
  <inkml:trace contextRef="#ctx0" brushRef="#br0">131 18,'-1'-1,"1"0,-1 0,1 0,-1 0,0 0,1 0,-1 0,0 0,0 0,0 1,0-1,0 0,0 0,0 1,0-1,0 1,0-1,0 1,0-1,0 1,0-1,0 1,-1 0,1 0,0 0,-2 0,0 0,0 0,0 1,-1 0,1 0,0 0,0 0,0 0,0 1,-5 3,0 0,0 1,0 0,1 1,0 0,-11 13,16-17,1 0,-1 0,1 0,0 0,0 0,0 0,0 0,1 0,-1 1,1-1,0 0,0 0,0 1,0-1,2 6,-2-8,0 1,1-1,-1 0,0 0,1 0,-1 0,1 0,-1 0,1 0,0 0,-1 0,1 0,0 0,0 0,0 0,0 0,0 0,0-1,0 1,0 0,0-1,0 1,0-1,0 1,0-1,0 0,1 1,-1-1,0 0,0 0,0 0,1 0,-1 0,0 0,0 0,0 0,1-1,-1 1,0 0,0-1,0 1,0-1,0 1,2-1,-2 0,0 0,1 1,-1-1,0 0,1 0,-1 0,0 0,0 0,0 0,0 0,0 0,0 0,0-1,0 1,-1 0,1 0,0-1,-1 1,1-1,-1 1,1-1,-1 1,0-1,0 1,1-1,-1 1,0-2,-1 0,1-1,0 1,-1 0,0 0,0 0,0 0,0 0,0 0,-1 0,1 0,-4-4,-7-7</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282"/>
    </inkml:context>
    <inkml:brush xml:id="br0">
      <inkml:brushProperty name="width" value="0.05" units="cm"/>
      <inkml:brushProperty name="height" value="0.05" units="cm"/>
      <inkml:brushProperty name="ignorePressure" value="1"/>
    </inkml:brush>
  </inkml:definitions>
  <inkml:trace contextRef="#ctx0" brushRef="#br0">0 1,'3'3,"2"5,-1 4,0 3,-2 2,0 3,-2 0,1 0,-1-3</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601"/>
    </inkml:context>
    <inkml:brush xml:id="br0">
      <inkml:brushProperty name="width" value="0.05" units="cm"/>
      <inkml:brushProperty name="height" value="0.05" units="cm"/>
      <inkml:brushProperty name="ignorePressure" value="1"/>
    </inkml:brush>
  </inkml:definitions>
  <inkml:trace contextRef="#ctx0" brushRef="#br0">1 20,'0'0</inkml:trace>
  <inkml:trace contextRef="#ctx0" brushRef="#br0" timeOffset="1">136 0,'4'0,"0"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26:02.936"/>
    </inkml:context>
    <inkml:brush xml:id="br0">
      <inkml:brushProperty name="width" value="0.05" units="cm"/>
      <inkml:brushProperty name="height" value="0.05" units="cm"/>
      <inkml:brushProperty name="ignorePressure" value="1"/>
    </inkml:brush>
  </inkml:definitions>
  <inkml:trace contextRef="#ctx0" brushRef="#br0">0 0,'4'0,"3"0,2 0</inkml:trace>
</inkml:ink>
</file>

<file path=ppt/ink/ink16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01:05.491"/>
    </inkml:context>
    <inkml:brush xml:id="br0">
      <inkml:brushProperty name="width" value="0.05292" units="cm"/>
      <inkml:brushProperty name="height" value="0.05292" units="cm"/>
      <inkml:brushProperty name="color" value="#0070C0"/>
    </inkml:brush>
  </inkml:definitions>
  <inkml:trace contextRef="#ctx0" brushRef="#br0">20770 661 0,'0'120'31,"13"25"-31,-13-66 0,0 40 16,0 1-16,0 12 0,13 0 0,0-13 15,14 133-15,-27-133 0,13 13 16,0-26-16,1 198 16,-1-225-16,-13 1 0,0-1 15,-13-13-15,13 0 0,0-13 16,0-13-16,0 0 0,-14-1 15,14-12-15,0-1 0,0-12 0,0-1 16,-13 0-16</inkml:trace>
  <inkml:trace contextRef="#ctx0" brushRef="#br0" timeOffset="347.33">19579 2672 0,'66'14'15,"120"-14"1,-81 0-16,305 0 15,-251-14-15,0 14 0,0 0 0,-1-13 16,14 13-16,14-13 0,-28 0 16,28-1-16,-14 1 0,158-13 15,-158 12-15,-26 1 0,-1-13 16,1 26-16,79-27 0,-133 14 16,-12 13-16,-1-13 0,-13 13 15,-13-13-15,-13 13 0,-14-14 0,-12 14 16,-1 0-16,0 0 0</inkml:trace>
  <inkml:trace contextRef="#ctx0" brushRef="#br0" timeOffset="1285.23">20796 2659 0,'27'-13'31,"-14"13"-15,-13-13-16,13 13 0,-13-14 15,13 1-15,-13 0 0,14 13 0,-14-27 16,13 14-16,-13-13 0,13 13 15,-13-14-15,13-39 0,-13 26 16,0 1-16,0-14 0,0 13 0,0-66 16,0 40-16,0 0 15,14 13-15,-14 0 0,0 13 0,0-66 16,13 27 0,-13 0-16,13 52 0,-13 1 15,13-27-15,0 13 16,1 14-16,-14 13 0,13-14 15,0 14-15,14-14 0,-27 14 16,13 0-16,0 0 16,0 13-1,1 0-15,-14 13 0,0 0 16,13 0-16,-13 27 16,13-13-16,-13-1 0,13 0 15,-13 14-15,13 53 0,1-40 0,-1 0 16,27 39-16,-27-52 15,13 39-15,14 1 16,0-27-16,-14-14 16,14 14-16,79 40 15,-93-80 1,40 27-16,-39-27 16,13 13-16,52 1 0,-52-14 15,66 0-15,13 0 16,-40-13-16,80 0 0,-80 0 15,80 0 1,0-13-16,-80 13 0,-13-13 16,40 0-16,-13 0 15,-40 13-15</inkml:trace>
  <inkml:trace contextRef="#ctx0" brushRef="#br0" timeOffset="1965.12">18561 370 0,'0'53'15,"0"0"-15,-14 80 0,14 65 16,-13 14-1,13-107-15,-13 134 0,0-14 16,13-133-16,-14 80 16,14-93-16,-13-12 0,13 12 15,-13-13-15,13 40 0,-13-13 16,13-67-16,0 0 16,0 1-16,0-14 0</inkml:trace>
  <inkml:trace contextRef="#ctx0" brushRef="#br0" timeOffset="2339.89">17396 1865 0,'172'14'16,"-92"-28"-16,12 14 0,1 0 16,304-13-1,-119 0-15,-146 13 16,265 0-16,-133 0 15,-171 0-15,119 13 16,-40 0-16,0-13 16,-40 0-16,-79 0 15,26 14-15,-52-14 16,12-14-16,-12 14 0,-14 0 16,-13-13-16,-13 0 15,0 0 1</inkml:trace>
  <inkml:trace contextRef="#ctx0" brushRef="#br0" timeOffset="3503.32">18455 1759 0,'13'0'31,"0"0"-31,0 0 16,1 0-16,-1 0 0,13-13 0,-12 13 0,78-26 31,-52 13-31,-1 13 0,1-14 0,0 1 16,26-13-16,-40 12 0,-12 14 15,12-13-15,-13 0 0,1 13 16,12-26-16,-13 26 0,14-27 16,-14 14-16,-13 0 15,13-1-15,0 1 0,1-13 16,12-14-16,-26 27 16,13-14-16,1 14 15,-14 0-15,13-14 0,0 14 16,0-13-16,14-1 15,-14 1-15,0 13 16,0-1-16,1-12 0,-1-1 16,0 1-16,0 13 0,1-14 15,12 1-15,-13-1 16,1 14-16,-1-27 0,0 27 16,0-27-16,0 40 0,1-26 15,12 0 1,-26 12-16,13 1 0,1 0 15,12-27-15,14 14 16,-1-1-16,-25 14 16,12 0-1,-13 0-15,14 13 16,-14 0-16,0 0 0,0 0 16,-13 13-16,27 0 15,-27 0-15,13 1 16,0-1-16,1 26 0,-1 1 15,0 0-15,14 13 16,-1 39 0,-13-26-16,0-26 15,1-13-15,-1-1 16,13 14-16,1-1 16,12-12-16,-25-14 0,39 14 15,-27-27-15,14 0 16,-14 0-16,80-14 0,-13-12 15,-14-1-15,-52 14 16</inkml:trace>
  <inkml:trace contextRef="#ctx0" brushRef="#br0" timeOffset="4112.39">13745 265 0,'0'119'0,"13"-66"0,1 185 16,-14-146-16,0 14 15,13 93-15,-13-27 16,0-80-16,0-12 0,13 78 16,-13-92-16,13 53 15,-13-39-15,0-14 16,13-53-16,-13 14 15</inkml:trace>
  <inkml:trace contextRef="#ctx0" brushRef="#br0" timeOffset="4436.22">12965 1535 0,'92'0'31,"-184"0"-31,237-14 0,-66 14 16,14 0-16,0 0 0,184-13 16,15 0-16,-134 0 15,14 13-15,0-14 0,0 1 0,0 0 16,159-13-16,-172 12 15,-1 14-15,-12-13 0,132-13 0,-146 26 16,-39-14-16,12 14 16,-12-13-16,-14 13 0,1-13 0,-14 13 15,66-13-15,-79 13 16,-40-14-16,1 1 16</inkml:trace>
  <inkml:trace contextRef="#ctx0" brushRef="#br0" timeOffset="5580.25">13864 1468 0,'13'-26'16,"-13"13"-16,0-14 15,0 1-15,0-1 0,0 1 16,0-27-16,0-93 16,-26-26-1,13 67-15,13 52 0,-14 0 16,14-53-1,0 53-15,0 13 16,0 27-16,0 0 16,0-14-16,14 14 0,-1 0 15,13 0-15,1 0 16,-1 13-16,160-14 16,-41 1-1,14 0-15,-67 0 16,-12 13-16,105-27 15,-92 27-15,184-39 16,-184 25-16,92 1 16,-105 13-16,-1-13 0,66 26 15,-78-13-15,-14 0 0,-14 13 16,54 1-16,-14 12 16,-66-13-16,40 27 15,-13 0-15,-14 39 16,-12 53-16,-1-79 15,-13 119 1,-13-66-16,13 0 16,-14 26-16,14-79 15,-13 26-15,0 14 16,0 26 0,-14-40-16,14-39 15,0-13-15</inkml:trace>
  <inkml:trace contextRef="#ctx0" brushRef="#br0" timeOffset="6380.26">10094 516 0,'-13'212'0,"13"-40"16,0-80-16,0 252 31,0-225-31,26 238 16,-13-211-16,-13-93 15,0 0-15,14-14 0,-1 107 16,-13-120-1,0-12-15,-13-1 16</inkml:trace>
  <inkml:trace contextRef="#ctx0" brushRef="#br0" timeOffset="6687.98">8864 2037 0,'66'-39'15,"79"12"-15,-52 14 0,26-14 16,13 14-16,172-40 0,27 0 16,225 0-1,-371 27-15,0 13 16,358-40-16,-54 13 15,-66 1 1,-330 39-16,172-40 16,-67 13-1,-105 14 1,-80 13-16,13-13 0</inkml:trace>
  <inkml:trace contextRef="#ctx0" brushRef="#br0" timeOffset="7695.99">10226 1879 0,'27'0'15,"-1"0"-15,1-27 16,-1 14-16,0-14 0,14-26 16,0-13-1,13-39-15,0-160 31,-14 146-31,-12-13 16,-1 65-16,27-38 16,-26 52-16,52-93 15,40 1 1,40 39 0,-80 66-1,1 40 1,-1 13-1,-13 27-15,-13 13 16,0 26 0,-13 1-16,-14-41 15,53 173 1,-39-106-16,0 66 16,0-80-16,-1 41 15,14-27 1,-13-53-1,26 13 1,-26-27 0,-27-39-16,0 14 0,40-14 15,-27-14 1,-12 1 0,-14 0-16</inkml:trace>
  <inkml:trace contextRef="#ctx0" brushRef="#br0" timeOffset="8420.25">5503 1336 0,'14'159'0,"-1"-14"15,-13-52-15,13-14 0,-13 1 16,13 92-16,0-14 15,14 1-15,-27-79 16,13-14-16,0 40 16,14-1-16,-27-78 15,13-1-15,-26-12 0</inkml:trace>
  <inkml:trace contextRef="#ctx0" brushRef="#br0" timeOffset="8746.34">4339 2580 0,'-13'0'0,"39"0"15,41-14-15,-1 1 0,13 13 16,14-13-16,158-27 15,-105 14-15,317-40 16,-106 26-16,13 0 16,14 14-16,-27-14 15,-185 27-15,0 13 0,291-40 16,-331 40-16,-26-13 16,79 0-16,40 0 15,-172-1-15,13 14 16,-26-13-16,-27 13 31</inkml:trace>
  <inkml:trace contextRef="#ctx0" brushRef="#br0" timeOffset="10002.49">5675 2408 0,'0'-53'32,"14"26"-32,-14-12 15,0-14-15,0 26 16,0-12-16,0-54 0,13-26 15,0-13 1,0 92-16,0 0 16,1 1-16,12-28 0,1 15 15,-1 25 1,-13 27-16,-13-13 0,14 13 16,12 13-1,-13-13-15,0 27 0,1 25 16,-1-25-16,0-1 15,27 40-15,-14 1 16,27 12-16,-40-53 16,14 1-16,13 13 15,-27-27 1,0 0-16,0 0 16,0-13-16,1 0 0,-1 0 15,13-26 1,-12 13-16,12-27 15,-13 27-15,1-27 16,12 14-16,-13-14 16,0 40-16,-13-13 0,14 13 15,-14-14-15,13 14 16,13 0-16,-12 0 16,-1 14-16,0-1 15,0 0-15,1 0 0,-1 1 16,13 25-16,14 1 15,-27-27 1,0-13-16,1 27 0,25-14 16,-25-13-16,12 13 15,-13-13 1,14-13-16,-1 0 16,-13-1-16,27-25 15,-14-1-15,1-26 16,-1 13-16,-12-13 15,12-14 1,-13 67-16,1-26 16,-1 12-1,0 1-15,13 12 16,-12 14 0,25 0-16,-12 0 15,-14 14-15,53-1 0,-39 13 16,-1-12-16,40 38 15,-26-12-15,-14-13 0,67 52 16,-40-26-16,-27-27 16,41 14-16,25 13 15,14-27 1,-27-12 0,-12-1-1,-41 0-15,53 0 0,-52-13 16,65 14-16,-65-14 15,-1 0-15,1 13 0,39-13 16,-40 0-16</inkml:trace>
  <inkml:trace contextRef="#ctx0" brushRef="#br0" timeOffset="11034.06">966 1508 0,'39'159'16,"-25"-93"-16,12 80 0,1 12 15,-1-65-15,0-1 0,14 80 16,0-26-1,-14-14-15,1-66 16,-14-13-16,13 40 0,1-40 16,-14-27-16,0 1 15,-13-14-15</inkml:trace>
  <inkml:trace contextRef="#ctx0" brushRef="#br0" timeOffset="11359.9">357 2818 0,'146'-53'16,"-80"26"-16,93-12 0,65-27 15,41-1 1,0 1-16,26 13 16,-146 27-16,146-27 15,-145 27-15,132-14 0,-146 13 16,106 1-16,-66-1 16,53-12-1,-119 12-15,-53 27 0,-27-13 16,14 0-16,-27 13 15,0-13-15</inkml:trace>
  <inkml:trace contextRef="#ctx0" brushRef="#br0" timeOffset="12610.29">1244 2474 0,'13'-53'0,"-13"26"16,-13 107-16,39-186 0,-26 80 0,0-27 16,0-27-16,0 27 15,0-105-15,0 25 16,13 27 0,-13 14-16,13 39 0,-13 13 15,27-52-15,-14 65 16,-13 14-16,13-27 15,1 14-15,-1-1 16,0 27 0,14 0-1,-14 14-15,0-1 16,-13 0-16,26 27 0,14 13 16,0 39-16,0-26 15,-14 1 1,0-15-16,1-12 15,-1-13 1,1-1 0,-1 1-16,14-14 15,-27-13 1,0 0-16,14 0 16,-1 13-16,-12-26 15,12 13-15,-13 0 16,14-13-1,-14 13-15,13-40 16,-12 27 0,-1-1-1,13-39 1,1 14 0,-27 26-16,53-40 31,-27 39-16,27 14 1,-40 0 0,0 14-16,14-1 15,26 40 1,-40-40 0,40 27-1,13 13 1,-53-53-16,14 13 15,26 0 1,-27 0-16,80 1 16,-79-14-1,12 13-15,94 0 16,-81-13-16,94 13 16,-93-13-16,66-13 15,66 0 1,27-14-16,-133 14 15</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29"/>
    </inkml:context>
    <inkml:brush xml:id="br0">
      <inkml:brushProperty name="width" value="0.05" units="cm"/>
      <inkml:brushProperty name="height" value="0.05" units="cm"/>
      <inkml:brushProperty name="ignorePressure" value="1"/>
    </inkml:brush>
  </inkml:definitions>
  <inkml:trace contextRef="#ctx0" brushRef="#br0">176 1,'-27'664,"-25"561,43-895,0-9,-29 207,18-341,11-115,-2 37,10-94</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0"/>
    </inkml:context>
    <inkml:brush xml:id="br0">
      <inkml:brushProperty name="width" value="0.05" units="cm"/>
      <inkml:brushProperty name="height" value="0.05" units="cm"/>
      <inkml:brushProperty name="ignorePressure" value="1"/>
    </inkml:brush>
  </inkml:definitions>
  <inkml:trace contextRef="#ctx0" brushRef="#br0">0 82,'91'-17,"507"-6,565-12,-793 28,903 13,-758 30,55 3,-490-37,-42-3,-1 3,58 8,-57-4,-22-4</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09:30:14.131"/>
    </inkml:context>
    <inkml:brush xml:id="br0">
      <inkml:brushProperty name="width" value="0.05" units="cm"/>
      <inkml:brushProperty name="height" value="0.05" units="cm"/>
      <inkml:brushProperty name="ignorePressure" value="1"/>
    </inkml:brush>
  </inkml:definitions>
  <inkml:trace contextRef="#ctx0" brushRef="#br0">0 2332,'5'-1,"0"0,0 0,0 0,-1 0,1-1,-1 0,1 0,-1 0,1-1,-1 1,0-1,0 0,-1 0,1 0,0-1,-1 1,0-1,0 0,0 0,3-6,3-4,-1 0,-1-1,0 0,8-27,1-11,125-377,-95 300,-25 66,43-91,6-12,-19 39,-1-8,-18 44,18-64,-38 109,3 0,1 1,34-64,4 1,19-33,-65 128,1 0,1 1,1 0,0 1,0 0,1 1,19-14,-21 18,0 1,0 1,0 0,1 0,0 1,0 1,0 0,0 0,1 1,-1 0,1 1,-1 0,1 1,-1 1,1 0,-1 0,1 1,-1 0,13 5,7 4,0 1,-1 2,0 1,-1 2,36 26,-56-37,135 101,-123-89,0 2,-1 1,0 0,19 30,59 104,-27-38,-15-25,61 131,-96-177,3-1,2-1,35 46,104 113,-106-142,116 96,8 5,-162-140,1-1,1-1,1-1,0-1,1-1,1-1,1-1,0-2,1 0,0-2,1-1,31 6,14 1,-46-9,1-1,1-2,-1-1,33 1,0-5,-15 1,0-1,1-3,-1-2,-1-1,73-21,-63 7,-1-3,-2-2,91-57,31-34,-168 112,0 0,0 1,1 0,-1 1,0 0,1 0,0 0,0 1,-1 0,1 1,0-1,0 2,0-1,-1 1,12 2,15 5,0 1,39 16,-22-7,-7-1,48 25,2 1,67 16,-136-52,2 0,-1-2,1-1,34 1,58 6,-59-3,-36-5,1 2,-1 0,0 1,-1 2,1 1,-1 0,30 19,9 10,68 55,-127-91,8 5,1 0,-1-1,2 0,-1-1,0-1,1 0,0 0,0-1,0-1,1 0,-1-1,0-1,15 0,21-4,0-1,54-13,-76 12</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0.686"/>
    </inkml:context>
    <inkml:brush xml:id="br0">
      <inkml:brushProperty name="width" value="0.05" units="cm"/>
      <inkml:brushProperty name="height" value="0.05" units="cm"/>
      <inkml:brushProperty name="ignorePressure" value="1"/>
    </inkml:brush>
  </inkml:definitions>
  <inkml:trace contextRef="#ctx0" brushRef="#br0">77 193,'1'4,"0"-1,0 1,-1 0,1 0,-1 0,0 0,0-1,0 1,0 0,-2 6,1-3,-3 35,-1 0,-3-1,-1 0,-3 0,-28 69,50-141,11-57,8-33,9-31,-39 152,1 0,0 0,0 0,0-1,0 1,0 0,0 0,0 0,0 0,0-1,0 1,0 0,0 0,0 0,0 0,0-1,0 1,0 0,0 0,0 0,0 0,1-1,-1 1,0 0,0 0,0 0,0 0,0 0,0-1,0 1,1 0,-1 0,0 0,0 0,0 0,0 0,1 0,-1 0,0 0,0 0,0-1,0 1,1 0,-1 0,0 0,0 0,0 0,0 0,1 0,-1 0,0 0,0 1,0-1,0 0,1 0,-1 0,0 0,0 0,0 0,0 0,0 0,1 0,-1 0,0 1,10 15,4 24,-7-10,2 0,1 0,1-1,2 0,1-1,22 34,-35-60,-1-1,1 0,0 1,0-1,0 0,0 0,0 1,0-1,0 0,0 0,0 0,1 0,-1-1,0 1,1 0,-1 0,0-1,1 1,-1-1,1 1,-1-1,4 1,-4-2,0 1,0-1,0 1,1-1,-1 0,0 0,0 0,0 1,0-1,0 0,0 0,0 0,0 0,-1 0,1-1,0 1,-1 0,1 0,-1 0,1-2,3-6,-1-1,-1 1,0-1,0 1,0-19,7-127,0-23,-9 139,0 23</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5.546"/>
    </inkml:context>
    <inkml:brush xml:id="br0">
      <inkml:brushProperty name="width" value="0.025" units="cm"/>
      <inkml:brushProperty name="height" value="0.025" units="cm"/>
      <inkml:brushProperty name="ignorePressure" value="1"/>
    </inkml:brush>
  </inkml:definitions>
  <inkml:trace contextRef="#ctx0" brushRef="#br0">32 0,'14'0,"21"2,-35-2,1 0,-1 0,0 0,0 0,0 0,0 0,0 0,0 0,1 0,-1 0,0 0,0 0,0 0,0 0,0 0,0 0,0 1,0-1,1 0,-1 0,0 0,0 0,0 0,0 0,0 0,0 1,0-1,0 0,0 0,0 0,0 0,0 0,0 0,0 1,0-1,0 0,0 0,0 0,0 0,0 0,0 0,0 1,0-1,0 0,0 0,0 0,0 0,0 0,0 0,-1 0,1 1,0-1,0 0,0 0,0 0,0 0,0 0,0 0,-20 11,12-7,0 0,1 0,-1 1,1 0,-8 6,14-11,1 1,-1 0,0-1,1 1,-1 0,0-1,1 1,-1 0,1 0,0 0,-1-1,1 1,0 0,-1 0,1 0,0 0,0 0,0 0,0 0,0 0,0-1,0 3,1-2,0 1,0-1,0 1,0-1,0 0,0 0,0 1,0-1,0 0,1 0,-1 0,1 0,-1 0,1-1,-1 1,1 0,2 0,-1 0,1 1,-1-1,0 1,0 0,0 0,0 0,0 0,0 0,-1 1,1-1,-1 1,0 0,1 0,-1 0,0 0,-1 0,3 6,-3-8,-1 1,0-1,1 0,-1 1,0-1,0 1,0-1,0 1,-1-1,1 0,0 1,0-1,-1 0,1 1,-1-1,0 0,1 1,-2 1,0-1,0 0,0 0,0 0,0 0,-1 0,1-1,0 1,-1-1,1 0,-1 1,0-1,-3 1,-13 3,1-3</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2.367"/>
    </inkml:context>
    <inkml:brush xml:id="br0">
      <inkml:brushProperty name="width" value="0.05" units="cm"/>
      <inkml:brushProperty name="height" value="0.05" units="cm"/>
      <inkml:brushProperty name="ignorePressure" value="1"/>
    </inkml:brush>
  </inkml:definitions>
  <inkml:trace contextRef="#ctx0" brushRef="#br0">331 3,'-3'-2,"-6"9,-5 10,-8 19,2 2,2 1,-13 41,17-44,-112 328,104-280,3 1,-11 124,28-181,2 0,0 0,2-1,1 1,1-1,2 0,1 0,0 0,2-1,2 0,15 29,-18-42</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3.534"/>
    </inkml:context>
    <inkml:brush xml:id="br0">
      <inkml:brushProperty name="width" value="0.05" units="cm"/>
      <inkml:brushProperty name="height" value="0.05" units="cm"/>
      <inkml:brushProperty name="ignorePressure" value="1"/>
    </inkml:brush>
  </inkml:definitions>
  <inkml:trace contextRef="#ctx0" brushRef="#br0">1 412,'1'-4,"0"0,0 0,0 0,1 0,0 0,-1 0,4-4,6-13,93-310,-102 307,-10 33,-13 39,17-31,-1 8,0-1,-2 44,7-62,-1-1,2 1,-1-1,0 0,1 1,0-1,0 0,1 0,0 1,0-1,0-1,0 1,1 0,-1 0,1-1,0 1,1-1,6 7,-8-10,-1 1,1-1,0 0,0 0,0 0,0 0,0 0,0 0,0 0,0-1,0 1,1-1,-1 0,0 1,0-1,0 0,1 0,-1 0,0-1,0 1,4-1,-1-1,-1 0,1 0,-1-1,0 1,0-1,0 0,0 0,-1 0,6-6,2-5,0 0,-1 0,-1-1,12-24,26-87,-50 136,0 0,0 0,1 1,0-1,1 1,0 0,1-1,0 1,0 0,2-1,3 18,-4-20,1-1,1 0,-1-1,1 1,1 0,-1-1,1 0,0 1,0-2,1 1,0 0,0-1,0 0,1 0,-1 0,1-1,10 6,-4-4</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4.650"/>
    </inkml:context>
    <inkml:brush xml:id="br0">
      <inkml:brushProperty name="width" value="0.05" units="cm"/>
      <inkml:brushProperty name="height" value="0.05" units="cm"/>
      <inkml:brushProperty name="ignorePressure" value="1"/>
    </inkml:brush>
  </inkml:definitions>
  <inkml:trace contextRef="#ctx0" brushRef="#br0">55 1,'-3'6,"-2"6,1 5,1 1,0 2,2 1,-3 0,-1-1,1 0,1 0,-2-3,-1-2,1 0,1-2</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5.579"/>
    </inkml:context>
    <inkml:brush xml:id="br0">
      <inkml:brushProperty name="width" value="0.05" units="cm"/>
      <inkml:brushProperty name="height" value="0.05" units="cm"/>
      <inkml:brushProperty name="ignorePressure" value="1"/>
    </inkml:brush>
  </inkml:definitions>
  <inkml:trace contextRef="#ctx0" brushRef="#br0">233 32,'-22'21,"-46"33,62-50,0 0,0 0,0-1,0 1,-1-2,1 1,-1-1,0 0,1 0,-1-1,0 1,0-2,0 1,-10-1,16 0,-1 0,1 0,-1 0,1-1,0 1,-1 0,1-1,-1 1,1-1,0 1,-1-1,1 0,0 1,0-1,0 0,0 0,-1 0,1 0,0 0,1 0,-1 0,0 0,0 0,0-1,1 1,-1 0,0-1,1 1,-1 0,1-1,0 1,-1-1,1 1,0 0,0-1,0 1,0-1,0 1,0-1,0 1,1 0,0-2,0-1,0 0,0 0,1 0,0 1,0-1,0 1,0-1,1 1,-1 0,1 0,0 0,0 0,6-4,2 0,0 1,1 1,-1 0,1 0,1 1,-1 1,0 0,1 0,22 0,10 2,66 7,-1 0,-51-7,-43 1</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283"/>
    </inkml:context>
    <inkml:brush xml:id="br0">
      <inkml:brushProperty name="width" value="0.05" units="cm"/>
      <inkml:brushProperty name="height" value="0.05" units="cm"/>
      <inkml:brushProperty name="ignorePressure" value="1"/>
    </inkml:brush>
  </inkml:definitions>
  <inkml:trace contextRef="#ctx0" brushRef="#br0">0 0,'5'3,"-1"0,1 0,-1 0,1-1,0 0,0 0,10 3,-11-4,0 0,1 1,-1-1,0 1,0 0,0 0,0 1,6 4,-9-6,0 1,0 0,0 0,0-1,0 1,-1 0,1 0,0 0,-1 0,1 0,-1 0,0 0,0 0,0 0,0 0,0 0,0 0,0 0,0 0,-1 0,1 0,-1 0,0-1,0 1,0 2,-24 33,21-32,0 0,0 0,0 1,1-1,0 1,-5 12,7-17,1 0,0 0,0 0,0 0,0-1,0 1,0 0,0 0,0 0,0 0,0 0,1 0,-1-1,0 1,1 0,-1 0,0 0,1-1,-1 1,1 0,-1-1,2 2,0-1,-1 1,1-1,1 0,-1 0,0 0,0 0,0 0,0 0,1-1,-1 1,0-1,3 1,16 1,1-1,26-3,-20 1,-10 1</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6.978"/>
    </inkml:context>
    <inkml:brush xml:id="br0">
      <inkml:brushProperty name="width" value="0.05" units="cm"/>
      <inkml:brushProperty name="height" value="0.05" units="cm"/>
      <inkml:brushProperty name="ignorePressure" value="1"/>
    </inkml:brush>
  </inkml:definitions>
  <inkml:trace contextRef="#ctx0" brushRef="#br0">0 0,'19'8,"-1"-1,1-1,0 0,0-2,1 0,29 2,124-5,-12-1,-78 5,-1-3,111-13,-163 4,-18 2</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28.742"/>
    </inkml:context>
    <inkml:brush xml:id="br0">
      <inkml:brushProperty name="width" value="0.05" units="cm"/>
      <inkml:brushProperty name="height" value="0.05" units="cm"/>
      <inkml:brushProperty name="ignorePressure" value="1"/>
    </inkml:brush>
  </inkml:definitions>
  <inkml:trace contextRef="#ctx0" brushRef="#br0">11 0,'-2'2,"1"1,0-1,0 0,0 1,0-1,0 1,0-1,1 1,-1-1,1 1,0 0,-1-1,1 1,0-1,1 1,-1 0,0-1,1 1,1 3,18 54,-18-54,34 73,87 141,-4-11,-101-172,-2 1,-1 1,18 75,-24-70,-2 0,-2 0,-2 1,-2 0,-1-1,-3 1,-2 0,-1-1,-3 0,-1-1,-2 0,-2 0,-26 51,16-43,-2-1,-2-2,-3-1,-1-1,-54 57,69-85</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39.138"/>
    </inkml:context>
    <inkml:brush xml:id="br0">
      <inkml:brushProperty name="width" value="0.05" units="cm"/>
      <inkml:brushProperty name="height" value="0.05" units="cm"/>
      <inkml:brushProperty name="ignorePressure" value="1"/>
    </inkml:brush>
  </inkml:definitions>
  <inkml:trace contextRef="#ctx0" brushRef="#br0">31 0,'1'53,"0"-19,-1-1,-2 0,-9 56,-9 17,20-106,0-1,0 1,0 0,0 0,0 0,0 0,0 0,0 0,1 0,-1 0,0 0,0 0,0 0,0 0,0 0,0 0,0 0,0 0,0 0,0 0,0 0,0 0,0 0,1 0,-1 0,0 0,0 0,0 0,0 0,0 0,0 0,0 0,0 0,0 0,0 0,0 0,0 0,0 0,0 0,1 0,-1 0,0 0,0 0,0 1,0-1,0 0,0 0,0 0,9-13,15-28,-16 27,-1 3,2-5,0 0,2 1,0 0,15-15,-25 28,1 0,0 0,0 0,0 0,0 0,0 1,0-1,0 1,1-1,-1 1,0 0,1 0,-1 0,1 0,0 1,-1-1,1 1,-1-1,1 1,0 0,-1 0,1 0,0 0,-1 0,1 1,0-1,-1 1,1 0,-1 0,1 0,-1 0,1 0,-1 1,0-1,0 0,0 1,3 2,0 2,-1 0,0 0,0 1,-1-1,1 1,-1 0,-1 0,1 0,-1 0,-1 0,1 0,-1 1,0-1,-1 1,0 9,0-6,1 1,1-1,0 0,0 0,7 17,-3-14</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4.866"/>
    </inkml:context>
    <inkml:brush xml:id="br0">
      <inkml:brushProperty name="width" value="0.05" units="cm"/>
      <inkml:brushProperty name="height" value="0.05" units="cm"/>
      <inkml:brushProperty name="ignorePressure" value="1"/>
    </inkml:brush>
  </inkml:definitions>
  <inkml:trace contextRef="#ctx0" brushRef="#br0">1 426,'10'-132,"0"-4,-12 100,1 27,0-1,0 0,1 0,0 0,1 1,0-1,1 0,0 1,4-12,-3 22,1 10,0 12,-3 0,1 0,1 0,1 0,7 23,-10-42,1 1,-1-1,1 1,0-1,0 0,0 0,0 0,1 0,0 0,-1 0,2-1,-1 1,0-1,1 0,-1 0,1 0,0 0,0-1,0 0,0 0,1 0,-1 0,0 0,1-1,-1 0,9 1,-8-2,0 0,0-1,0 1,0-1,-1-1,1 1,0-1,0 1,-1-1,1-1,-1 1,1-1,-1 1,0-1,0 0,-1-1,1 1,0-1,-1 1,0-1,0 0,0-1,-1 1,1 0,-1-1,2-5,2-3,-1-1,0 0,-1 0,0 0,-2-1,1 1,-1-26,-1-13,0 49,-2 14,0 11,0 7,0 0,2 0,8 44,-9-66,2 0,-1 1,1-1,-1 0,2-1,-1 1,1 0,0-1,0 1,0-1,1 0,0 0,0 0,0 0,0-1,1 0,0 0,0 0,0 0,0-1,1 0,8 4,1-2</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5.766"/>
    </inkml:context>
    <inkml:brush xml:id="br0">
      <inkml:brushProperty name="width" value="0.05" units="cm"/>
      <inkml:brushProperty name="height" value="0.05" units="cm"/>
      <inkml:brushProperty name="ignorePressure" value="1"/>
    </inkml:brush>
  </inkml:definitions>
  <inkml:trace contextRef="#ctx0" brushRef="#br0">208 74,'-4'6,"0"0,-1-1,1 1,-1 0,0-1,0 0,-1-1,1 1,-1-1,0 0,0 0,-1-1,1 0,-1 0,-7 2,11-3,0-1,0 0,-1 0,1 0,-1 0,1-1,0 0,-1 1,1-1,-1 0,1-1,-1 1,1-1,-1 1,1-1,0 0,-1 0,1 0,0-1,0 1,0-1,0 0,0 0,0 0,0 0,1 0,-1-1,1 1,0-1,-1 0,1 0,-2-4,2 5,1-1,0 1,0-1,0 0,0 1,1-1,-1 0,1 0,-1 1,1-1,0 0,0 0,0 0,0 1,1-1,-1 0,1 0,0 1,0-1,0 0,0 1,0-1,0 1,1 0,-1-1,1 1,-1 0,1 0,0 0,0 0,0 0,0 0,1 0,-1 1,0-1,5-1,-1-1,1 1,0 0,-1 1,1-1,0 1,0 1,0-1,1 1,-1 0,0 1,0 0,1 0,7 1,33 6,0-2,75-3,-107-3</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6.713"/>
    </inkml:context>
    <inkml:brush xml:id="br0">
      <inkml:brushProperty name="width" value="0.025" units="cm"/>
      <inkml:brushProperty name="height" value="0.025" units="cm"/>
      <inkml:brushProperty name="ignorePressure" value="1"/>
    </inkml:brush>
  </inkml:definitions>
  <inkml:trace contextRef="#ctx0" brushRef="#br0">55 1,'47'0,"-41"0,-31 0,19 1,-1 0,1 0,-1 1,1-1,-1 2,1-1,-8 5,12-6,0 0,1-1,-1 1,1 1,-1-1,1 0,0 0,-1 0,1 1,0-1,0 1,0-1,0 1,-1 1,2-2,0 0,0 0,0 0,0 0,0 0,0 0,0 0,0 0,0 0,0 0,1 0,-1 0,0 0,1 0,-1 0,1 0,-1 0,1 0,0-1,-1 1,1 0,0 0,-1 0,1-1,0 1,0-1,1 2,38 16,-35-17,0 1,-1-1,1 1,0 0,-1 1,0-1,1 1,4 3,-9-5,1 1,0-1,0 0,-1 1,1-1,-1 0,1 1,-1-1,0 1,1-1,-1 1,0-1,0 0,0 1,0-1,0 1,0-1,-1 1,1-1,0 1,-1-1,1 0,-1 1,0-1,1 0,-1 1,0-1,0 0,0 0,0 0,0 1,0-1,-1 1,-1 2,0-1,0 1,-1-1,1 1,-1-1,0 0,0-1,0 1,0-1,0 1,0-1,-1-1,1 1,-1 0,1-1,-1 0,-5 0,-6 1</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5:46.310"/>
    </inkml:context>
    <inkml:brush xml:id="br0">
      <inkml:brushProperty name="width" value="0.05" units="cm"/>
      <inkml:brushProperty name="height" value="0.05" units="cm"/>
      <inkml:brushProperty name="ignorePressure" value="1"/>
    </inkml:brush>
  </inkml:definitions>
  <inkml:trace contextRef="#ctx0" brushRef="#br0">1 18,'0'-1,"1"0,0-1,-1 1,1 0,0 0,-1 0,1 1,0-1,0 0,0 0,0 0,0 1,0-1,0 0,0 1,0-1,0 1,1-1,-1 1,0 0,0-1,0 1,1 0,-1 0,0 0,0 0,1 0,1 0,37 1,-37-1,-1 1,1-1,0 1,-1-1,1 1,-1 0,1 0,-1 0,1 1,-1-1,0 0,0 1,1 0,-1-1,0 1,-1 0,1 0,0 0,0 0,-1 0,1 1,-1-1,0 0,0 1,0-1,0 1,0-1,0 1,-1 0,1-1,-1 1,0 0,0-1,0 1,0 3,-2 8,-1-1,0 0,-1-1,0 1,-10 19,10-22,4-9,-1-1,1 1,-1 0,1 0,0 0,-1 0,1 0,0 0,0 0,0-1,-1 1,1 0,0 0,0 0,1 0,-1 0,0 0,0 0,0 0,1 0,-1 0,0 0,1-1,-1 1,0 0,1 0,0 0,-1-1,1 1,-1 0,1-1,0 1,1 1,0-1,1 0,0 0,1 1,-1-2,0 1,0 0,0-1,0 1,1-1,3 0,11-1,1-1,25-5,4-2,-29 6</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16.158"/>
    </inkml:context>
    <inkml:brush xml:id="br0">
      <inkml:brushProperty name="width" value="0.05" units="cm"/>
      <inkml:brushProperty name="height" value="0.05" units="cm"/>
      <inkml:brushProperty name="ignorePressure" value="1"/>
    </inkml:brush>
  </inkml:definitions>
  <inkml:trace contextRef="#ctx0" brushRef="#br0">0 42,'3'-4,"2"-3,2-2,1-2,-1 1</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12T10:06:45.247"/>
    </inkml:context>
    <inkml:brush xml:id="br0">
      <inkml:brushProperty name="width" value="0.05" units="cm"/>
      <inkml:brushProperty name="height" value="0.05" units="cm"/>
      <inkml:brushProperty name="ignorePressure" value="1"/>
    </inkml:brush>
  </inkml:definitions>
  <inkml:trace contextRef="#ctx0" brushRef="#br0">1 0,'0'0</inkml:trace>
</inkml:ink>
</file>

<file path=ppt/ink/ink18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01:40.715"/>
    </inkml:context>
    <inkml:brush xml:id="br0">
      <inkml:brushProperty name="width" value="0.05292" units="cm"/>
      <inkml:brushProperty name="height" value="0.05292" units="cm"/>
      <inkml:brushProperty name="color" value="#0070C0"/>
    </inkml:brush>
  </inkml:definitions>
  <inkml:trace contextRef="#ctx0" brushRef="#br0">2355 3731 0,'0'13'46,"13"-13"-30,80 0 0,65 0-16,332 0 15,-93 0 1,105 0 0,107 0-16,-106 0 0,79 0 15,-119 0-15,-172 0 16,-119 0-16,-66 0 15,-53 0-15,-40 0 16</inkml:trace>
  <inkml:trace contextRef="#ctx0" brushRef="#br0" timeOffset="1374.74">16272 3863 0,'92'0'78,"67"0"-62,79 0-16,120 0 0,38 0 16,213 0-16,79-27 15,0 14-15,66 13 16,-146 0-16,-145 0 16,-185-66-16,-53 66 15,-119-13-15,-93 13 16</inkml:trace>
  <inkml:trace contextRef="#ctx0" brushRef="#br0" timeOffset="5094.09">344 6866 0,'0'-27'140,"0"-12"-109,0 26-31,0-27 0,0 27 16,0-27-16,0 14 0,13 12 16,-13 1-16,0 0 0,0-14 15,0 14-15,0 0 16,0 0-16,0 39 31,13 1-15,-13-14-16,14-13 15,-14 13-15,13 0 0,0 1 16,0-1-16,1-13 0,-1 13 16,0-13-16,0 0 15,0-13-15,1 13 0,-1-13 16,0-14-16,0 1 16,1-1-16,-14 14 0,13 13 15,-13-13-15,13-1 16,0 14-1,1 14-15,-1 12 16,0-13 0,0 14-16,0-14 15,-13 0-15,14 1 16,-1-1-16,0 0 16</inkml:trace>
  <inkml:trace contextRef="#ctx0" brushRef="#br0" timeOffset="5722.09">1111 6522 0,'27'13'15,"-54"14"1,27-14-16,0 0 0,-13-13 16,0 13-16,13 1 15,-27-1-15,14-13 16,0 13-16,0-13 15,-1 0 1,-12-13-16,26 0 0,-13-1 16,13 1-16,0-13 15,13 12 1,-13 1-16,13 0 16,0 13-16,1-13 0,-1 13 15,0 0-15,27-13 0,-14-1 16,27 1-1,-26 0-15,-1 13 16,1-13-16,-14 13 16,0-14-16,0 14 0,0 0 0,1-13 15,-14 0 1,13 13-16,-13-13 16,13 13-16</inkml:trace>
  <inkml:trace contextRef="#ctx0" brushRef="#br0" timeOffset="6112.81">1230 6204 0,'27'-26'16,"-14"26"0,0 0-16,0 0 0,1 0 15,-14 13-15,13 0 16,-13 1-16,0-1 0,0 0 15,13 14-15,-13-1 16,0-13 0,0 1-1,13-14-15,1 0 16,-1 0-16,0 0 16,-13-14-16,27 14 0,-14-13 15,0 13-15,0 0 0</inkml:trace>
  <inkml:trace contextRef="#ctx0" brushRef="#br0" timeOffset="9552.95">22238 5464 0,'-13'-14'16,"0"14"-1,39-13 17,27 26-17,-40-26-15,14 13 0,-1 0 16,-12 0-16,12 0 15,0 0-15,27 0 0,-39 0 0,25 0 16,-26 0-16,14-13 16,-14 13-16,0 13 15</inkml:trace>
  <inkml:trace contextRef="#ctx0" brushRef="#br0" timeOffset="9980.04">22185 5543 0,'53'-13'15,"-26"13"-15,-1 0 16,-13 0-16,27-13 0,-13 13 15,-14 0-15,13 0 0,-13 0 16,27 0-16,-27 0 0,1 0 16,-1 0-16,0 0 0,13 0 15,-26-14-15,14 28 16,-1-28 0,0 28-16</inkml:trace>
  <inkml:trace contextRef="#ctx0" brushRef="#br0" timeOffset="11476.7">23297 4524 0,'-40'0'0,"0"53"16,14-13-16,-14 13 0,14 13 15,-14 13-15,0 27 0,14-13 16,-1 13-16,-12 0 0,12 92 16,14-105-16,13-14 0,0 0 15,0 1-15,0-14 0,26 66 16,-12-66-16,12 14 0,1-41 16,-14-12-16,0-1 0,13-13 15,-12-13-15</inkml:trace>
  <inkml:trace contextRef="#ctx0" brushRef="#br0" timeOffset="12231.06">24064 4538 0,'40'145'0,"-27"-39"16,-13-40-16,0 13 16,0 1-16,0-1 0,-13 1 15,-1 105-15,1-106 0,-27 80 16,14-93-16,-14 80 16,1-41-16,12-52 15,14 0-15,0-26 0</inkml:trace>
  <inkml:trace contextRef="#ctx0" brushRef="#br0" timeOffset="15284.96">23812 5450 0,'-13'-26'16,"13"13"-16,-13 0 16,13-1-16,-13 14 0,0 0 15,-1-13-15,1 0 16,0 13-16,0 0 0,-1 0 0,1-13 16,-13 13-16,13 0 0,-14 0 15,14 13-15,0-13 0,-14 0 16,14 13-16,-14 0 0,1 1 15,-14 12-15,14-13 0,-1 14 0,1-1 16,-1 1-16,14-1 16,0 0-16,-27 27 0,27-26 15,0 13-15,0-14 0,-1 40 16,1-26-16,13-14 0,0 1 16,0 39-16,0-40 0,13 40 15,1-39-15,-1 13 0,13-14 16,-12 1-16,25 12 15,1 1-15,0-14 16,-14-12-16,14-1 0,-14-13 16,1 0-16,-1 0 0,1 0 15,-1 0-15,14 0 0,-14-13 16,14-1-16,-14 14 0,14-13 0,-14 0 16,1 0-16,-14-1 0,14 1 0,-14 0 15,27-13-15,-27 12 16,13-25-16,1-1 15,-27 27-15,13-14 0,0 14 16,-13-13-16,0-1 0,13 14 16,-13-27-16,0 14 0,0-1 0,0 14 15,0-13-15,0-1 16,-13-13-16,13 14 0,0 0 16,-13-1-16,-14-26 0,27 27 15,-13 12-15,0-12 0,0 0 16,-27-27-16,27 39 0,0 1 15,-54-13-15,54 13 16,-13 13-16,-1 0 16</inkml:trace>
  <inkml:trace contextRef="#ctx0" brushRef="#br0" timeOffset="19335.93">23746 6310 0,'0'-13'0,"0"40"32,0 12-17,-13-12-15,13-14 0,0 13 0,0 1 16,-13-14-16,13 40 15,-13-40-15,13 14 0,0-14 0,-14 0 16,14 14-16,-13-14 0,13 0 16,0 0-16,-13 1 0,13-1 15,0 0-15,-13-13 0</inkml:trace>
  <inkml:trace contextRef="#ctx0" brushRef="#br0" timeOffset="19856.29">23799 6337 0,'-13'-13'15,"0"13"-15,13 13 0,-13 0 0,-1-13 16,1 13-16,0 0 0,-14 14 16,14-14-16,-13 14 0,13-14 15,-1 0-15,1 14 0,0-14 0,-14 13 16,14-13-16,0 1 0,0 12 15,-1-13 1,41-39 0,-1-1-1,-12 14-15,25-40 16,-25 40-16,-1 0 0,13 0 16,-13-1-16,-13 1 0,14 0 15,-1 13-15,0-13 0,0 13 16,1 0-1,-1 13 1,0 0-16,-13 0 0,26 14 31,-26-14-31,14-13 0,-1 13 16,0 1 0,0-14-16</inkml:trace>
  <inkml:trace contextRef="#ctx0" brushRef="#br0" timeOffset="22424.08">16470 3757 0,'159'-13'15,"-53"13"-15,39-13 16,-52-1-16,-14 14 0,1 0 0,92-13 16,-80 13-1,1 0-15,-14 0 0,93 13 0,-26-13 16,-27 0-16,-13 14 15,-53-14-15,-27 0 16,14 13-16,-14-13 0,-13 0 16,14 0-16,-14 0 0</inkml:trace>
  <inkml:trace contextRef="#ctx0" brushRef="#br0" timeOffset="23961.75">24051 6046 0,'13'0'31,"0"0"1</inkml:trace>
  <inkml:trace contextRef="#ctx0" brushRef="#br0" timeOffset="24150.98">24117 6099 0,'0'13'16</inkml:trace>
  <inkml:trace contextRef="#ctx0" brushRef="#br0" timeOffset="24311.91">24170 6125 0</inkml:trace>
  <inkml:trace contextRef="#ctx0" brushRef="#br0" timeOffset="26223.96">1852 1627 0,'40'-13'0,"-14"13"0,1-13 16,26 0-16,66-14 16,26 1-16,-65 12 0,12 1 15,120-13-15,-93 12 16,132-12-16,-118 13 0,-1 0 15,0-1-15,0 1 0,1 13 16,-14-13-16,-13 0 0,-14 13 0,1-14 16,-1 14-16,1 0 0,-14-13 15,67 13-15,-93 0 16,0 0-16,-14 0 0,-12 0 0,-14 0 0,14 0 16,-1 13-16</inkml:trace>
  <inkml:trace contextRef="#ctx0" brushRef="#br0" timeOffset="26591.55">2355 1879 0,'145'-53'16,"-79"39"-16,14-12 0,-1 13 15,40-14-15,0 1 0,0-1 16,14 14-16,144-27 0,-118 14 16,-13 13-16,-1 0 0,1-14 0,145 14 15,-27-14-15,-131 27 16,-41-13-16,1 13 0,0 0 0,-14-13 15,-13 13-15,-13 0 0,0 0 16,-13-13-16,-14 13 0,1 0 16,-14 0-16,13 0 0,-13 0 0,1 0 0,-1 0 15,0 0 1,0 0-16</inkml:trace>
  <inkml:trace contextRef="#ctx0" brushRef="#br0" timeOffset="32069.83">22106 12250 0,'13'13'47,"14"1"-32,-27-1 1,13-13-16,0 13 0,0-13 16,1 13-16,-1-13 15,0 14-15,0-14 0,0 0 0,27 13 16,-27-13-16,27 13 16,-13-13-16,-14 0 15,26 0-15,-25 0 0,12 0 0,-13 0 16,1 0-16,12 0 15,-13 0-15,14 0 0,-14 0 0,0 0 16,27 0-16,-27 0 0,14 0 16,-14-13-16,0 13 0,0 0 0,14 0 15,-14 0-15,0 0 0,0-13 0,1 13 16,-1 0-16,0 0 16,0-14-16,1 14 0,-1-13 0,0 13 15,0-13-15,0 0 0,1 13 16,-14-14-16,13 14 15,-13-13-15,13 13 0,-13-13 0,0 0 16,13 13-16,-13-13 0,0-1 16,0 1-16,0 0 15,0 0-15,14-1 0,-14 1 16,0 0-16,0 0 0,0-1 16,0 1-16,-14 0 15,14 0-15,0 0 0,0-1 0,0 1 16,-13 0-16,13 0 15,0-1-15,-13 1 0,13 0 16,0 0-16,-13-1 0,13 1 0,-14 0 16,14 0-16,-13 0 15,13-1-15,-13 1 0,0 0 16,0 0-16,-1-1 16,1 1-16,0 13 15,13-13-15,-27 0 0,1 0 16,26-1-1,-13 14-15,-1-13 0,1 13 16,0-13-16,0 13 0,0-13 16,-1 13-16,-12-14 15,13 1 1,-1 13-16,1 0 0,13-13 16,-13 13-16,0 0 15,-14-13-15,14 13 16,0-14-16,0 14 15,-1 0-15,1 0 16,0 0-16,0 0 0,13-13 16,-27 13-16,1 0 15,13 0-15,-1-13 16,1 13-16,0 0 0,0 0 16,-1 0-16,1 0 15,0 0-15,0 0 16,-1 0-16,1 0 15,0 0-15,0 13 16,0-13-16,-1 0 0,1 0 16,13 13-16,-13-13 0,0 0 0,-1 0 15,1 14-15,0-14 16,0 0-16,-1 13 0,1-13 16,0 13-1,0-13-15,0 0 0,13 13 16,-14-13-16,1 14 0,0-14 15,0 26-15,-1-26 16,14 13-16,-13-13 0,13 14 16,-13-1-16,0 0 15,0 0-15,13 0 0,-14 1 0,14-1 16,-13 0 0,13 0-16,-13 14 15,13-14-15,0 0 16,0 0-16,0 1 15,0-1-15,0 0 0,0 0 0,0 1 16,0-1-16,0 0 0,0 0 16,13 14-16,-13-14 0,13 0 15,1 27-15,-1-27 16,0 0-16,-13 1 0,13-1 16,27 13-16,-27-12 0,14-1 15,-1 0-15,40 13 0,-39-12 16,12-1-16,27 13 15,-39-26-15,-1 0 0,1 14 0,-1-14 16,14 0-16,0 13 16,-27-13-16,0 0 15,14 0-15,-14-13 0,0 13 0,0 0 16</inkml:trace>
  <inkml:trace contextRef="#ctx0" brushRef="#br0" timeOffset="34050.04">24183 12065 0,'13'13'0,"0"-13"16,-39 0 30,-1 0-46,-12 0 0,-27 0 16,13 0-16,0 13 16,0-13-16,0 0 0,0 0 15,0 0-15,0 14 0,0-14 0,0 0 16,0 13-16,1-13 0,-1 0 16,-40 13-16,53-13 15,1 0-15,12 13 0,1-13 0,13 0 16,-27 0-16,27 0 0,-1 14 15,1-14 1,0 0-16</inkml:trace>
  <inkml:trace contextRef="#ctx0" brushRef="#br0" timeOffset="34499.14">23363 11986 0,'-80'26'15,"67"-26"-15,-13 13 0,12 1 16,-25-1-16,12 0 0,14 0 16,-27 14-16,27-14 15,0 0-15,0 0 0,-1 14 16,1-1-16,13-12 15,13 12-15,1-13 16,-1 0-16,0 1 0,14-1 16,12 0-16,-12 0 0,-1 1 0,-13-14 15,14 13-15,13-13 16,-27 13-16,0-13 0,13 0 16,-12 13-16,-1-13 0,0 0 15,0 0-15,1 13 0,-1-13 16</inkml:trace>
  <inkml:trace contextRef="#ctx0" brushRef="#br0" timeOffset="37534.85">11033 437 0,'0'39'0,"0"-12"0,0 12 0,0 14 15,0 0-15,0 93 0,0-54 0,0-26 16,0 54-16,-13-1 16,13-14-16,-13 134 0,-1-120 0,14-14 15,-13 1-15,-13 106 16,13-133-16,-1 14 0,1-14 0,13 1 16,-13-14-16,-14 79 15,14-26-15,0-66 0,0-13 16,13 0-16,-14 13 15,1-27-15,0-26 16,0 0 0</inkml:trace>
  <inkml:trace contextRef="#ctx0" brushRef="#br0" timeOffset="37931.81">10094 2328 0,'225'-13'0,"-146"13"16,106 13-16,-79-13 15,463 14 1,-410-14-16,172 13 16,-146-13-16,13 13 0,1-13 0,25 0 15,266 13-15,66 0 16,-292 1-16,1-1 0,-1 0 16,265 14-16,1 12 15,-332-25-15,67 12 0,-67-13 16,1 0-16,52 14 0,119 13 15,-198-27-15,0 13 0,0-12 16,-13-1-16,-13 0 0,131 13 16,-184-26-16,66 0 0,-93-13 15</inkml:trace>
  <inkml:trace contextRef="#ctx0" brushRef="#br0" timeOffset="39111.79">11112 344 0,'0'-212'16,"0"186"0,0 13-16,0-27 0,0 13 15,0 14-15</inkml:trace>
  <inkml:trace contextRef="#ctx0" brushRef="#br0" timeOffset="40052.47">11139 370 0,'26'-185'16,"-26"146"0,0 25-16,0 1 15</inkml:trace>
  <inkml:trace contextRef="#ctx0" brushRef="#br0" timeOffset="40217.69">11020 106 0,'-40'53'0</inkml:trace>
  <inkml:trace contextRef="#ctx0" brushRef="#br0" timeOffset="44961.29">11020 2262 0,'13'-13'15,"0"13"-15,1-13 16,12-14-1,-26 14-15,13 0 16,0 0-16,1-1 0,-1 14 16,-13-13-16,26-13 0,1-14 15,-14 27-15,0 0 16,-13-1-16,27-25 0,-14 25 16,0 1-16,0-13 0,1-14 15,-1 27-15,13-14 16,1-26-16,-14 40 15,-13 0-15,13 0 0,1-14 16,-1 1-16,13-1 16,-26 14-16,0 0 15,27-14-15,-14 1 16,0 0 0,0 12-16,1 1 0,-14 0 15,0 0-15,13-1 16,0 1-16,-13 0 0,13 13 15,1-27-15,-14 14 16,13 0 0,-13 0-16,13 0 0,-13-1 15,13 14-15,-13-13 16,13 0-16,-13 0 16,14 13-16,-14-14 0,13 1 15,0 0 1,0-14-1,1 27 1,-1-13-16,13 0 16,-12 0-16,-1 0 15,0-1 1,0 14-16,0 0 0,1-13 16,-1 0-1,0 13-15,0-13 16,1 13-16,-1 0 0,-13-14 15,13 14-15,0 0 0,0-13 16,1 13-16,-1 0 16,0-13-16,0 13 15,1 0 1,-1-13-16,0 13 16,0 0-1,1 0-15,-14-14 16,13 14-16,0 0 15,0 0 1,14 0-16,-14-13 16,0 13-16,0 0 15,1 0 1,-1 0-16,0 0 16,0 0-1,1 0 1,-1 0 15,0 0-15,0 0 15,0 0 78,1 0-77,-1 13-1,0-13 0,-13 14-15,13-14-16,1 13 31,-1-13 0,-13 13-15,13 0 15,0-13 0,-13 14-15,13-1 0,1-13-1,-14 13 1,13-13-1,-13 13-15,13 1 32,-13-1-17,13-13 1,-13 13 0,14 0 15,-14 0-16,13-13 1,-13 14 0,13-1-16,-13 0 31,13 0-15,1 1-1,-14-1 1,13 0-1,-13 0 1,13-13 0,-13 14-16,13-1 15,-13 0 1,0 0 15,13-13-31,-13 13 16,0 1-16,14-1 15,-14 0 1,0 0 0,13 1-1,-13-1 1,13 0-16,-13 0 16,13-13-16,-13 14 15,0-1 1,14-13-16,-14 13 15,13 0 1,-13 0 0,13-13-1,-13 14-15,13-1 16,-13 0-16,14-13 16,-14 13-16,13 1 15,-13-1 1,13-13-16,-13 13 15,13 0-15,-13 0 16,13-13 0,-13 14-16,14-1 15,-1 0 17,-13 0-17,13 1-15,0-14 0,1 26 16,-1-13-1,0 1 1,0-14-16,1 13 16,-1 0-1,0-13 1,0 13-16,0-13 16,-13 13-16,14-13 0,-1 0 15,-13 14-15,13-14 0,0 0 16,1 13-16,-1 0 15,0-13-15,0 0 16,1 13-16,12 1 16,-13-1-1,14 0 1,-14-13-16,-13 13 0,13-13 16,-13 14-16,13-14 0,1 13 15,-1-13-15,-13 13 0,13-13 16,-13 13-16,13-13 0,0 13 15,1 1-15,-1-1 16,0-13-16,0 0 0,-13 13 0,14-13 16,-1 0-1,0 13-15,0-13 0,1 0 16,-1 0-16</inkml:trace>
  <inkml:trace contextRef="#ctx0" brushRef="#br0" timeOffset="46070.94">13282 2143 0,'0'13'0,"13"-13"16,-13 14-16,14-14 15,-1 0-15,13 13 16,-13 0-16,1-13 16,12 0-16,-13 0 15,1 0-15,12 0 0,-13 0 0,1 0 16</inkml:trace>
  <inkml:trace contextRef="#ctx0" brushRef="#br0" timeOffset="46723.59">16444 648 0,'13'133'16,"-26"-1"-16,0 13 15,-1-39-15,14 0 0,-13 0 16,0 92-16,13-105 0,0-1 15,-13-12-15,13 12 0,-14 133 16,14-159-16,-13 54 16,13-81-16,0 1 15,-13 13-15,13-27 0,0-12 16,0-1-16,0 0 0</inkml:trace>
  <inkml:trace contextRef="#ctx0" brushRef="#br0" timeOffset="47109.08">15518 2051 0,'291'0'16,"-212"0"-1,27-14-15,26 14 0,1 0 0,158 0 16,13 0-16,27 14 16,-1 12-16,-171-13 15,172 14-15,-172-14 16,-14 0-16,14 0 0,132 14 15,-40-14-15,-145 0 16,93 0-16,-120-13 0,14 0 16,39 14-16,-26-14 15,-40 0-15,-26 0 16,-27 0-16,0-14 16,-39 1-1,-1 13-15,-13-13 0</inkml:trace>
  <inkml:trace contextRef="#ctx0" brushRef="#br0" timeOffset="50425.47">16417 1931 0,'14'0'63,"12"0"-48,-13 0-15,1 0 16,-1 0-16,0 0 16,0 0-16,0 0 0,1 0 15,12-13 1,-13 13-16,1 0 0,-1 0 16,0 0-16,-13-13 0,13 13 15,1 0-15,-1-13 16,0 13-16,0-13 0,0 13 15,27-14 1,-13-12 0,-14 26-16,-13-13 0,13 13 15,0-14-15,1 1 16,12-13 0,-13 12-16,0 1 15,-13 0-15,14 13 0,-14-13 16,13 0-16,0-1 15,0 1-15,1 0 16,-14 0-16,13-1 16,0 1-16,0 0 15,-13 0-15,13 13 0,-13-13 0,14-1 16,-1 1-16,0 0 16,-13 0-16,13 13 0,-13-14 15,14 14-15,-14-13 0,13 13 16,0-13-16,-13 0 0,13 13 0,-13-14 15,14 14-15,-1-13 0,-13 0 0,13 13 16,-13-13-16,26 0 16,-26-1-16,14 1 0,-1 0 15,0 13-15,-13-13 0,13 13 16,-13-14-16,14 14 0,-14-13 0,13 0 16,0 13-16,-13-13 0,13 13 15,-13-14-15,14 14 0,-1-13 16,0 0-16,-13 0 15,13 13-15,-13-13 0,13 13 16,-13-14-16,14 1 16,-1 0-16,0 0 0,-13-1 15,13 14-15,-13-13 0,14 13 16,-14-13-16,13 13 0,-13-13 16,13 13-16,-13-14 0,13 14 15,0-13-15,1 0 16,-1 13-1,0-13-15,0 13 16,1 0 0,-1 0-1,0 0 1,0 13 0,1-13-16,-14 13 15,13 0-15,0-13 16,-13 14-1,13-14-15,-13 13 16,13-13-16,-13 13 16,14-13-1,-14 13-15,13 14 16,0-14 0,-13 0-1,13 1 1,-13-1-16,14 0 15,-14 0-15,0 0 16,13 1-16,-13-1 31,13 0-31,-13 0 16,13 1 0,-13-1-16,14-13 15,-14 13-15,13 0 16,-13 1-1,13-1 1,-13 0-16,13-13 16,0 13-1,1-13 17,-14 13-32,13-13 15,0 0 1,0 0-1,1 0 1,-1 0 0,0 0-1,0-13 1,1 13 0,-14-13-16,13 13 0,-13-13 15,13 13-15,-13-13 16,13 13-16,-13-14 15,13 1 1,1 0-16,-14 0 16,13-1-1,0 14 1,-13-13-16,13 13 16,1-13-1,-1 0 1,0-1 15,0 14-15,1 0 15,-1 0-15,13 14 15,-13-14-31,1 0 0,-1 13 15,0-13-15,0 13 16,1-13-16,-1 13 16,0-13-16,-13 14 15,13-14-15,0 13 0,1 0 0,-14 0 16,13-13-16,0 14 16,-13-1-16,13 0 0,1-13 0,-14 13 15,13 0-15,0 1 0,-13-1 0,13-13 16,-13 13-16,14 0 0,-1 1 15,-13-1-15,13-13 0,-13 13 0,26 27 16,-12-40 0,-14 13-16,13 0 0,0 0 0,0-13 15,-13 14-15,14-1 0,-14 0 0,13-13 16,0 13-16,0 1 0,-13-1 16,27 0-16,-14 0 0,0 0 15,0 1-15,-13-1 0,14 0 16,12 0-16,-13 1 0,1-1 15,25 13-15,-26-12 16,1-1-16,-1 0 0,13 0 0,-12 14 16,-1-14-16,40 13 0,-27-12 15,-13-1-15,14 0 0,-14 0 16,14 1-16,-14-1 0,13 0 0,14 13 16,0-12-16,-27-1 15,0-13-15,0 13 0,14 0 16,-14-13-16,14 14 15,-1-1-15,14 0 16,-27 0-16,13-13 0,-12 0 16,-1 0-16,13 0 0,-12 0 15</inkml:trace>
  <inkml:trace contextRef="#ctx0" brushRef="#br0" timeOffset="51313.89">21550 423 0,'0'-13'16,"14"40"-16,-14-14 0,13 13 15,0 1-15,-13 12 0,13 80 16,0-52-16,-13-1 0,0 13 16,14 0-16,-14 1 0,26 171 15,-26-158-15,13-14 16,-13 14-16,0-14 0,14 1 0,-14-1 16,0-13-16,0 0 0,0-13 15,0 0-15,0-13 0,0 13 16,-27 52-16,27-78 15,0-14-15,0 14 0,-13-14 0,13 0 16,0 0-16,0 1 16</inkml:trace>
  <inkml:trace contextRef="#ctx0" brushRef="#br0" timeOffset="51801.66">20770 1958 0,'66'13'0,"-26"-13"0,-1 0 0,80 0 15,-26 0-15,79 0 16,-79 0-16,12 0 16,557 13-1,-530-13-15,0 0 0,14 14 16,-14-14-16,1 13 0,-1 0 15,-13-13-15,106 27 0,-119-27 16,-14 13-16,93 0 16,-92 0-16,-14 0 0,1-13 15,65 14-15,-52-1 16,79 13 46,-159-26-62,67 0 16,-200-39 0</inkml:trace>
  <inkml:trace contextRef="#ctx0" brushRef="#br0" timeOffset="54713.87">21603 1971 0,'13'-13'203,"1"13"-156,-1-13-16,0 13-15,0 0-16,1 0 15,-1 0-15,40-14 32,-40 14-32,0 0 0,0 0 15,1 0-15,25-13 0,-12 13 16,-14 0-16,14 0 0,-14 0 0,13-13 15,-13 13-15,14 0 0,13 0 16,-27 0-16,26-13 16,-25 13-16,-1 0 0,0-13 15,0 13-15,14 0 0,-14 0 16,0-14-16,14 14 0,-1-13 16,-13 13-16,1-13 0,-1 13 15,0 0-15,14-13 16,-14 13-16,0-14 0,27 1 15,-27 13-15,0 0 0,0-13 0,1 13 0,-1 0 16,0-13-16,14 13 16,-14-14-16,13 1 0,-13 13 0,1-13 15,-1 13-15,0-13 16,0 13-16,1-13 0,-1-1 0,0 14 16,0-13-16,14 0 0,-27 0 15,13-1-15,0 14 0,0-13 16,1 13-16,-1-13 0,0 0 0,0 0 15,1 13-15,-1-14 0,0 1 16,0 13 0,1-26-16,-1 26 0,-13-14 15,13 14-15,0-13 0,-13 0 0,13 13 16,-13-13-16,14 13 0,-1-14 16,-13 1-16,13 13 0,-13-13 15,13 0-15,1 13 0,-14-13 16,13-1-16,0 14 15,-13-13-15,13 0 16,-13 0-16,14-1 0,-14 1 16,13 0-1,-13 0-15,13-1 0,0-12 16,0 13-16,-13 0 16,14 13-16,-14-14 0,0 1 15,13 0-15,0 0 0,-13-1 16,13 14-16,-13-13 0,14 0 15,-14 0-15,13-14 16,0 14-16,-13 0 16,13 0-16,-13-1 0,14 14 15,-14-13-15,13 0 0,0 0 16,0-1-16,0 1 16,1 0-16,-1 0 15,0 13-15,-13-14 16,13 14-16,1 0 0,-14-13 0,13 13 15,-13-13-15,13 13 0,0-13 16,0 13 0,1-13-16,-1-1 15,0 14 1,0 0 0,1 0-16,-1 0 15,-13 14 1,13-14-16,-13 13 15,13 0-15,-13 0 16,14 0-16,-14 1 16,0-1-16,0 0 15,13 0-15,-13 14 16,0-14-16,0 0 16,0 1-16,0-1 15,0 13-15,0-13 0,0 1 16,0 12-16,0-13 15,0 1-15,0 12 16,0-13-16,0 1 16,0-1-16,0 0 0,0 0 15,0 0-15,0 1 16,0-1-16,0 0 16,13 0-16,-13 1 15,0-1 1,13-13-16,-13 13 15,13-13-15,1 0 16,-1 0 0,0 0-16,0 0 0,1-13 15,-1 13-15,13-13 16,-12 13-16,-14-14 0,13 14 16,13-13-16,-13 13 15,1-13-15,12 0 0,-13 13 16,-13-14-1,14 14-15,-1 0 0,0 0 16,0 0 0,0 0-1,1 0-15,-14 14 0,13-14 16,0 13-16,0 0 16,1 0-16,-14 1 15,13-1-15,13 0 16,-26 0-16,14-13 0,-1 27 15,0-14-15,-13 0 16,13 14-16,14-1 16,-14-13-16,0 14 15,0-14-15,-13 0 16,14 1-16,-1 12 0,13 0 16,-12 14-16,12-27 0,-13 14 15,14 12-15,-1-12 0,-13-14 16,54 27-16,-15 0 15,41-1 1,-27-12-16,-39-14 16,52 0-1,27 14-15,-66-27 16,-27 0 0,13 0-16</inkml:trace>
  <inkml:trace contextRef="#ctx0" brushRef="#br0" timeOffset="57896.92">9578 5755 0,'106'0'16,"-27"-14"-16,-26 14 16,13-13-16,14 13 0,-14-13 15,119 0-15,-92 0 16,12 13-16,14-14 0,14 14 0,12 0 0,-12-13 15,-1 13-15,13 0 0,1 0 16,-1 0-16,14 0 0,-13 0 0,12 0 16,-12 0-16,13 0 0,-1 0 15,-12 13-15,-1-13 0,1 0 0,-14 0 16,1 14-16,-28-14 0,1 0 16,0 0-16,-13 0 0,-1 0 0,1 0 15,52 13-15,-78-13 0,-28 0 16,1 0-16,-14 13 0,1-13 15,13 0-15,-27 0 0,0 0 16,13 0-16,-12 0 16,-1 0-16,0 0 15,0 0-15,-13-13 63,0 0-48</inkml:trace>
  <inkml:trace contextRef="#ctx0" brushRef="#br0" timeOffset="58293.69">14076 5398 0,'13'26'0,"27"0"16,-27-26-16,53 27 16,-39-14-16,12 0 15,1 1-15,0-1 0,-1 0 0,1 0 16,-14 0-16,14 1 0,0-1 16,-27 0-16,27 14 0,-27-1 0,0-13 15,-13 1-15,-26 91 16,-1-65-16,-12 0 0,-1 13 15,-13 0-15,-26-1 0,-1 1 16,1 14-16,-14-28 0,14 14 16,-14-13-16,14 13 0</inkml:trace>
  <inkml:trace contextRef="#ctx0" brushRef="#br0" timeOffset="59255.88">9710 4247 0,'27'-14'15,"-14"28"1,0 25-16,0 1 15,1 0-15,-14 26 0,13 0 0,0 0 16,-13 0-16,13 14 0,-13-14 16,13 13-16,-13-13 0,14 0 0,-1 1 15,-13-1-15,13 0 0,-13-26 16,13-1-16,1 1 0,-14 0 0,13-14 16,-13 1-16,0-14 0,13 0 15,-13 0-15,0 0 0,13 1 16</inkml:trace>
  <inkml:trace contextRef="#ctx0" brushRef="#br0" timeOffset="59549.07">9234 5106 0,'132'-26'0,"-79"13"0,13 0 16,14 13-16,12-14 0,1 1 0,13 0 0,13 0 15,145-1 1,-131 1-16,-1 0 0,0 0 0,1-1 16,-1 1-16,0 13 0,-39-13 0,13 13 15,-14-13-15,93 13 16,-26-13-16,-106 13 0,0 0 15,-13 0-15,-14 0 0,-13 0 16,1 0-16,-1 0 0</inkml:trace>
  <inkml:trace contextRef="#ctx0" brushRef="#br0" timeOffset="60440.86">9909 4961 0,'13'-27'16,"0"-12"-1,0 26-15,-13-1 0,14 1 16,-14 0-16,13-14 0,0 1 15,13-67-15,-26 54 16,27-41-16,-14 54 16,-13-14-16,13 14 0,1 12 0,-14 1 15,13-13-15,0 13 0,0-14 16,-13 14-16,14 0 0,-1-1 16,0 14-1,-13-13-15,13 13 16,0 13-16,1 1 15,-14-1 1,13 0-16,0 0 0,-13 1 16,13-1-16,14 26 15,-27-25-15,13-1 0,0 0 16,1-13-16,-1 13 0,0 1 16,0-14-16,0 0 0,1 0 15,12 0-15,-13-14 16,1 14-16,-1-13 0,0 13 15,0-13-15,1 0 16,-1 13-16,0-14 16,0 14-16,-13-13 15,13 13-15,1 0 16,-1 13-16,0-13 16,0 14-16,1-14 0,-1 13 15,0-13-15,0 13 0,0-13 0,1 13 16,25 1-16,-12-1 15,-1 0-15,14-13 0,0 13 16,-14-13 0,14 0-16,-14 0 0,-12 0 0,12 0 15,-13 14-15</inkml:trace>
  <inkml:trace contextRef="#ctx0" brushRef="#br0" timeOffset="60889.02">12502 4299 0,'0'80'16,"13"-1"-16,-13-39 0,0 13 15,0 0-15,0 0 0,0 0 16,13 13-16,-13-27 0,0 67 16,0-66-16,13 0 0,-13-1 0,0-12 15,13 26-15,-13-40 16,0 0-16,14 0 0,-14 1 0</inkml:trace>
  <inkml:trace contextRef="#ctx0" brushRef="#br0" timeOffset="61156.76">11959 5001 0,'291'-53'16,"-211"39"-16,12 1 0,-12 13 15,12-13-15,93-13 16,-66 12-16,93-12 0,-27-1 16,-105 14-16,78 13 15,-39-13-15,-79 13 16,26 0-16,-26 0 15,-27 0-15</inkml:trace>
  <inkml:trace contextRef="#ctx0" brushRef="#br0" timeOffset="61805.32">12435 4934 0,'27'-66'0,"-1"0"16,-12 40-16,-1-1 16,26-52-16,-25 52 0,-1-12 15,27-27-15,-14 39 16,-13 14-16,14-14 0,-27 14 15,13 0-15,0 0 0,0 13 16,14 13 0,-1 0-16,-12 0 15,-14 1-15,13-1 0,13 13 16,-12-12-16,-14-1 16,13-13-16,0 13 0,0 0 0,0 1 15,1-1-15,-1-13 16,0 0-16,0 0 0,1 0 15,-1-13-15,13-1 0,14-12 16,-27 13-16,0-1 16,1 14-16,12-13 15,-13 0-15,1 13 0,-1 0 16,0 13-16,0 0 16,0-13-16,1 27 15,-1-14-15,27 14 16,26-1-16,-40-13 0,1 0 15,-1 1-15,14-14 16,-14 0-16,27 0 0,0 0 0,-13-14 16,-1 14-16,-12-13 0,-1 0 15</inkml:trace>
  <inkml:trace contextRef="#ctx0" brushRef="#br0" timeOffset="62372.59">14420 4273 0,'0'53'15,"0"-40"-15,0 27 16,0 0-16,0 12 0,-27 134 16,14-94-16,0-39 15,13-13-15,-13 0 16,13-1-16,0-12 0,0-1 16,-14 1-16,14-1 0,0-13 0,0 14 15,0-14-15,0 0 16</inkml:trace>
  <inkml:trace contextRef="#ctx0" brushRef="#br0" timeOffset="62644.22">13930 4961 0,'119'-40'0,"-79"27"15,79-13-15,40 12 16,0-12-16,13 13 16,-80-1-16,80-12 15,-92 26-15,-1 0 0,0-13 16,-13 13-16,-13 0 0,0 0 0,-13-14 16,0 14-16,-14 0 0,1 0 15,12 0-15,-25 0 0,-1 0 16</inkml:trace>
  <inkml:trace contextRef="#ctx0" brushRef="#br0" timeOffset="63292.68">15293 4723 0,'0'-13'16,"0"-1"-16,0 1 16,0 0-16,0 0 0,0-14 15,0 14-15,0 0 0,0 0 16,0-14-16,-13 14 15,13-14-15,-14-12 16,-12 25-16,26 1 0,-26 0 16,12 13-1,1 0-15,0 0 0,0 0 0,-1 13 16,-25 0-16,25-13 0,1 14 16,-26-1-16,12 13 15,14-12-15,0-14 0,-1 13 16,-12 0-16,13 0 15,-1 1-15,1-14 0,0 13 16,0-13 0,0 0-16,-1 0 15,1 0-15,0-13 16,0 13-16,-1 0 0,1-14 16,0 14-16,0 0 15,-14 0-15,14 0 0,-13 0 16,-14 14-16,27-14 15,-1 13-15,-12-13 16,13 0-16,-14 13 0,14 0 16,0-13-16,0 0 0,-1 13 0,1 1 15,0-14-15,-14 26 16,14 14-16,0-27 16,0 0-16,0 27 0,-1-27 15,1 14-15,0-14 16,13 0-1</inkml:trace>
  <inkml:trace contextRef="#ctx0" brushRef="#br0" timeOffset="69139.96">5054 9472 0,'-27'-13'15,"14"13"1,53 0 15,-1 0-15,-26 13-16,14-13 16,-1 0-16,14 0 0,39 13 15,-39-13-15,13 0 16,0 14-16,-13-14 0,13 0 0,13 0 15,0 13-15,13-13 0,1 0 0,12 0 16,1 0-16,-1 13 0,94-13 16,-94 0-16,14 13 0,0-13 15,0 13-15,13-13 0,-13 0 0,-1 14 16,-12-14-16,13 0 0,-14 13 16,80-13-16,-79 0 15,0 0-15,-14 0 0,0 13 0,-26-13 16,14-13-16,-15 26 0,1-13 0,-13 0 15,-14 0-15,1-13 0,13 13 16,-1 0-16,-25 0 16,-1 0-16,0 0 0,13 0 15,-12 0 1,-1-13 15</inkml:trace>
  <inkml:trace contextRef="#ctx0" brushRef="#br0" timeOffset="70328.7">10649 9512 0,'14'13'0,"-1"-13"0,0 0 15,14 0-15,-14 0 0,27 13 16,-14-13-16,80 0 0,-53 0 15,26 13-15,-13-13 0,14 0 0,-14 0 16,13 0-16,80 0 16,-66 14-16,-1-14 0,-12 0 15,12 0-15,1 0 0,13 13 0,-14-13 16,14 0-16,0 13 0,92-13 16,-105 0-16,105 13 0,-105 1 15,-14-14-15,14 13 16,52 0-16,-78-13 0,-15 13 0,1-13 15,0 0-15,-26 14 0,-1-14 16,1 0-16,-1 0 0,-13 13 16,1-13-16,-1 0 0,0 0 15</inkml:trace>
  <inkml:trace contextRef="#ctx0" brushRef="#br0" timeOffset="72094.02">5384 10134 0,'40'0'0,"-27"0"16,0 13-16,14-13 0,-1 0 0,1 0 16,12 13-16,14-13 15,-13 0-15,66 13 0,-40 0 16,-13-13-16,13 0 0,80 14 16,-67-14-16,80 0 0,-80 0 15,1 0-15,12 0 0,-12-14 16,12 14-16,-13 0 0,107-13 15,-107 13-15,14 0 0,-14 0 16,0 0-16,54 0 0,-80-13 16,13 13-16,-13 0 0,-14 13 0,1-13 15,0 0-15,-27 0 16,13 0-16,-12 0 0,-1 0 0,0 0 0,0 0 16,1 0-16</inkml:trace>
  <inkml:trace contextRef="#ctx0" brushRef="#br0" timeOffset="75040.36">15121 10213 0,'40'0'0,"13"0"16,26 13-16,-39-13 0,13 13 16,-1-13-16,1 0 0,0 14 15,13-14-15,-13 0 0,0 0 0,13 0 16,-13 13-16,0-13 0,0 0 16,53 0-16,-80 0 15,-12 0-15,12 0 0,1 0 16,-14 13-16,0-13 15,-53 0 1,-39-13 0</inkml:trace>
  <inkml:trace contextRef="#ctx0" brushRef="#br0" timeOffset="76313.1">4524 10874 0,'106'14'15,"-66"-1"-15,-14-13 16,1 0-16,26 0 0,0 13 16,79-13-16,-53 0 15,1 0-15,12 0 0,-12-13 0,12 13 16,1 0-16,119-13 0,-80 13 15,0-14-15,0 14 0,1-13 16,-1 0-16,-13 13 0,27 0 0,-14-13 16,13-1-16,1 14 0,-1 0 15,451-13 1,-305 13-16,-132 0 16,-1 0-16,-12 0 0,13 0 0,-14 0 15,14 0-15,-14 0 0,1 0 0,-1 0 16,1 0-16,-1-13 0,-12 13 15,12 0-15,-12 0 0,-1 0 0,-26 0 16,26-13-16,-26 13 0,0 0 16,-1 0-16,1 0 0,79 0 15,-92 0-15,66 0 0,-93 0 16,0 0-16,-13 0 0,0 0 0,0 0 16,-13 13-16,-14-13 0,1 0 15,-1 0-15,0 0 0,-12 0 16,25 0-16,-25 0 0,-1 0 15,0 0-15,0 0 16,0 0 0</inkml:trace>
  <inkml:trace contextRef="#ctx0" brushRef="#br0" timeOffset="79864.03">8308 10861 0,'0'-13'15,"-13"39"17,13 27-17,0-26 1,-14-1-16,14 1 0,0 12 0,0 1 16,0 0-16,14-1 0,-14 1 15,0 0-15,26 52 0,-13-39 16,14 0-16,-1-13 0,14 0 15,0 13-15,-1-14 0,1 1 0,13 0 16,0-1-16,0 1 0,13-14 16,-13 14-16,13-13 0,13 12 0,-12-12 15,12-1-15,27 1 16,-27-1-16,0 1 0,27-14 0,-13 13 0,105 1 16,-105-14-16,13 0 15,-14-13-15,41 13 0,-27-13 0,-1 0 16,28-13-16,-1 13 0,-13 0 15,-13-13-15,26 13 0,-13-13 0,-13-1 16,132 1-16,-132 0 0,-13 0 16,26 0-16,-14 13 0,-12-14 15,0 1-15,26-13 0,-13 12 0,-14 1 16,-12-13-16,39 12 0,-40-12 16,0 0-16,1-1 0,26 1 0,-40-14 15,13 14-15,0-1 0,-12 1 16,65-41-16,-66 28 0,-13-1 15,13 0-15,-13 14 0,66-53 16,-79 39-16,13 0 0,0 0 16,0 1-16,-14 12 0,1-12 0,0-1 15,-1 13-15,1-12 0,0-1 16,-1 14-16,1-14 0,39-26 16,-39 26-16,0 0 0,52-52 15,-52 52-15,0 0 0,52-39 16,-52 39-16,39-52 15,-26 52-15,-13 0 0,0 1 16,-1-14-16,1 13 0,0 0 0,-1 1 16,14-14-16,-13 13 0,0-13 0,-1 14 15,14-14-15,-13 0 0,0 13 16,52-66-16,-39 53 16,-13 14-16,13-14 0,-13 13 0,-1 0 15,1 1-15,39-41 0,-39 41 16,-14 12-16,1 1 0,26-27 15,-27 26-15,-12 14 16,12-13-16,-13-1 0,14 1 0,-14 12 16,0-12-16,14 13 0,-14 0 0,13-27 15,-13 27-15,1-1 16,-1 1-16,0 0 16,-13 0-1,13 13-15,-13-14 0,14 14 16,-14-13-16,0 0 15,13 13-15,-13-13 0,0 0 16,13 13-16,-13-14 0,0 1 16,13 0-16,1 0 0,-14-1 15,13 1-15,0 0 16,-13 0-16,13-1 0,0 1 0,1 0 16,-14 0-16,26-14 15,-13 14-15,1 0 0,-14 0 0,13 13 16,0-14-16,-13 1 0,13 13 15,-13-13-15,14 13 0,-14-13 16,13-1-16,0 1 16,-13 0-1,-13 13 1,13-13-16,-13 13 16,-1 0-16,1 0 15</inkml:trace>
  <inkml:trace contextRef="#ctx0" brushRef="#br0" timeOffset="80180.92">16484 8506 0,'-80'27'31,"67"-14"-15,-27 0-16,14 0 0,-14 14 15,27-27-15,0 13 16,-1 0-16,1-13 0,-13 14 16,12-1-16,28-13 31,-1 0-31,13 0 0,-12 0 16,-1 0-16,13-13 0,1 13 0,-14 0 15,13 0-15,1 0 0,-14 0 0,14 0 16,12 0-16,1 0 15,-14 0-15,-12 13 0,12-13 16,-13 0-16,14 13 0,13-13 16,-27 13-16,0-13 0,13 0 15</inkml:trace>
  <inkml:trace contextRef="#ctx0" brushRef="#br0" timeOffset="117704.76">17873 6072 0,'-14'-13'16,"1"13"-16,0-13 0,0 13 15,-1 0-15,-12 0 16,-40 0-16,39 0 16,-12 0-16,-1 0 0,-13 0 0,0 0 15,13 0-15,1 0 0,-14 0 16,26 13-16,-12-13 0,12 0 0,1 0 15,-27 0-15,0 13 16,27-13-16,12 0 0,-12 0 16,13 0-16,-1 0 0,-25 0 15,12 0-15,14 0 0,-13-13 16,12 13-16</inkml:trace>
  <inkml:trace contextRef="#ctx0" brushRef="#br0" timeOffset="118088.93">17052 5940 0,'-132'26'0,"92"-12"16,14-1-16,0 0 16,12 0-16,-25 27 15,39-27 1,-14 0-16,14 1 0,14-1 15,-14 0-15,26 0 16,-26 1-16,13-14 16,14 13-16,-14-13 0,0 0 15,0 0-15,1 13 0,-1-13 0,13 13 16,-12-13-16,-1 13 16</inkml:trace>
  <inkml:trace contextRef="#ctx0" brushRef="#br0" timeOffset="118524.21">16828 6456 0,'0'-13'16,"-14"-1"0,1 14-16,0 0 0,-27 14 15,0-1-15,27 0 16,0-13-16,0 13 0,0-13 16,-1 14-16,1-1 15,26 0-15,-13 0 0,14 0 16,-1-13-16,0 14 15,0-1-15,0-13 0,1 0 16,12 13-16,-13 0 16,-13 1-16,0-1 15,-13 13 1,-13-12-16,-27 12 16,26 0-1,14-26-15,0 0 16,13-13-1,13-13-15,14 13 16</inkml:trace>
  <inkml:trace contextRef="#ctx0" brushRef="#br0" timeOffset="118803.77">16814 6562 0,'14'13'31,"-14"13"-31,0-12 16,0-1-16,13 0 15,-13 0-15,13 1 0,13-1 16,14-13-16,-27 0 16,1 0-16,12-13 0,0 13 15,27-27 1,-53 14-16,14-14 16,-28 14-16,1 0 15,0 0-15,-14-1 16,-25-12-16,25 26 15,14 0-15,0-13 16,-1 13 0,-52 53-16,159-133 0</inkml:trace>
  <inkml:trace contextRef="#ctx0" brushRef="#br0" timeOffset="119294.1">17793 6469 0,'172'0'15,"-145"0"1,12 0-16,14 0 0,-13 0 0,53 13 16,-27-13-16,-13 0 15,-27 0-15,1 0 16,12 0-16,-12 0 15,-14 0-15,0 0 0,0-13 16,1 13-16,-729 0 0,1443 0 16,-715-13-16</inkml:trace>
  <inkml:trace contextRef="#ctx0" brushRef="#br0" timeOffset="119561.82">18468 6350 0,'-13'-13'0,"26"26"15,27-13-15,-27 13 0,27 0 16,-1 14-16,1-1 16,-27-12-16,0-1 15,1 0-15,-1 0 0,-13 1 16,13 12-16,-13-13 0,0 0 0,-13 1 15,13-1-15,-13 0 0,-27 27 16,13-14 0,14-12-16,0-14 0,0 13 15,0 0-15</inkml:trace>
  <inkml:trace contextRef="#ctx0" brushRef="#br0" timeOffset="119995.61">18587 6932 0,'-40'13'31,"27"-13"-31,-13 14 16,-1-1 0,14 0-16,26 0 31,0 0-31,-13 1 15,14-14-15,12 13 0,-26 0 16,13-13-16,1 13 0,-1 1 16,-13-1-1,-13 0-15,-1 0 16,1-13-16,0 14 0,0-14 16,26-14 15</inkml:trace>
  <inkml:trace contextRef="#ctx0" brushRef="#br0" timeOffset="120276.9">18706 7025 0,'0'53'0,"13"-40"16,0-13-16,14 13 0,-1-13 15,1 0 1,-14 0-16,14 0 0,-14-13 0,0 13 16,0-13-16,0-27 15,-26 27 1,0-1 0,-27 1-16,14 13 15,13 0-15,-27 0 16,27 13-1,-1-13-15,1 0 16</inkml:trace>
  <inkml:trace contextRef="#ctx0" brushRef="#br0" timeOffset="120473.1">19182 6959 0,'14'26'15,"-28"-13"-15,1 14 16,0-14-16,0 13 16,-1 1-16,1-1 0,-13 1 15,12-1-15,1-13 16,0 1-16,13-1 16</inkml:trace>
  <inkml:trace contextRef="#ctx0" brushRef="#br0" timeOffset="120589.57">19063 7051 0,'-13'-40'15,"0"40"1</inkml:trace>
  <inkml:trace contextRef="#ctx0" brushRef="#br0" timeOffset="120718.11">19407 7157 0,'13'13'0</inkml:trace>
  <inkml:trace contextRef="#ctx0" brushRef="#br0" timeOffset="121385.8">17449 6403 0,'-26'40'16,"13"-1"-16,-1-25 15,1-1-15,0 13 0,-14 14 16,1 0-16,13-27 15</inkml:trace>
  <inkml:trace contextRef="#ctx0" brushRef="#br0" timeOffset="121520.11">17224 6522 0,'27'13'15</inkml:trace>
  <inkml:trace contextRef="#ctx0" brushRef="#br0" timeOffset="121654.06">17582 6694 0,'-14'13'16</inkml:trace>
  <inkml:trace contextRef="#ctx0" brushRef="#br0" timeOffset="124154.74">5768 4048 0,'0'-13'0,"0"39"31,0 1-31,-13 39 0,-1 13 16,1-26 0,0 66-16,0-66 0,13 13 15,-13-13-15,-1 0 0,14 0 0,-13 0 16,13 0-16,-13-13 0,13-1 15,-13 27-15,13-13 16,0-13-16</inkml:trace>
  <inkml:trace contextRef="#ctx0" brushRef="#br0" timeOffset="124522.05">5556 4815 0,'13'119'0,"-13"-105"15,0 12-15,0 1 0,0-1 0,0-13 16,14 14-16,-1-14 16,-13 0-16,13-13 0,0 0 0,1 0 15,12-13-15,1 0 0,25-14 16,-12-12-16,13 12 0,40-52 0,-54 39 15,14 14-15</inkml:trace>
  <inkml:trace contextRef="#ctx0" brushRef="#br0" timeOffset="135451.89">17886 4273 0,'53'-119'0,"-53"93"16,13-1-16,-13 1 0,13 12 15,-13-12-15,13-1 0,-13 14 16,0 0-16,0 0 16,0 39-1,0-13 1,-13 27-16,13-27 0,0 1 15,13 25-15,-13-25 16,14-1-16,-14 0 0,13 0 0,27 0 31,-27-13-31,0 0 0,14-26 16,-14 13-16,0 0 0,13-14 16,-12 27-16,-14-13 15,13 13-15,0 13 16,-13 0-16,0 1 15,0-1-15,13 0 0,-13 0 16,14 0-16,-14 1 0,26 12 16,-26-13-16,13 1 0,0-1 0,1 0 15,-1 0-15,0-13 0,0 13 16,1 1-16</inkml:trace>
  <inkml:trace contextRef="#ctx0" brushRef="#br0" timeOffset="136073.49">17899 5411 0,'40'0'15,"-27"0"1,40 0-16,0 0 0,132 0 16,-106 0-1,1-13-15,79 13 16,-67 0-16,-13-14 0,1 14 0,52 0 16,-79 0-16,0 0 15,-13 0-15,-14 0 0,1 0 0,-1 0 16,-13-13-16,1 13 0,-1 0 0,0 0 15,0 0-15,0 0 16,1 0-16,-1 0 16,-13-13-1</inkml:trace>
  <inkml:trace contextRef="#ctx0" brushRef="#br0" timeOffset="136402.7">19182 5212 0,'14'14'15,"12"-1"1,-13 0-16,0 0 0,14 0 16,-1 14-16,-12-27 15,-1 13-15,0 0 0,0 1 0,1-1 16,-1 13-16,-13-12 16,-13 12-1,-1-13-15,1 0 0,0-13 0,0 14 16,-1-1-16,-12 0 0,13 0 0,-14 1 15,14-14-15,0 13 16,-27 0-16</inkml:trace>
  <inkml:trace contextRef="#ctx0" brushRef="#br0" timeOffset="137688.79">17992 5437 0,'13'0'0,"13"0"0,1 0 16,-1 0-1,1 0-15,-14 0 0,13 0 16,1 0-16,26 0 16,13 0-16,-40 0 0,14 0 15,-13 0-15,12 0 0,27 13 16,14-13-16,-54 0 16,27 0-16,-13 0 0,26 0 15,0 0-15,-26 0 16,-14 0-16,14 0 0,26 0 15,-39 0-15,39-13 0,-27 26 16,-12-13-16,-1 0 0,-12 0 16,38 0-16,-25 0 0,-14 0 15,0 0-15,27 0 0,-27 0 16,14 0-16,-1 0 16,-13 0-16,1 0 15,-1 0 1,0 0-16,0 0 0,1-13 47,-14 0-32</inkml:trace>
  <inkml:trace contextRef="#ctx0" brushRef="#br0" timeOffset="138060.79">19248 5239 0,'14'26'0,"12"1"16,-13-14-16,14 0 15,-14 0-15,0-13 16,1 14-16,-1-14 0,-13 13 0,13-13 16,-13 13-16,13 0 0,-13 1 15,0 12 1,-13-13-16,0 0 15,0 1-15,-1-1 0,-25 13 0,25-12 16,-12-1-16,-14 26 16,27-25-16,-13-1 0,-1 27 15,14-27-15,0 0 0</inkml:trace>
  <inkml:trace contextRef="#ctx0" brushRef="#br0" timeOffset="145524.29">18772 5689 0,'-13'26'32,"0"-26"-32,13 13 15,-14-13-15,14 13 0,-13-13 0,13 14 16,-13-1-16,0-13 15,0 13-15,-1 0 0,-12-13 16,-1 14 0,14-14-1,0-14-15,0 14 0,0-13 16,-1 0-16,1 0 16,13-1-16,0 1 0,0 0 15,0 0-15,0 0 16,0-1-1,13 14-15,-13-13 0,14 0 0,12 0 16,0 13 0,-12-14-16,-1 14 0,0 0 15,53-13-15,-26 13 16,26 0-16,-39 0 16,25 0-16,1-13 15,0 13-15,0 0 16,-40 0-16,14-13 15,-1 13-15,-12 0 16,-1 0-16</inkml:trace>
  <inkml:trace contextRef="#ctx0" brushRef="#br0" timeOffset="158011.47">516 5133 0,'-13'-53'0,"13"40"16,0 0-16,0-1 0,-14 1 0,14 0 16,0 0-16,-13-1 15,13 1-15,0 0 16</inkml:trace>
  <inkml:trace contextRef="#ctx0" brushRef="#br0" timeOffset="159634.22">22476 4829 0,'14'-27'0,"-14"14"16,0 0-16,13-1 16,-13 1-16,0 0 0,0 0 0,13-53 15,-13 52 1,0-12-16,0-14 0,13 14 15,-13-1-15,0 1 16,0 13 0,0-1-16,0 1 15,0 0 1,0 0 0,0 39 452,-13-13-405,0-13-63,0 0 0,-1 0 15,-25 0-15</inkml:trace>
  <inkml:trace contextRef="#ctx0" brushRef="#br0" timeOffset="160736.88">1072 5741 0,'26'-26'0,"14"0"15,-1 12-15,-25 1 16,39-13-16,-14 12 16,-26 1-16,27 0 15,-27 13-15,1 0 0</inkml:trace>
  <inkml:trace contextRef="#ctx0" brushRef="#br0" timeOffset="160917.67">1098 5821 0,'0'13'15,"26"-26"1,-12 13-16,-1 0 0,0-13 15,14-1-15,-1 1 16,1 13-16,-1-13 0,-13 0 16</inkml:trace>
  <inkml:trace contextRef="#ctx0" brushRef="#br0" timeOffset="178244.83">18759 4313 0,'-27'0'47,"-12"0"-31,26 0-16,-1 0 0,1 0 16,0 0-16,0 13 0,-27-13 15,27 0-15,0 0 0,-14 0 16,14 0-16,0 0 0</inkml:trace>
  <inkml:trace contextRef="#ctx0" brushRef="#br0" timeOffset="178402.17">18481 4313 0,'-13'26'0,"26"-52"0,-26 65 0,13-25 16,0-1-16,13 0 0,0 0 15,1 1-15,-1-1 0,0 0 16,0-13-16</inkml:trace>
  <inkml:trace contextRef="#ctx0" brushRef="#br0" timeOffset="181340.63">15134 11483 0,'0'-13'0,"0"39"31,-13 1-15,13-14-1,0 0-15,0 0 0,-13 1 0,13-1 0,-14 0 16,14 13-16,-13-12 0,13-1 16,-13 0-16,13 0 0,-13 1 0,13-1 15,-13 0-15,13 0 16</inkml:trace>
  <inkml:trace contextRef="#ctx0" brushRef="#br0" timeOffset="181678.8">15227 11562 0,'-13'14'16,"-1"-1"-1,14 26 1,14-39-16,-1 27 0,0-14 15,0-13-15,0 0 16,1 0-16,-1 13 0,-13-26 0,13 13 16,0 0-16,1-13 0,-1 13 15,-13-13-15,0-1 16,13 1-16,-13 0 0,-13 13 16,13-13-16,0 0 0,-13 13 15,13-14-15,-14 14 0,1-13 16,0 13-16,0 0 31,-1 0-31,14 13 0,14-13 31</inkml:trace>
  <inkml:trace contextRef="#ctx0" brushRef="#br0" timeOffset="181915.24">15399 11615 0,'53'27'16,"-40"-27"0,0 0-1,0-14-15,-13 1 16,0 0-16,0 0 16,0 0-16,0-1 0,-13 1 15,13 0-15,0 0 16,-13-1-16,-14 28 15,27-1 1,-13 0-16,-13 14 16</inkml:trace>
  <inkml:trace contextRef="#ctx0" brushRef="#br0" timeOffset="182328.64">14962 12025 0,'40'-13'0,"-14"0"16,67-14-1,-27 14-15,-26 0 16,-14 0-16,27-1 15,0 1 1,-26 13-16,-27-13 0,13 13 0,0 0 16,0 0-16,-13 13 31,0 0-31</inkml:trace>
  <inkml:trace contextRef="#ctx0" brushRef="#br0" timeOffset="182676.78">15187 12131 0,'27'-26'0,"-14"26"16,0 0-1,0 13-15,-13 0 16,-13 0-16,0 1 16,0-1-16,-1 13 0,1-12 0,0-1 15,0 0-15,-1 0 0,1 0 0,0 14 16,0-14-16,-1 0 16,41-13 15,13-13-16,-14 13-15,14-13 16,-1 0-16,-25 13 0,12-14 16,-13 14-16,14 0 0,-14-13 0</inkml:trace>
  <inkml:trace contextRef="#ctx0" brushRef="#br0" timeOffset="184598.94">15663 11748 0,'66'-14'31,"-52"14"-31,-1 0 16,0 0-16</inkml:trace>
  <inkml:trace contextRef="#ctx0" brushRef="#br0" timeOffset="184756.88">15703 11880 0,'40'0'0,"-27"0"0,0 0 0,0 0 16,54-13-1</inkml:trace>
  <inkml:trace contextRef="#ctx0" brushRef="#br0" timeOffset="185261.75">16523 11549 0,'13'-13'0,"1"13"0,-1 0 15,-53 13 17,27-13-32,0 13 15,0-13-15,-54 27 16,67-14-16,-26-13 16,13 13-16,13 0 15,13-13 1,-13 14-16,13-14 0,14 13 15,-14-13-15,0 0 0,0 13 16,1-13-16,-1 0 0,0 13 16,-13 14-1,-13-14-15,0 0 16,-1 1-16,1-1 0,-13-13 16,-14 26-16,27-13 0,-1-13 15,-12 14-15,13-1 0</inkml:trace>
  <inkml:trace contextRef="#ctx0" brushRef="#br0" timeOffset="185535.42">16603 11602 0,'-27'93'16,"27"-80"-1,0 0-15,13-13 0,-13 13 0,14-13 16,12 0-16,-13 0 16,1 0-16,-1 0 0,0-13 15,-13 0-15,13 13 0,0-27 16,-13 14-16,0 0 0,-13 0 16,13-1-16,-13 1 15,-13 0-15,12 0 16,1 13-16,0 0 0,0 0 0,-1 0 15,1 0-15,0 0 16,13 13-16</inkml:trace>
  <inkml:trace contextRef="#ctx0" brushRef="#br0" timeOffset="185708.9">16867 11549 0,'-13'40'15,"0"-27"-15,0 0 0,-14 14 16,1-1-16,-27 27 16,26-40-16,1 14 0,-1-1 0,-12 14 15,12-14-15,14-12 16</inkml:trace>
  <inkml:trace contextRef="#ctx0" brushRef="#br0" timeOffset="185875.66">17119 11562 0,'-93'106'0,"66"-79"16,-52 52-16,-13 14 16,-14-1-16,53-39 15,13-13-15,-13 13 0,-39 39 16,39-39-16</inkml:trace>
  <inkml:trace contextRef="#ctx0" brushRef="#br0" timeOffset="186792.51">16259 12369 0,'26'13'0,"1"-13"16,-1-13-16,0 13 0,27-13 15,-13 13-15,13-13 0,0-14 0,0 14 16,0-13-16,106-40 16,-107 39-16,1 1 15,0-14-15,-13 13 0,53-39 16,-14 0-16,-53 26 0,1 1 16,-1-1-16,1-39 15,-14 39-15,-13 0 0,13-52 16,-13 39-16,0 0 0,-13-53 15,-13 53-15,12 0 0,-25 0 16,12 14-16,-65-28 0,-14 15 16,13 38-16,27 14 15,0 14-15,-14-1 16,14 13-16,-119 67 0,13 13 16,27 39-16,78-65 15,1-1-15,27 0 0,-28 67 16,54-80-16,0 0 0,13 0 0,13-13 15,0 13-15,14-13 0,13-13 16,-1 13-16,1-13 0,0-14 16,13 0-16</inkml:trace>
  <inkml:trace contextRef="#ctx0" brushRef="#br0" timeOffset="187784.92">9618 12488 0,'-14'40'16,"14"-14"-1,0-12-15,-13 25 0,13-25 0,-13 39 16,13-27-16,0 0 15,-13 1-15,13-14 0,0 14 0,0-14 16,0 0-16,-14 0 0</inkml:trace>
  <inkml:trace contextRef="#ctx0" brushRef="#br0" timeOffset="188125.54">9737 12568 0,'-27'66'15,"27"-53"-15,0 0 0,0 1 16,13-1-16,1 0 16,-1 0-16,0 0 0,0-13 15,1 0-15,12 0 0,-13 0 16,0-13-16,1 13 15,-1-13-15,-13 0 16,-27-14-16,27 14 0,-13 13 16,-13-13-16,13 13 15,-14 0-15,14-13 0,0 13 16,-1 0-16,1 13 16,0-13-16,0 0 0,13 13 15</inkml:trace>
  <inkml:trace contextRef="#ctx0" brushRef="#br0" timeOffset="188380.88">10014 12594 0,'27'53'0,"-14"-40"0,14 27 15,-1-40 1,-13 0-1,1 0-15,-1 0 16,0-26-16,-13 12 16,0-12-16,0 13 0,0-14 15,-13 14-15,13 0 0,-13-1 16,-1 1-16,14 0 0,-13 0 0,0 0 16,0-1-16,-1 14 15,1 14-15,0-14 16,0 13-16,-14 13 15,14-13-15</inkml:trace>
  <inkml:trace contextRef="#ctx0" brushRef="#br0" timeOffset="188636.69">9340 13057 0,'92'-39'0,"67"-1"16,-93 27-1,0-1-15,14 1 0,145-27 16,-159 27-16,13 0 16,-13 0-16,1 0 0,38-1 15,-25 1-15,-41 0 0,-25 13 16,-1 0-1</inkml:trace>
  <inkml:trace contextRef="#ctx0" brushRef="#br0" timeOffset="189508.17">9644 13163 0,'13'-26'0,"1"26"0,-1 0 15,0-14-15,0 14 16,0 0-16,1 0 0,-1 0 0,13 0 15,-12 0-15,-1 0 0,0 0 16,13 14-16,-12-1 16,-14 0-16,13 0 15,-13 0-15,13 1 16,-13-1-16,0 0 0,13 14 0,-13-14 16,0 13-16,14-12 0,-14 12 15,0-13-15,13 0 0,-13 1 16,0-1-16,13 0 0,-13 0 15</inkml:trace>
  <inkml:trace contextRef="#ctx0" brushRef="#br0" timeOffset="189917.67">9671 13375 0,'52'-40'16,"-25"27"-16,13 0 0,-14-1 15,14-12-15,-14 26 0,14-27 16,-27 27-16,0-13 0,14 13 0,-27-13 16,13 13-16,0 0 0,0 13 15,1 0 1,-14 1-16,13-1 0,0 0 15,0 0 1,1-13-16,-1 0 0,0 14 16,0-14-16,1 0 0,-1 0 15,0-14-15,0 14 16,-13-13-16,0 0 0,0 0 16,0-1-16,-13-12 0,0 13 15,0-1-15,-1 14 0,1-13 16,0 13-16,0-13 0,-1 13 0,-12-13 15,26 0 1,13-1 0</inkml:trace>
  <inkml:trace contextRef="#ctx0" brushRef="#br0" timeOffset="190201.35">10901 12687 0,'26'-13'16,"-12"13"-16,-1 0 0,0 0 15,0 0-15,14-14 0,-14 14 16,13 0-16,-12 0 0</inkml:trace>
  <inkml:trace contextRef="#ctx0" brushRef="#br0" timeOffset="190376.82">10941 12859 0,'13'-27'32,"0"27"-32,13-13 15,1 13-15,-14-13 0,27 0 16,-1 13-16</inkml:trace>
  <inkml:trace contextRef="#ctx0" brushRef="#br0" timeOffset="192008.5">11827 12449 0,'0'26'16,"-13"-13"-16,13 1 15,0 12-15,0-13 0,0 14 16,-14-14-16,14 13 15,0-12-15</inkml:trace>
  <inkml:trace contextRef="#ctx0" brushRef="#br0" timeOffset="192152.43">11933 12634 0,'0'-13'15</inkml:trace>
  <inkml:trace contextRef="#ctx0" brushRef="#br0" timeOffset="192427.52">12158 12488 0</inkml:trace>
  <inkml:trace contextRef="#ctx0" brushRef="#br0" timeOffset="192555.95">12197 12594 0</inkml:trace>
  <inkml:trace contextRef="#ctx0" brushRef="#br0" timeOffset="209450.2">23707 6522 0,'26'-40'0,"-13"27"0,1 0 15,-1 0-15,0 13 16,-13-14-16,13 14 0,0-13 16,1 13-1,-1-13-15,0 13 0,0 13 16,-13 0-1,14 1-15,-14-1 0,0 0 16,-14 27-16,14-1 0,-13-25 16,13 12-16,0-13 0,0 1 15,0-1-15,0 0 0,13-13 16,-13 13-16,14 1 0</inkml:trace>
  <inkml:trace contextRef="#ctx0" brushRef="#br0" timeOffset="-209921.36">8983 7408 0,'-14'-13'0,"1"13"0,40 0 31,39-13-15,-13 13-16,0-13 0,13 13 0,0 0 16,13-14-16,1 14 0,12 0 15,1 0-15,-1-13 0,1 13 0,13 0 16,-14 0-16,120 0 16,-93 13-16,-13-13 0,0 0 15,-14 0-15,14 14 0,0-14 0,0 0 16,-13 13-16,-1-13 0,-12 0 0,-1 0 15,0 13-15,-13-13 0,-13 0 16,-13 0-16,0 13 0,-14-13 0,1 0 16,-14 0-16,13 0 0,-12 0 0,-1 0 15,0-13 1</inkml:trace>
  <inkml:trace contextRef="#ctx0" brushRef="#br0" timeOffset="-209557.44">11258 7131 0,'40'26'15,"-14"-26"-15,-13 13 0,27 0 16,0 1-16,-1-1 0,81 53 16,-94-53-16,14 14 15,-14-1-15,14 1 0,26 52 16,-53-53-16,-13 1 0,0-1 15,-13 41-15,-13-28 16,-14 1-16,0 0 0,-13-1 0,-13 1 16,-27 0-16,1-1 0,-14 14 15,-13-13-15,13 0 0,-13-1 0</inkml:trace>
  <inkml:trace contextRef="#ctx0" brushRef="#br0" timeOffset="-160485.45">14182 7541 0,'92'-67'0,"-78"41"0,25-14 15,-39 27 1,13 0-16,-13 0 0,14-1 0,-14 1 16,0-13-16,-14 12 15,1 1 1,0 13-16,0 13 15,0 1 1,13-1-16,-14 0 0,14 0 0,-13-13 16,13 14-16,0 25 15,13-25-15,-13 12 16,14-13-16,-1-13 16,-13 13-16,13-13 0,0 0 15,14 0 1,-14 0-16,0 0 0,0-13 15,1 13-15,-1-13 0</inkml:trace>
  <inkml:trace contextRef="#ctx0" brushRef="#br0" timeOffset="-160240.66">14552 7091 0,'0'-13'15,"-13"39"1,13-13-16,0 1 0,13 38 0,-26-91 0,26-14 0,-26 119 16,26 0-1,-13-39-15,0-1 0,0-13 0,0 14 16,0-1-16,13-13 16,-13 1-16,0-1 0,14 13 15,-14-12-15,13-14 16,0 13-16</inkml:trace>
  <inkml:trace contextRef="#ctx0" brushRef="#br0" timeOffset="-159933.65">14684 7408 0,'27'-26'0,"-14"-1"15,0 14 1,-13 0-16,27-27 16,-27 27-16,0 0 15,13 0 1,-13-1-16,-13 28 31,0 12-15,13-13-16,0 0 15,0 1-15,0-1 16,13 0 0,0 0-16,0-13 0,0 0 15,14-13-15</inkml:trace>
  <inkml:trace contextRef="#ctx0" brushRef="#br0" timeOffset="-159605.46">15002 7223 0,'-40'-13'0,"27"13"15,13 13 1,0 0-16,13 1 16,0-1-16,14 26 15,-27-25-15,26 25 16,-26-25-16,0-1 15,-26 27 1,26-27-16,-13-13 0,13 13 0,-14 0 16,1-13-16,0 13 0,0-13 15,-1-13 1,14-13 0,14 26-16,12-27 15,-13 1 1,40-14-16,-39 27 15,-1 13-15,13-13 0</inkml:trace>
  <inkml:trace contextRef="#ctx0" brushRef="#br0" timeOffset="-159174.29">15174 7223 0,'26'-26'15,"-65"65"-15,52-52 0,13-27 0,-26 27 16,-13 13 0,0 0-1,0 13 1,-1 1-1,1-1-15,13 13 16,0-12 0,0-1-1,13-13-15,1 0 16,-1 0 0,0-13-1,0-1-15,1 14 0,-1-13 16,0 13-16,0 0 15,0 0 1,1 13 0,-1 1 15,-13-1-15,13-13-1,0 0 1,1 13-1,-1-13 1,0 0 0,0-13-16,1 13 15,-1-13 1</inkml:trace>
  <inkml:trace contextRef="#ctx0" brushRef="#br0" timeOffset="-158971.33">15478 6959 0,'0'-14'0,"13"54"47,-13-14-32,14 1-15,-14-14 16,0 0-16,13 1 0,0 25 15,-13-25-15,13 12 16</inkml:trace>
  <inkml:trace contextRef="#ctx0" brushRef="#br0" timeOffset="-158817.4">15505 7104 0,'0'-13'15,"0"26"-15,0-39 0,13 26 0,-13-14 0,13 14 0,27-26 16,-14 13-16,1 13 16,-1-14-1</inkml:trace>
  <inkml:trace contextRef="#ctx0" brushRef="#br0" timeOffset="-158284.2">14764 7646 0,'-40'27'0,"40"-14"16,13 0-16,1 1 0,-1-1 16,0 0-16,13 0 0,-12 1 0,-1-1 0,0 0 15,14 13-15,-27-12 16,13 12-1,-13-13-15,0 1 0,0-1 0,-13-13 0,-14 26 16,14-12 0,-27-1-1,27-13-15,0-13 0,13-1 16,0 1 0</inkml:trace>
  <inkml:trace contextRef="#ctx0" brushRef="#br0" timeOffset="-158120.33">14989 7607 0,'26'-13'0,"-26"26"15,13 13 1,-13-13-16,0 14 0,14 13 16,-14-27-16,0 13 0,0-12 15,0 52-15,13-53 16,-13 0-16,0 14 15</inkml:trace>
  <inkml:trace contextRef="#ctx0" brushRef="#br0" timeOffset="-157554.02">15015 7805 0,'119'-66'0,"-106"53"0,1 13 15,-1 0-15,0 0 0,-13-13 0,27 13 16,-27 13 15,-14 0-15,1 14-1,0-14 1,13 0-16,13-13 16,-13 13-16,27-13 15,-14-13-15,0 13 16,0 0 0,0 0-16,1 0 0,-1 0 31,0 13-16,0-13-15,1 0 16,12-26 0,-26 13-16,13-1 0,1 1 15,-14-13-15,13 12 0,0-25 16,-13 25-16,13-12 0,-13 13 16,13 13-16,-13-13 0,0-1 15,14 14-15,-14-13 16,13 26-16,0 1 15,-13 25-15,0-26 16,13 54-16,-13-54 16,14 0-16,-14 27 15,0-27-15,-14 0 0,14 0 16</inkml:trace>
  <inkml:trace contextRef="#ctx0" brushRef="#br0" timeOffset="-157365.43">15465 7858 0,'-13'-26'16,"26"52"-16,-13-79 0,13 40 15,-13 0 1,27-14-16,-14 27 16,0 0-16,-13-13 0,13 13 0,1 0 15,-1 0 1,0 0 0,-13 13-16,0 1 0,0-1 15,0 0 1,0 0-16</inkml:trace>
  <inkml:trace contextRef="#ctx0" brushRef="#br0" timeOffset="-157251.23">15663 7633 0,'0'-13'16</inkml:trace>
  <inkml:trace contextRef="#ctx0" brushRef="#br0" timeOffset="-157025.08">15756 7660 0,'13'13'0,"0"0"15,14 14 1,-14-27-16,-13 13 15,13 0-15,-13 0 0,14 1 16,-28-1-16,14 0 16,0 0-16,-13 0 0,0 1 15,0-1-15,-1-13 16</inkml:trace>
  <inkml:trace contextRef="#ctx0" brushRef="#br0" timeOffset="-156569.1">15941 7554 0,'13'-13'0,"-13"-1"0,14 41 32,-14 13-17,0-27-15,0 0 16,0 0-16,0 0 0,0 1 0,-14-1 15,14 27 1,-13-27-16,13 0 0,-13 0 16,13 1-1,-13-14 1,39-14 0,-13 1-1,1 0-15,-1 0 16,27-1-16,-27 1 15,0 13-15,0-13 16,0 13-16,1-13 0,-1 13 16,0 0-1,0 0-15,1 13 16,-14 0 0,13-13-16,-13 13 15,0 1 1</inkml:trace>
  <inkml:trace contextRef="#ctx0" brushRef="#br0" timeOffset="-156353.1">16259 7580 0,'13'0'0,"-13"14"16,13-1-1,-26 0 1,0 13 0,-1-12-16,-12-1 15,13-13-15,-1 13 16,-12-26-1,13 13 1</inkml:trace>
</inkml:ink>
</file>

<file path=ppt/ink/ink18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06:19.644"/>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FFFF"/>
    </inkml:brush>
  </inkml:definitions>
  <inkml:trace contextRef="#ctx0" brushRef="#br0">1482 3440 0,'79'0'79,"239"0"-64,-54 0 1,-39 0-1,26 0-15,-79 0 0,-26 0 16</inkml:trace>
  <inkml:trace contextRef="#ctx0" brushRef="#br0" timeOffset="1831.17">4815 3387 0,'14'0'47,"12"0"-16,14 0-15,13 0-16,39 0 0,54 0 15,26 0 1,39 0-16,81 0 15,104 0-15,1 0 16,106 0-16,-106 0 16,0 0-16,211 0 15,-409 0 1,-14 0-16,-40 0 16,-25 0-16,-15 0 15,28 0 1,-28 0-16,1 0 0,-26 0 15,-27 0 1,26 0 0</inkml:trace>
  <inkml:trace contextRef="#ctx0" brushRef="#br0" timeOffset="6951.49">15491 4366 0,'40'0'109,"145"39"-93,80-39-1,-67 0 1,40 0-16,14 0 16,-1 0-16,186 0 0,-107 0 15,385 0 1,-358 0-16,-26 0 16,-40 0-16,-40 0 15,-79 0-15,26 0 16,-26 0-1,-13 0-15,0 0 0,26 0 32,-105 0-32,-28 0 0,-38 0 15,12 0-15</inkml:trace>
  <inkml:trace contextRef="#ctx0" brushRef="#br0" timeOffset="9083.56">13123 754 0,'0'-13'0,"0"0"0,-13 39 32,13 80-17,0-27-15,-13-26 16,13 119-16,0-53 16,0 106-16,13-119 0,0-27 0,-13 14 15,14-14-15,-1 54 16,0-67-16,0 40 15,0-54-15,-13-12 0</inkml:trace>
  <inkml:trace contextRef="#ctx0" brushRef="#br0" timeOffset="9359.89">12422 2262 0,'331'-53'16,"-252"53"-16,107-26 15,-1 13-15,-93-1 0,186 1 16,-40-13-1,-172 26-15,80-14 16,-120 14 0,1 0-16</inkml:trace>
  <inkml:trace contextRef="#ctx0" brushRef="#br0" timeOffset="10309.86">13904 2130 0,'26'-13'0,"-12"13"0,12-14 0,53 14 15,-26-13-15,13 0 16,14 13-16,-1-13 0,1 13 0,-1 0 15,199-13-15,-186 13 16,186 0 0,-198 0-16,12 0 0,-12 0 15,12 0-15,133 0 16,-172 0-16,106-14 16,-133 14-16,1 0 0,-1 0 15,-13-13-15,1 13 0,12 0 16</inkml:trace>
  <inkml:trace contextRef="#ctx0" brushRef="#br0" timeOffset="11484.04">18177 635 0,'13'-26'0,"0"26"0,1 0 16,12-14 0,-13 14-16,0 0 0,1-13 15,-1 13-15,13 0 16,-12 13-16,-1 1 0,-13-1 15,-13 0-15,-1 0 16,14 14-16,-26-14 0,-14 27 16,27-27-16,0 0 15,13 0-15,-13 1 0,-1-14 0,14 13 16,-13 0-16,26 0 31,1-13-15,-1 0-16,0 0 0,13-13 0,-12 13 15,52-13-15,-40 0 16,1-1-16,-1 14 0,1-13 0</inkml:trace>
  <inkml:trace contextRef="#ctx0" brushRef="#br0" timeOffset="11902.38">18627 635 0,'-14'0'0,"1"0"15,13 13-15,0 0 16,0 1 0,0-1-16,13-13 0,1 13 15,-1-13-15,0 0 16,0 0-16,1 0 16,-14-13-16,0 0 15,0-1 1,0 1-16,-14 13 15,14-13 1,27 26 15,-1 0-31,-13-13 16,1 14-16,-1-14 0,0 0 16,0 13-1,1 0-15,-1-13 16,0-13-1,-13 0 1,0-14 0,0 14-16,0 0 15</inkml:trace>
  <inkml:trace contextRef="#ctx0" brushRef="#br0" timeOffset="13325.73">21034 2196 0,'-13'26'0,"13"1"16,-13-14-16,0 27 16,13-27-16,0 0 15,0 1-15,13-1 0,-13 0 16,13 0-16,0 0 15,1-26 17,-14 0-17,-14 13 1,14-13-16,-13 13 16,0-13-1,13-1-15,0 1 16,13 13-1</inkml:trace>
  <inkml:trace contextRef="#ctx0" brushRef="#br0" timeOffset="13696.2">21101 2289 0,'0'13'32,"13"0"-17,0-13-15,-13 13 0,26 1 16,-12-14-1,-1 0 1,0-14-16,0 1 16,-13 0-1,0 0 1,0-1 0,27 28 15,-14-14-16,0 13-15,0-13 16,1-13 0,-1 13-16,-13-14 15,0 1 1,0 0-16,-13 0 16,13-1-1,-14 1-15,1 13 0,0-13 0,0 0 16,-14 13-16,1-13 0</inkml:trace>
  <inkml:trace contextRef="#ctx0" brushRef="#br0" timeOffset="14786.52">19275 1363 0,'-13'-14'0,"13"28"47,-14-1-31,1 0 0,13 0-16,-13-13 15,13 14-15,-13-1 0,13 0 16,0 0-1,0 0 1,13-13-16,0 14 16,14-28-1,-14 14-15,0-13 16,0 13-16,1-13 0,-1 0 16,-13 0-1,0-1 1,0 1-1,0 0 1,-13 26 15,13 14-15,0-14-16,0 0 16,0 0-1,13-13-15,0 0 16,0-13-16,1 13 15,-1-13-15,0 0 16,0-1 0,0 28 15,1-1-15,-1 0-1,13 0 1,1-26-1,-27-13 1,0 12-16,0-12 16,0 13-1,0-1 1</inkml:trace>
  <inkml:trace contextRef="#ctx0" brushRef="#br0" timeOffset="14951.99">19606 1416 0,'26'0'0,"-13"0"15,-13-14 1,14 1-16,-14-13 16,0 12-1,-14 14 1,-12 14-1</inkml:trace>
  <inkml:trace contextRef="#ctx0" brushRef="#br0" timeOffset="15351.98">19381 1839 0,'53'-13'15,"-40"13"-15,13-14 0,1 14 0,-14-13 16,80-13-16,-67 12 16,1 1-16,-1 0 0,14 0 15,26-27 1,-40 27-16,1-14 0,-14 1 15,13 13-15,-12-14 0,-1 1 0,13-1 0,-12-12 16,-14-1-16,13 14 0,-13-14 0,0 13 16,0 1-16,-13-14 15,-1 1-15,1 12 0,-13 1 0,-1-1 16,-26 1-16,14-1 0,-1 14 0,-13 0 16,13 0-16,-13 13 0,-39-14 15,39 14-15,0 14 0,13-14 16,-13 13-16,14 0 0,-1 0 0,-26 14 15,39-14-15,1 0 0,-1 0 16,1 1-16,13-14 0</inkml:trace>
  <inkml:trace contextRef="#ctx0" brushRef="#br0" timeOffset="15864.39">18481 926 0,'199'0'0,"-160"-13"0,133-40 16,-106 40-16,-13-14 0,0 1 15,-13-14-15,0 14 0,-1-1 0,-12-13 0,-14 14 16,0 0-16,0-1 0,-26 1 15,13-14-15,-106-53 16,53 67-16,-13-1 0,0 14 16,-93-26-16,67 25 15,-186 1 1,185 13-16,1 0 0,12 13 0,-12-13 0,12 14 16,1 12-16,0-13 0,13 14 0,-1-1 15,-91 53 1,118-39-16,0-13 0,1 12 0,25 1 15,-12-14-15,26 14 0,0-13 0,0 12 16,53 67 0,-27-79-16</inkml:trace>
  <inkml:trace contextRef="#ctx0" brushRef="#br0" timeOffset="16997.88">18005 1019 0,'13'66'0,"0"-40"16,1 1-16,12 12 0,1 1 0,-1 0 15,0-1-15,-12 1 0,-1 0 0,0 0 16,0-14-16,1 14 0,-1-14 16,-13 1-16,0-14 0,0 0 15,0 27-15,0-27 0,-13 0 16,13 0-16,-14-26 31,28 0-15,12 26-1,0 0-15,1 14 0,-1 13 0,80 105 16,-79-92 0,12 0-16,-12-13 0,13 13 15,-14-14-15,14 1 0,-1 0 0,67 52 16,-66-79-16,0 14 15,-1-14-15,67 0 16,-79-13-16,12 0 0,1-13 16,0 13-16,-1-13 0</inkml:trace>
  <inkml:trace contextRef="#ctx0" brushRef="#br0" timeOffset="17889.5">18190 1654 0,'-40'0'0,"14"-14"0,0 14 16,-1 0-16,-26 0 0,0-13 16,-13 13-16,-13 0 0,-1-13 0,1 13 0,-14-13 15,-13 13-15,14 0 0,-14 0 16,0 0-16,-26 0 0,0 0 0,26 0 16,-185 0-1,198 0-15,14 0 0,-1 0 0,14 0 16,13 0-16,0 0 0,1 0 0,12 0 15,-53-13 1,67 13-16,13 0 0,-1 0 0,1 0 16,0 0-16,-14 0 15</inkml:trace>
  <inkml:trace contextRef="#ctx0" brushRef="#br0" timeOffset="18167">16219 1349 0,'-159'67'0,"67"-15"15,39-12-15,13 0 0,-53 66 16,54-27 0,39-53-16,0-12 0,13 12 15,13-13-15,14 1 0,0-1 16,13 0-16,0-13 0,26 0 0,0 0 16,1-13-16,-1 0 0</inkml:trace>
  <inkml:trace contextRef="#ctx0" brushRef="#br0" timeOffset="20503.58">7461 5490 0,'66'0'31,"93"0"-31,-93 0 16,14 0-16,158-13 16,-159 13-16,14 0 0,-14 0 15,1 0-15,-1 0 0,-13 0 0,0 0 0,-13 0 16,0-13-16,-13 13 0,-1 0 16,28 0-16,-54 0 15,13 0-15,-13 0 0,1 0 0,-1 0 16,0 0-16,0 0 0,1-14 31</inkml:trace>
  <inkml:trace contextRef="#ctx0" brushRef="#br0" timeOffset="24911.62">17568 6548 0,'-39'-330'16,"39"264"-16,-14-1 0,1 1 0,13 13 16,-13-92-1,13 118-15,0 1 0,0-1 0,0 14 16,0-26-1,0 25-15,13 14 0,-13-13 0,40 26 16,-27 1-16,27 12 16,-14 0-16,80 94 15,-66-81-15,-1 1 0,67 66 16,-92-80 0,12 1-16,0-1 0,1 14 15,-14-27-15,-26 0 16,0 0-1,-14-13-15,1 14 0,-1-14 16,-131 13-16,105-13 16,0 13-16,-119-13 15,119 13-15,0-13 0,0 0 0,0 0 16,-40 0 0,80-13-16,0 13 0,0-13 15,13-14-15,13 14 16,13-13-16,14-14 0,92-92 15,-65 92-15,-15 0 16,15 1-16,-14-1 0,13 0 0,-13 1 16,0 12-16,-1 1 0,-25 13 15,13-14-15,13 1 0,-14-1 16,-26 27-16,1 13 16,-14 14-1,-14-14-15,1 27 16,0-1-16,-13 1 0,-1 13 0,1 0 15,-1-13-15,-26 65 0,14-52 16,12-13-16,1 0 16,-1 13-16,14-27 0,-14 1 0,14 12 0,0-25 15,13 12-15,-13-13 0,13 14 16,0-14-16,0 0 16,0 0-16,13-13 0</inkml:trace>
  <inkml:trace contextRef="#ctx0" brushRef="#br0" timeOffset="26677.29">6350 6575 0,'26'13'0,"-12"-13"16,65 0-1,67-13 1,-1 0-16,-66 13 0,14-14 16,-14 14-16,107-13 15,-107 0-15,14 13 0,-14-13 0,159-14 16,-172 14-16,-13 13 15,0-13-15,-13 13 0,52-13 16,-78 13-16,-1 0 16,27 0-16,-27 0 15,0 0-15,0 0 16,0 13 0</inkml:trace>
  <inkml:trace contextRef="#ctx0" brushRef="#br0" timeOffset="29650.41">12912 6548 0,'39'-13'0,"-25"13"0,-1 0 0,0 0 16,80 0-1,-54 0-15,1 0 0,13 0 0,0 0 0,0 0 16,13 0-16,132 0 16,-118 13-16,78-13 15,-78 0-15,-1 0 0,14 0 16,-14 0-16,1 14 0,171-1 15,-158-13 1,65 13-16,-78-13 0,-1 0 0,0 13 16,-12-13-16,-1 0 0,-13 0 15,158 14 1,-118-14-16,0 0 16,-67 0-16,0 0 15,1 0-15,26 0 16,-40 0-16,0-14 0,0 14 15,1 0-15,-1 0 0,0 0 16,27 0-16,-27 0 16,14 0-1,-14-13-15,0 13 0,0 0 16,27 0 0,-27 0-16,0 0 0,14 0 0,-14 0 15,0 0-15,1 0 0,12 0 16,0 13-1,-12-13-15,-1 0 0,40-13 16,-40 13-16,0 0 0,14 0 16,-14-13-16,13 13 0,-12 0 15,12 0-15,-13-13 0,14 13 0,-1 0 16,14-14-16,-27 14 0,14 0 16,-14-13-16,0 13 0,14 0 15,-14-13-15,0 13 0,0 0 0,0-13 16,1 13-16,12-13 0,-26-1 15,27-12 1,-14 13-16,13-40 16,-12 39-16,-1 1 15,-13-13-15,13 13 0,-13-1 0,13-12 16,0 13-16,-13-1 0,14-12 0,-1 13 16,0-1-16,-13-12 0,13 13 15,-13-14-15,14 14 0,-1-13 16,-13-1-16,13 14 0,-13-14 0,13 1 15,-13 0-15,14-1 0,-14 1 0,0-1 16,13 1-16,-13-1 0,0 1 16,0 13-16,0-14 0,0 14 0,0 0 15,0-14-15,0 14 0,0 0 0,0 0 16,0-1 0,0 1-16,0 0 0,0 0 0,-13-1 15,-1 1 1,1 13-1,-13 0-15,-27-13 16,26 13-16,1 0 16,-40 0-16,26 0 15,-13 0-15,0 0 0,0 0 0,0 0 16,-13 0-16,13 0 0,-13 0 0,0 0 16,-13 0-16,-67 0 15,67-13-15,12 13 0,-12 0 0,0 0 16,-1 0-16,1 0 0,0 0 0,-1 0 15,1 0-15,-1 0 0,-171 0 16,172 0-16,-1 0 16,1 0-16,0 0 0,-1 13 15,14-13-15,-13 0 0,-67 0 16,93 0-16,0 13 0,0-13 16,-66 0-16,80 0 15,25 0-15,-12 0 0,0 0 16,12 13-16,-12-13 0,13 0 0,-1 0 15,1 0-15,0 0 0,0 0 0,-1 0 16,1 0-16,0 14 0,0-14 16,0 0-16,-1 0 15,-12 13-15,13-13 16,-1 0-16,-25 13 16,26-13-1,-14 0-15,14 0 0,0 13 0,-1-13 16,-12 0-16,13 0 0,-1 0 0,1 0 15,0 14-15,0-14 16,-27 0-16,27 0 0,0 0 0,-1 0 16,1 13-16,0-13 15,0 0-15,-14 0 16,14 0-16,13 13 0,-13-13 16,0 0-16,-1 0 0,1 0 0,0 13 15,-14-13 1,1 0-1,0 13 1,12-13-16,1 0 16,0 0-1,0 0-15,-1 0 16,1 14 15,13-1 0,-13 0-15,13 0-16,0 1 16,-13-1-1,13 0-15,-14 14 16,14-14-16,0 0 0,0 0 16,0 0-16,0 1 0,-13 39 15,13-40-15,0 0 16,-13 53-16,13-53 15,0 14-15,0-14 0,0 14 16,-13-14-16,13 13 0,0-13 0,0 14 16,0-14-16,-13 14 0,13-14 15,0 0-15,0 0 0,-14 14 0,14-14 16,0 0-16,0 0 0,-13 1 16,13-1-16,0 0 0,0 0 15,-13 1-15,13-1 16,0 0-1,0 0 1,-13-13-16,13 14 0,0-1 16,0 0-1,-14 0 1,14 0 0,-13-13-1,13 14-15,-13-14 0,0 13 16,-1-13-1,1 0-15,0 0 16,0 0-16,39-13 31,1 13-31,184-53 16</inkml:trace>
  <inkml:trace contextRef="#ctx0" brushRef="#br0" timeOffset="30883.2">16550 6575 0,'26'0'0,"14"-13"15,-27 13-15,0 0 16,14 0-16,-1-14 0,27 14 16,106-26-16,-93 26 15,132-26 1,-118 12-16,158-12 15,-159 26-15,14 0 0,-14-13 16,14 13-16,-14-14 0,14 14 0,0 0 16,-1 0-16,-13 0 0,14-13 15,-14 13-15,1 0 0,-1 0 0,-13 0 16,0 0-16,-13 0 0,0 0 0,0 0 16,0 0-16,-13-13 0,-14 26 15,1-13-15,-14 0 0,0-13 0,14 13 16,-14 0-16,0 0 0,0 0 15,1 0 1,-14-13 0,-14-1-1</inkml:trace>
  <inkml:trace contextRef="#ctx0" brushRef="#br0" timeOffset="31214.74">18799 6231 0,'26'13'15,"1"0"-15,-1-13 0,0 14 16,1-1-16,79 27 16,-67-27-16,-25 0 0,52 27 15,-53-27-15,0 0 16,-13 14-16,14-14 0,-28 13 0,14-12 16,-13 12-16,-13 0 0,-1 1 15,1-1-15,-93 67 16,79-67-16,13 1 0,-25-1 0,25 1 15,-39 12 1</inkml:trace>
  <inkml:trace contextRef="#ctx0" brushRef="#br0" timeOffset="35567.19">20002 6072 0,'14'13'16,"-14"1"-16,0 12 0,0 1 0,13 12 15,-13 1-15,13 0 0,-13 26 0,0-13 16,13 132-16,1-119 16,-1 80-1,0-94-15,-13-12 0,0 0 0,13-14 16,-13 1-16,0-1 0,0 1 16,0-14-16,0 0 0,14 0 0,-14 14 15</inkml:trace>
  <inkml:trace contextRef="#ctx0" brushRef="#br0" timeOffset="35971.01">19698 6879 0,'53'0'16,"-13"0"-1,0-13-15,12 13 0,15-13 0,12-1 0,14 14 16,-1-26-16,14 13 0,132-27 15,-119 14-15,13 12 0,226-38 16,-266 38-16,27 1 16,-13 0-16,-13 13 0,66-13 15,-80-1-15,93 14 16,-132 0-16,-14 0 0,-13 0 16,14 0-16,-14-13 15,0 13-15,0 13 0,1-13 16,-41-13 15</inkml:trace>
  <inkml:trace contextRef="#ctx0" brushRef="#br0" timeOffset="37442.23">20042 6800 0,'27'-13'47,"-14"-1"-31,-13 1-16,26 0 15,-26 0-15,27-14 16,-14 14 0,13-13-1,-26 12-15,14 1 0,-1 0 0,-13 0 16,13-1-16,0 1 0,14-40 15,-27 40-15,13-13 16,14-14-16,-14 27 16,0-14-16,13-26 15,-12 40-15,-1 0 0,-13-14 16,13 14-16,0 0 0,14-27 16,-27 27-16,13 0 0,0-1 15,1-12-15,38-14 16,-38 14-16,12-1 15,-13 14-15,14 0 0,-14 0 16,0-1-16,1 1 0,-1 0 0,0 0 16,0 0-16,14-1 0,-14 14 15,0-13-15,0 0 0,1 13 0,-1-13 16,40-14 0,-40 27-16,0 0 0,14-13 0,-14 13 15,40-13-15,-40 13 16,0 0-16,0 0 0,27 13 15,-27-13-15,14 13 0,-14-13 16,40 27 0,-40-14-16,14 0 0,-14 0 0,0 1 15,14-1-15,12 26 16,-26-25-16,40 25 16,-39-25-16,-1-1 0,0 0 15,40 14 1,-40-14-16,0-13 0,1 13 15,12-13-15,-13 13 0,1-13 0,12 13 16,-13-13-16,1 0 0,-1 0 0,0 14 16,0-14-16,0 0 0,1 0 0,-1 0 15,0 0-15,0 0 16,1 0-16,-1 0 16,0 0-16,-13 13 31</inkml:trace>
  <inkml:trace contextRef="#ctx0" brushRef="#br0" timeOffset="41449.92">21325 5675 0,'14'0'0,"-1"14"0,-13-1 16,0 0-1,0 0 1,0 0-16,-13 1 0,13-1 16,0 13-1,0-12 1,13-28 31,0 1-32,0 0-15,1 13 16,-14-13-16,13 13 0,0-14 16,0 28-1,0-14 1,1 13-16,-1 0 16,0-13-1,0 0 1,1 0-16,-1 0 15,0-13-15,0 0 16,-13-1 0,0 1-1,0 0 1,0 0-16,-13 0 16,0-1-1,0 14 1,13-13-1</inkml:trace>
  <inkml:trace contextRef="#ctx0" brushRef="#br0" timeOffset="41793.1">21616 5596 0,'53'26'0,"-39"1"16,-14-14-1,13-13-15,-13 13 0,0 1 16,13-1 0,-13 0-16,13-26 46,-13-14-30,14 1-16,-14 13 16,13-1-1,-13 1 1,13 13-16,-13-13 16,13 13-1</inkml:trace>
  <inkml:trace contextRef="#ctx0" brushRef="#br0" timeOffset="42130.74">21921 5517 0,'13'0'15,"-13"13"-15,13 0 16,-13 0-16,0 0 15,0 1 1,13-14-16,1 0 16,-1-14-1,0 14 1,0 0 0,1 0-1,-1 0 1,0 0 15,0 14-15,0-28-1,1 14-15</inkml:trace>
  <inkml:trace contextRef="#ctx0" brushRef="#br0" timeOffset="42561.79">22251 5490 0,'-26'0'0,"13"0"15,13 13 1,-13-13 0,13 14-16,13-1 15,-13 0 1,13-13-1,-13 13 1,13-13 0,0 0-1,1 0-15,-1 0 16,0-13 0,0 0-1,-13 0-15,14 13 0,-1-14 16,-13 1-16,13 13 15,-13-13-15,0 39 32,13-12-17,-13-1 1,0 0-16,0 0 0,0 0 16,14 1-1,-1-14-15,-13 13 0,13-13 16</inkml:trace>
  <inkml:trace contextRef="#ctx0" brushRef="#br0" timeOffset="43034.08">22860 5212 0,'0'-13'0,"0"66"16,0-40-16,0 0 0,0 1 16,0-1-16,0 13 0,0-12 15,0-1-15,0 27 16,0-27-1,-13 0 1,0-26 0,-1 13-1,-12 13-15,13-13 16,-1 0-16,-12 26 16,13-26-16,-1 14 15,14-1-15,0 0 16,14 0-1,-1-13-15,0 0 0,14 0 16,-14 0-16,0-13 16,0 13-16,27-13 15,-27 13-15,-13-13 0,13 13 16,14-14 0</inkml:trace>
  <inkml:trace contextRef="#ctx0" brushRef="#br0" timeOffset="43307.84">22992 5371 0,'0'53'0,"-13"-27"16,13-12-16,0-1 16,0 0-16,-13 0 15</inkml:trace>
  <inkml:trace contextRef="#ctx0" brushRef="#br0" timeOffset="43454.75">22979 5318 0,'-13'-13'16,"0"13"-1</inkml:trace>
  <inkml:trace contextRef="#ctx0" brushRef="#br0" timeOffset="43706.81">23058 5358 0,'14'26'0,"-1"-12"16,-13-1-16,13 0 15,-13 0-15,0 0 16,0 1 0,-26 12-1,12-26 1,1 0-16,0 0 15</inkml:trace>
  <inkml:trace contextRef="#ctx0" brushRef="#br0" timeOffset="44617.08">22146 2738 0,'13'27'16,"-13"-1"-16,0 27 0,0 0 0,0 13 15,0 14-15,0-1 16,-13 14-16,13-14 0,0 14 0,0-1 0,13 160 16,0-173-16,-13-13 15,0 0-15,0 0 16,0-13-16,13 0 0,-13 53 15,0-79-15,0-1 0,0-13 16,0 0-16,0 1 16,0-1-16</inkml:trace>
  <inkml:trace contextRef="#ctx0" brushRef="#br0" timeOffset="44974.92">21431 4180 0,'291'-52'0,"-92"25"0,-80 1 16,13 12-16,-13-12 0,13 13 0,1-1 16,-1 1-16,252-13 15,-278 13-15,26 13 0,-40-14 0,14 14 16,-13 0-16,-14-13 16,146 13-1,-172-13-15,26 13 0,-52 0 0,-14 0 16,14 0-16,-14 0 0,0-13 15</inkml:trace>
  <inkml:trace contextRef="#ctx0" brushRef="#br0" timeOffset="47550.19">22106 4048 0,'26'-13'0,"-12"13"16,-1-27-1,-13 14-15,26-13 16,-26 13-16,0-1 16,14 1-16,-1-13 15,-13-1-15,13 14 0,-13 0 0,13-14 16,0 14-16,1-40 15,-1 40-15,-13-14 16,13 14-16,-13 0 0,13-14 0,-13 14 16,14-13-16,-1-27 15,-13 40-15,0-14 0,13-26 16,-13 27-16,13 13 16,-13-1-16,0 1 0,0-13 0,0 12 15,0 1-15,14 0 0,-14 0 16,0 0-16,0-1 0,0 1 0,0 0 15,0 0-15,0-1 0,0-12 0,13 13 16,-13-27 0,0 14-16,13-1 15,0 14-15,-13-14 0,13 14 16,-13 0-16,0 0 0,14-1 0,-14 1 16,26-13-1,-13 13-15,-13-1 16,14 14-1,-1-13-15,0 13 0,0 13 16,0 1 0,1-14-16,-1 13 15,-13 0-15,13 0 16,-13 0-16,13-13 16,-13 14-16,0-1 0,14-13 15,-14 13-15,0 0 0,13 1 0,-13-1 16,13 0-16,0 27 15,-13-14 1,14 1 0,-14-1-1,13 14 1,-13-27-16,13-13 0,-13 13 16,26 40-1,1-13 1,-14-27-1,-13 0-15,27 14 16,-14-14-16,0-13 0,-13 13 16,13-13-16,14 27 15,-14-14-15,0 0 16,0-13-16,-13 13 16,27 1-1,-14-14-15,0 13 0,1-13 0,-1 0 16,0 0-16,0 13 15,14-13-15,-14 13 0,13-13 0,-12 0 16,12 0-16,1 0 0,-1 0 0,-13 14 16,14-14-16,26 0 15,-27 0-15,1 0 0,-1 0 0,-13 0 16,14 13-16,-1-13 0,14 0 16,-14 0-16,1 0 0,26 0 15,-14 0-15,-12 0 0,13 0 16,-14 0-16,14 0 0,-14 0 0,1 0 15,12 13-15,-12-13 0,-1 0 16,1 0-16,-1 0 0,1 0 0,-14 0 16,40 13-1,-27-13-15,-13 0 0,1 0 0,12 0 16,-13 0 0,1 13-16,-1-13 0,0 0 0,0 0 15,0 0-15,14 0 16,-14 0-1,0 0-15,1 0 16,-1 14 0,0-14 15,0 0 0,1 0 797,-1-14-812</inkml:trace>
  <inkml:trace contextRef="#ctx0" brushRef="#br0" timeOffset="48421.11">23085 3492 0,'0'14'16,"13"-41"15,0 1-15,-13 13-16,14-1 0,-14-12 15,26-27 1,-26 40-16,0-14 0,13 14 0,-13 0 15,14 0-15,-14-14 0,0 14 16,13 0-16,-13-1 0,0 1 0,13 0 16,-13 0-16,0 0 15,13-1 1,-13 1-16</inkml:trace>
  <inkml:trace contextRef="#ctx0" brushRef="#br0" timeOffset="48845.69">22966 3307 0,'0'14'0,"0"-28"0,0 41 16,0-14-1,0 0-15,0 0 0,0 1 0,0-1 16,0 0-16,0 0 0,0 1 0,0 12 15,0-13-15,0 0 0,0 1 16,0-1-16,13 0 0,-13 0 16,0 1-16,13-14 0,-13 13 0,14-13 15,-1 13-15,13-13 16,-13 0-16,1 0 0,-1 0 16,13 0-1,27-13 1,-13 0-16,-27 13 15,0 0-15,1-14 16</inkml:trace>
  <inkml:trace contextRef="#ctx0" brushRef="#br0" timeOffset="50461.21">23336 3995 0,'-26'40'0,"13"-27"0,-1 14 15,-12-1-15,13 1 0,-27 25 16,14-12-16,-14 13 0,0 0 0,0 0 16,-12 13-16,12-13 0,0 0 15,-13 0-15,14 0 0,-1 0 16,13-14-16,-12 1 0,12 0 0,14-14 0,-13 1 16,12-14-16,1 0 0,0 0 15,0 0-15,13 1 0,-14-14 16,14 13-16,-13 0 0</inkml:trace>
  <inkml:trace contextRef="#ctx0" brushRef="#br0" timeOffset="50958.07">22675 4696 0,'-27'27'16,"1"12"0,13-12-16,-14 26 15,14-40-15,0 0 16,13 1-16,-14-1 0,1 26 16,13-25-1,13 12 1,1-26-16,25 13 15,-25-13-15,-1 0 0,0 14 16,0-14-16,1 0 0,-1 0 16,0 0-16,27 0 15,-27 0-15,13 0 16,-12 0-16,-1 0 16,0 0-1,0 0-15,1 0 16</inkml:trace>
  <inkml:trace contextRef="#ctx0" brushRef="#br0" timeOffset="56251.21">21841 6866 0,'0'-13'16,"14"39"-1,-1 14-15,-13-27 16,13 14-16,-13-14 0,0 0 15,0 0-15,0 14 0,13-14 16,-13 0-16,0 0 0,0 1 0,0-1 16,0 0-16,-13-13 0</inkml:trace>
  <inkml:trace contextRef="#ctx0" brushRef="#br0" timeOffset="56592.96">21894 6813 0,'-26'13'16,"26"0"-16,-13-13 0,-1 14 0,1-1 16,-13 13-1,12-12-15,1-1 0,0 0 16,0 0-16,0-13 0,13 14 15,-14-1-15,28-40 47,12 14-31,-13 13-16,0-13 0,1 13 16,-1 0-16,0 0 0,0 13 0,1-13 15,12 0-15,-13 13 0,1-13 0,12 27 16,-13-14-1,0-13-15,1 0 0,-14 13 0,13-13 16</inkml:trace>
  <inkml:trace contextRef="#ctx0" brushRef="#br1" timeOffset="88513.15">11218 9856 0,'-26'-14'16,"52"1"46,-12 13-62,25 0 0,-12 0 16,-1 0-16,1 0 0,12 0 16,54-13-16,-40 13 15,0 0-15,53 0 0,-53 0 16,13 0-16,-13 13 0,-1-13 0,1 0 15,0 0-15,0 0 0,0 0 16,0 0-16,-13 0 0,-1 0 0,28 0 16,-41 13-16,0-13 0,1 0 15,-1 0-15,-12 0 0,12 0 16,-13 0-16,1 0 0,-1 0 16,0 0-16,13-13 15,-12 13 1,-1 0-1,-13-13 1,13 13 0,0-13-1</inkml:trace>
  <inkml:trace contextRef="#ctx0" brushRef="#br1" timeOffset="89809.54">17304 9895 0,'26'0'15,"1"0"-15,-1 0 16,1 0-16,-1 0 16,0 0-16,41 14 0,-28-14 15,14 0-15,0 0 0,0 0 16,53 13-16,-53-13 0,79 13 15,-66-13-15,0 0 0,14 0 16,-1 0-16,67 13 16,-80-13-16,13 14 0,-26-14 0,13 0 15,67 0-15,-67 0 16,-13 0-16,0 0 0,13 0 0,-27 0 16,14 0-16,27 0 0,-14 0 15,-40 0-15,14 0 16,-14 0-16,27 0 0,-26 0 15,12 0-15,-12 0 16,-1 0-16,-12 0 0,12-14 0,-13 14 16,1 0-16,-1 0 0,0 0 15,0 0-15,14 0 0,-14 0 16,0 0-16,-53 0 31</inkml:trace>
  <inkml:trace contextRef="#ctx0" brushRef="#br1" timeOffset="90895.43">7395 10874 0,'-13'0'0,"53"0"32,-14 0-17,-13 0-15,14 0 0,12 0 0,14 0 16,0-13-16,0 13 0,0 0 15,13 0-15,67 0 0,-14-13 16,-67 13-16,15 0 0,-14 0 16,-1-13-16,15 13 0,38 0 15,-52-14-15,-13 14 0,26 0 16,-13-13-16,-40 13 16,14 0-16,-14 0 15,0 0-15,0 0 0,1 0 0,-1-13 0,0 13 16,0 0-16,1 0 15,-1 0 17,-13-13-1</inkml:trace>
  <inkml:trace contextRef="#ctx0" brushRef="#br1" timeOffset="92790.79">11787 10755 0,'27'0'0,"-14"0"15,0 0-15,0 0 16,1 0-16,-1 0 0,13 0 16,-13 0-16,14 0 15,-14 0-15,0 0 0,27 0 16,-27 0-16,1 0 0,-1 0 0,0 0 15,0 0-15,0 0 0,27 0 16,-27 0-16,1 0 16,-1 0-16,0 0 0,0 0 15,1 0-15,-1 0 16,0 0-16,0 0 0,0 0 0,14 0 16,-14 0-16,0 0 15,1 0-15,12 0 16,-13 0-16,0 0 0,1 0 0,25 0 15,-12 0-15,-14 0 16,40 0-16,26-13 16,-52 26-16,-1-13 0,1 0 15,-1 0-15,1 0 0,-1 0 16,1 0-16,12 0 0,-12 0 0,12 0 16,-12 0-16,13 0 0,-14 0 15,14 0-15,-1 0 0,1-13 16,0 13-16,-1 0 0,-12 0 0,13 0 15,52 0-15,-65 0 0,52 0 16,-52 0-16,65 0 16,-52 0-16,52 0 15,-39 0-15,0 0 0,-13 0 0,13 0 16,-13 0-16,-1 0 0,1 0 16,13 0-16,0 0 0,-14 13 0,14-13 15,40 0-15,-53 0 0,13 0 16,-1 0-16,-12 0 0,13 14 15,40-14-15,13 0 16,-1 13-16,-52-13 16,40 0-16,-40 0 15,53 0-15,-1 13 0,-52-13 16,0 0-16,53 0 16,-53 0-16,0 0 0,0 0 15,0 0-15,53 0 0,-1 0 16,-52 0-16,0 0 15,0 0-15,0 0 0,40 0 16,-40 0-16,52 0 0,-52 0 16,0 0-16,40 0 15,0 13-15,-1-13 16,-52 0-16,0 0 0,-1 0 16,14 0-16,40 0 15,-27 13-15,-26-13 0,-14 0 16,40 0-16,-13 0 15,-26 0-15,25 0 16,-25 0-16,-14 0 0,27 0 16,-14 0-16,-13 0 0,1 0 15,12 0 1,-13 0-16,1 0 0,-1 0 16,0 0-16,0 0 31,1 0-16,-1 0 1,-26-13 47</inkml:trace>
  <inkml:trace contextRef="#ctx0" brushRef="#br1" timeOffset="94131.77">6469 11165 0,'13'-13'47,"1"0"-47,12-27 16,27 1-1,-40 25-15,0-12 0,14 13 16,13-27-16,-1 0 15,-26 27 1,1 0-16,12-14 0,-13 14 16,-13 0-1,0 0-15</inkml:trace>
  <inkml:trace contextRef="#ctx0" brushRef="#br1" timeOffset="94371.25">6628 10742 0,'26'0'16,"-12"0"-16,25 13 16,-12 14-16,-1-1 15,-13-13-15,14 14 16,-14-14-16,-13 0 0,0 14 0,13-1 15,-13 1 1,-13-14-16,13 0 0,-13 14 16,0-14-16</inkml:trace>
  <inkml:trace contextRef="#ctx0" brushRef="#br0" timeOffset="119662.75">582 8599 0,'0'79'31,"13"-52"-16,-13-1-15,0 1 0,14-1 16,-14-13-16,0 14 0,13-1 0,-13 1 16,0-1-16,0-13 15,13 27-15,-13-27 0,0 1 0,13-1 16,-13 0-16,0 0 0,13-13 16</inkml:trace>
  <inkml:trace contextRef="#ctx0" brushRef="#br0" timeOffset="120192.35">529 8678 0,'13'-39'16,"1"39"-16,-1-14 16,0 1-16,14 13 0,-14 0 15,26-13-15,-25 13 0,-1 13 16,0-13-16,0 13 0,1 1 15,-14-1-15,0 0 0,0 0 16,0 1-16,0-1 0,0 0 16,0 0-16,-14 0 0,14 1 0,0-1 15,0 0 1,14-13 0,-1 0-16,13 0 0,-12 0 15,-1 0-15,13 0 16,-13 13-16,1-13 15,-1 0-15,-13 14 0,0-1 16,0 0-16,0 14 16,-13-14-16,-1 13 0,-12 1 0,-14 12 15,27-25-15,-13-1 0,12 0 16,1 0-16,-13-13 0,12 14 16,1-14-16,0 13 0,0-13 15,0 0-15</inkml:trace>
  <inkml:trace contextRef="#ctx0" brushRef="#br0" timeOffset="121496.07">926 8665 0,'0'-13'0,"-13"26"16,13 0 0,0 1-16,0-1 15,13 0-15,-13 0 16,13 0-16,-13 1 16,13-14-16,-13 13 15,14-13 1,-1-13-1,-13-14 1,13 14 0,-13 0-1,-13-14 1,13 14 15,0 0-15,13 39 31,0-26-32,1 14 1,-1-14 0,0-14-1,0 1 1,-13 0-16,0 0 15,0-1 1,14 1 0,-14 0-1,0 39 17,13-26-17,-13 14-15,13-1 16,0-13-16,0 0 15,1 0 1,-1-13-16,-13-1 16,13 14-16,-13-13 0,13 0 15,-13 0-15,14 13 16,-14-14-16,13 14 16,0 14-1,-13-1-15,13-13 0,1 53 31,-1-27-31,-13-12 0,0-1 16,0 26-16,0-25 0,0-1 16,0 13-16,0-12 15,0-1-15,0 0 0,0-39 47,0 12-47,0 1 0,13-27 31,0 14-31,-13 13 0,0 0 0,13-1 16,-13-12-16,0 13 0,0-1 16,0 1-16,0 0 0,0-14 15,0 14 1,0 40 46,14-14-46,-1-13-16,0 0 16,0 0-1,1 0 1,-1 0-16,-13 13 16,13-13-1,-13 13 1,0 1-16,-13-14 15,13 13-15,-13 0 16</inkml:trace>
  <inkml:trace contextRef="#ctx0" brushRef="#br0" timeOffset="121772.37">1521 8189 0,'0'-13'0,"14"39"16,-1 1-1,0 12-15,0-26 0,-13 14 16,14-1-16,-1-12 0,-13 12 16,13 14-16,0-27 0,-13 13 15,13-12-15,-13 25 16,14-25-16</inkml:trace>
  <inkml:trace contextRef="#ctx0" brushRef="#br0" timeOffset="122711.56">1574 8493 0,'0'-13'16,"14"0"-1,-14-1-15,13 1 0,-13 0 16,13 0-16,0 0 15,-13-1-15,13 1 0,-13 0 16,14-14-16,-14 14 0,0 0 16,0 0-16,13-1 0,-13 1 15,0 0-15,0 0 16,0 0-16,0-1 31,0 54-15,13-14-1,-13-12 1,0-1-16,0 0 16,0 0-16,0 1 15,13-14-15,-13 13 0,0 0 16,14 0 0,-1-13-1,0 0 1,0 0-1,-13-13-15,13 13 0,-13-13 16,14 0 0,-14 26 46,13 0-46,0-13-1,0 0 1,1 0 0,-14-13-16,13 13 15,-13-13-15,0-1 16,13 14-16,-13-13 0,0 0 16,13 0-16,-13-1 15,-13 41 48,13-14-48,0 0 17,27-26-1,-14 13 0,0 0 0,0 13-15,-13-26 15,0 0-15,13 13-1</inkml:trace>
  <inkml:trace contextRef="#ctx0" brushRef="#br0" timeOffset="123126.5">1984 8308 0,'14'-27'15,"-1"41"79,13-14-63,-26-14-31,14 14 16,-1 0-16,0-13 16,0 13-1,0 0 1,1 0 15,-1 0-15,0-13-1,-13 0 1,13 13 0,1-13-16</inkml:trace>
  <inkml:trace contextRef="#ctx0" brushRef="#br0" timeOffset="132513.63">2355 7924 0,'0'-13'0,"13"13"16,0-13-1,0 26 17,14 27-17,-14-27 1,-13 13-16,27 1 0,-14 13 16,0-1-16,14 1 0,-14 13 0,13 0 15,-13 13-15,14-13 0,-1 0 0,1 13 16,-1-13-16,-12 13 15,12 0-15,0 0 0,-12-13 0,12 13 0,-13-13 16,1 13-16,12-26 0,-13 13 16,1-13-16,-14-1 0,13 1 0,0 0 15,0-1-15,0 14 16,-13-26-16,0-1 0,0-13 0,0 14 16,14-14-16,-14 14 0,0-14 15,0 0-15,0 0 0,0 1 16,-14-1 15,1-13-31,0 0 16,0 0-16,-27 0 15,14-13-15,-1 13 16</inkml:trace>
  <inkml:trace contextRef="#ctx0" brushRef="#br0" timeOffset="133954.57">688 9247 0,'93'-39'15,"-54"12"-15,14 1 0,0-1 0,0 1 16,132-67 0,-105 67-16,52-41 0,-66 41 15,53-27-15,-53 27 16,-13-1-16,0 1 0,0-1 0,-13 14 0,-1-13 16,-12 26-16,-1-14 0,-13 1 15,1 13-15,-1 0 0</inkml:trace>
  <inkml:trace contextRef="#ctx0" brushRef="#br0" timeOffset="134202.7">900 9274 0,'357'-133'16,"-291"107"-16,-13-1 0,66-12 15,-26-1-15,-67 27 0,14 0 16,-14-1-16,1 1 0,-14 13 16,0 0-16,27-13 15,-40 0-15,13 13 0</inkml:trace>
  <inkml:trace contextRef="#ctx0" brushRef="#br0" timeOffset="162938.37">20585 12211 0,'0'-27'0,"0"14"31,0 53 0,0-27-15,0 0-16,0 0 0,-14 14 0,14 26 31,-13-14-31,13-26 0,0 14 16,-13-14-16,13 0 0,0 1 0,0-1 16,0 0-16,0 0 15,0 1 1</inkml:trace>
  <inkml:trace contextRef="#ctx0" brushRef="#br0" timeOffset="163337.76">20770 12277 0,'-13'-27'16,"-1"40"0,14 1-16,0 12 15,0-13 1,0 1-16,0-1 0,0 0 0,14 0 16,-14 0-16,13-13 0,0 14 15,0-14-15,0 0 0,1 0 0,12-14 16,-13 14-1,1-13-15,-14 0 0,13 0 0,-13 0 16,13 13-16,-13-14 0,0 1 16,0 0-16,0-14 0,-13 27 15,13-13-15,0 0 0,-13 13 16,-1-13-16,1 0 0,0 13 16,13-14-1,-13 14-15,-1 14 16,1-14-1</inkml:trace>
  <inkml:trace contextRef="#ctx0" brushRef="#br0" timeOffset="163647.62">20955 12197 0,'13'27'15,"-13"-14"-15,0 0 16,0 0-16,0 1 0,13-14 0,-13 13 0,14 0 16,-1 0-16,0-13 15,14 0 1,-1-13 0,-26 0-16,13 13 0,-13-13 15,0-14 1,0 14-16,-13 0 0,13 0 15,-13 13-15,13-14 0,-13 1 0,-1 0 16,1 13 0,0 0-16,0 0 15,13 13 1</inkml:trace>
  <inkml:trace contextRef="#ctx0" brushRef="#br0" timeOffset="164121.88">21206 12144 0,'-26'0'16,"13"27"-1,13-14-15,-14 0 0,14 1 16,0-1-16,0 0 15,0 0-15,0 0 0,14-13 0,-14 14 16,13-1-16,0-13 16,-13 13-16,27-13 15,-14-13-15,0 13 0,0-13 0,0-14 32,1-26-17,-28 40-15,14 0 16,-13 0-16,0-1 15,13 1-15</inkml:trace>
  <inkml:trace contextRef="#ctx0" brushRef="#br0" timeOffset="164501.59">21537 12078 0,'13'40'16,"1"-40"-16,-1 13 16,0 0-16,-13 1 0,13 12 0,0-13 15,1 1-15,-14-1 0,13 0 0,0 0 16,-13 0 0,0 1-16,0-1 0,0 0 0,-13 0 15,0-13-15,13 14 0,-14-14 16,1 13-16,0-13 0,0 0 15,0 0-15,-1 13 0,1-13 0,0-13 16,0 13 0,13-13-16</inkml:trace>
  <inkml:trace contextRef="#ctx0" brushRef="#br0" timeOffset="164717.25">21841 12039 0,'0'-14'16,"14"41"-1,-1 12 1,-13-25-16,0 12 16,13-13-16,-13 1 0,13 12 15,-13-13-15,14 14 16,-14-14-16,13 0 0,-13 0 15,13-13-15,-13 14 16</inkml:trace>
  <inkml:trace contextRef="#ctx0" brushRef="#br0" timeOffset="165138.81">21736 12197 0,'26'-13'0,"-13"0"16,0 13-16,1 0 0,-1 0 15,0-13-15,14 13 0,-1 0 16,1-14-16,-14 14 16,0 0-16,0 0 0,0 0 15,1 14-15,-1-14 16,-13 13-16,13 0 15,-13 0-15,13 1 16,1-1-16,-14 0 0,13-13 16,-13 13-16,13-13 0,0 0 15,0 13-15,1-13 0,12-13 16,-13 0 0,1 0-16,-14 0 15,0-1-15,-14 1 16,1-13-16,0 12 15,0 14-15,-1-13 0,-12 0 16,13 13 0,-14 0-16,14 13 15,0-13-15</inkml:trace>
  <inkml:trace contextRef="#ctx0" brushRef="#br0" timeOffset="165430.85">22066 12144 0,'27'14'0,"-14"-1"16,0 0-1,-13 0-15,13 1 16,-13-1 0,14-13-16,-14 13 15,13-26 1,0 0-1,0-1-15,-13 1 0,14 0 16,-1 0-16,-13-1 16,13 1-16,-13 0 0,13 0 0,0-1 15,1 14 1,-1 14 15,-13-1-31</inkml:trace>
  <inkml:trace contextRef="#ctx0" brushRef="#br0" timeOffset="165769.96">22384 12184 0,'26'-26'0,"-13"-1"31,-39 14-15,-14 39-1,27-12 1,13-1-16,-13-13 0,13 13 16,0 0-16,13-13 15,-13 14-15,13-14 0,1 0 16,-1 0-16,0 0 0,0 0 0,0 0 16,1 0-16,-1 0 15,0 0-15,0 0 0,1 0 16,-14 13-16,-14 13 31,-25-13-15,25 1-16,-12-14 15,0 13-15,12-13 16,1 13-16</inkml:trace>
  <inkml:trace contextRef="#ctx0" brushRef="#br0" timeOffset="166147.79">21193 12634 0,'185'-40'0,"-132"40"0,13-13 15,14 0-15,-1-1 0,1 14 0,-14-13 16,13 0-16,0 0 0,14 13 16,66-27-16,-93 27 0,-13 0 15,53-13-15,-67 13 16,-12 0-16,26-13 15,-40 13-15,0 0 0,0 13 16,-52 0 0,25-13-16,-12 14 15,-14-14-15,-13 13 0,14 0 16,-14-13-16,-27 13 0</inkml:trace>
  <inkml:trace contextRef="#ctx0" brushRef="#br0" timeOffset="166376.01">21246 12713 0,'13'0'0,"14"0"15,52 0-15,27-13 16,-40 13-16,80-13 16,-67 13-16,-26 0 0,13 0 15,-13 0-15,53-13 0,-67 13 0,1 0 16,26 0-16,-39-14 15,-14 14-15,40 0 16,0-13-16,-40 0 0,14 0 16,-1 13-16,14-27 15</inkml:trace>
  <inkml:trace contextRef="#ctx0" brushRef="#br0" timeOffset="167139.56">23389 12131 0,'-92'0'0,"65"0"15,-13 13-15,14-13 0,-14 0 16,-13 14-1,14-1-15,-1 0 16,14 0-16,12-13 16,-12 14-16,13-14 0,-1 13 15,1-13-15</inkml:trace>
  <inkml:trace contextRef="#ctx0" brushRef="#br0" timeOffset="167398.04">23045 12091 0,'-26'14'0,"-1"-1"16,14 0 0,-27 14-16,27-14 15,0 0-15,0 0 0,-1 14 16,1-14-16,13 0 0,-13 14 15,26-1-15,-13-13 16,27 1-16,-1-1 16,93-265-16,-185 504 0,119-252 15,-27 0-15,27 0 16,0 0-16</inkml:trace>
  <inkml:trace contextRef="#ctx0" brushRef="#br0" timeOffset="170093.9">13851 12144 0,'0'-13'0,"-13"40"15,-1-1-15,14-13 16,0 14-16,-13-14 0,13 0 15,0 0-15,0 1 0,0-1 0,13 0 16,-13 0-16,0 1 16,0-1-16,14 0 0,-1-13 15,0 0 1,0 0-16,14 0 16,-14 0-16,0 0 15,-13 13-15,14-13 0,-14 13 16,13 1-16,0-1 0,0 0 15,0-13 1,-13 13-16,14-13 0,-1-13 16,0 0-16,0 13 15,-13-13-15,0-1 0,14 1 16,-14 0-16,0 0 0,13 0 16,-13-1-16,0 1 0,0 0 0,0 0 15</inkml:trace>
  <inkml:trace contextRef="#ctx0" brushRef="#br0" timeOffset="170799.43">14274 12250 0,'-26'0'0,"13"13"16,-1-13-16,-12 27 16,26-14-16,-13 0 15,-1 14-15,14-14 0,0 0 16,-13 0-1,40-13 1,-14-13 0,13 13-1,-26-13 1,14 26 0,-1-13-16,0 0 15,0 0 1,14 0-1,-27-13-15,26 0 16,-26 0-16,13-1 0,1 1 0,-1 0 16,-13 0-16,13-14 0,0 1 15,-13 13-15,14-14 0,-14 1 0,13-1 16,-13 14-16,13-14 0,-13 1 16,0 13-16,13 0 0,-13-1 15,-13 41 16,13-14-15,-13 0-16,13 0 0,0 1 0,0 12 16,0-13-16,0 1 0,0 12 0,0-13 15,0 1-15,13-1 0,-13 0 16,13 0-16,0 0 16,14-26-1,-14 0-15,0 13 16,-13-13-1,14 13-15,-1 0 16,0 26 0,0-13-1,1 1-15,-14-1 16,13-13-16,0 0 16,13 0-1</inkml:trace>
  <inkml:trace contextRef="#ctx0" brushRef="#br0" timeOffset="171226.16">14235 12158 0,'39'-14'15,"-12"14"1,-14 0-16,0 0 0,14 0 16,-14 0-16,40-13 15,-40 26-15,27-13 16,-27 0-16,0 0 0,0 0 0,1 14 16,-1-14-16,0 0 0,0 13 15,1 0-15,-1 0 16,0 1-1,0-14 1,-13 13 0,13-26-16,1-1 15,-1 1-15,27-27 32,-27 40-32,0-13 0,0 0 15,1 13-15,-1 0 16,0 0-1,-26 13-15,13 14 16</inkml:trace>
  <inkml:trace contextRef="#ctx0" brushRef="#br0" timeOffset="171530.99">13719 12581 0,'39'-13'15,"14"-1"-15,0 1 0,40 0 16,13 0-16,-67 13 15,14-13-15,0 13 0,0-14 16,0 14-16,0-13 0,-13 13 0,12 0 16,-25 0-16,-1 0 15,1 0 1</inkml:trace>
  <inkml:trace contextRef="#ctx0" brushRef="#br0" timeOffset="171780.01">13811 12674 0,'106'-14'0,"-53"14"15,106-26 1,-93 13-1,-26 13-15,13 0 16,-27 0-16,40-14 16,-53 14-16,1 0 0,12-13 15,-13 13-15,0 0 16,1 0-16,-1 0 0</inkml:trace>
  <inkml:trace contextRef="#ctx0" brushRef="#br0" timeOffset="173348.43">14737 12052 0,'14'-13'0,"-14"-1"0,-14-12 15,14 13 1,-39-27 0,12 13-16,-13 14 15,14 0-15,-53-27 0,39 14 16,-13 13-16,-40-27 0,-26 14 15,40 26-15,26-14 16,-13 14-16,13 0 0,-26 0 0,12 14 16,-12-1-16,-80 26 15,67 1-15,12 0 0,-12-1 0,26 14 16,-80 53-16,27 13 16,79-66-16,14 0 0,-1 0 15,1 0-15,26 0 0,-13 0 16,39 39-16,27 14 15,-13-53-15,0-13 0,26 0 0,-13-14 16,13 14-16,79 13 16,1-14-16,-67-25 0,0-1 15,1-13-15,12 0 0,-12 0 0,-1-13 16,1-1-16,12 1 16,67-27-16,-53 14 0,39-27 15,-79 27-15,1-14 0,-1 13 0,-13 1 16,0-14-16,-1 14 15,-12-1-15,0-12 0,26-28 16,-40 41-16,1-14 0,-14 14 0,14-14 16,-14 0-16,-13-39 15,0 53-15,0-14 0,-13 0 0,-27-39 16,13 39-16,-12 1 16,-1 12-16,0-13 0,-13 14 0,1-1 15,-107-25-15,66 25 16,54 27-16,12 0 15,-26 0-15,40 0 16,-14 0-16</inkml:trace>
  <inkml:trace contextRef="#ctx0" brushRef="#br0" timeOffset="176091.14">15214 12144 0,'39'0'16,"-26"0"-16,27-13 15,0 13-15,-14 0 0,14 0 16,66-13-16,-53 13 15,0 0-15,13 0 0,0 0 0,93-13 16,-80 13-16,0 0 16,14-14-16,0 14 0,-14 0 0,0 0 0,14-13 15,-14 13-15,1 0 16,65-13-16,-65 13 0,-1-13 16,67 13-16,-67 0 0,66-13 15,-78 13-15,12-14 16,-13 14-16,0 0 0,53 0 15,-66 0-15,0 0 0,13 0 16,-13 0-16,-13 0 0,13-13 16,-13 13-16,-14 0 0,0 0 0,1 0 0,-1 0 15,-12 0-15,25 0 16,-26 0-16,1 0 16,-14-13-16,0 0 46,-14-1-46</inkml:trace>
  <inkml:trace contextRef="#ctx0" brushRef="#br0" timeOffset="176394.04">18098 11814 0,'66'39'16,"-40"-39"-16,1 27 0,-1-27 15,-13 13-15,0 0 0,1 0 0,12 14 16,-13-14-16,-13 14 15,0-14-15,0 0 0,-13 0 0,-13 40 16,-14 0 0,-26 0-16,-40 13 15,80-53-15,-14 14 16,13-14-16</inkml:trace>
  <inkml:trace contextRef="#ctx0" brushRef="#br0" timeOffset="181162.7">18706 12078 0,'-13'-13'0,"-14"13"0,14 0 15,0 0-15,0 13 0,-1-13 16,1 0-16,13 13 16,-13-13-16,13 14 15,0-1-15,13 0 16,0 0-16,1 1 16,-1-14-16,27 13 0,-27 0 15,0-13-15,13 13 0,-12-13 16,-14 14-16,13-14 0,0 13 15,0 0-15,-13 0 16,0 14-16,-13-14 16,13 0-1,-26 0-15,26 1 0,-14-14 0,1 13 16,0-13 0,0 0-16</inkml:trace>
  <inkml:trace contextRef="#ctx0" brushRef="#br0" timeOffset="181394.71">18957 11986 0,'14'0'15,"-28"0"-15,41 13 0,-27 0 16,0 0-16,13 1 0,-13-1 15,0 26 1,0-12-16,0-14 0,0 27 16,0-27-16,0 0 0,0 1 15,0-1-15,0 0 16</inkml:trace>
  <inkml:trace contextRef="#ctx0" brushRef="#br0" timeOffset="181835.51">18904 12171 0,'53'-27'15,"-39"27"-15,-1-13 0,0 13 16,0 0-16,14-13 0,-14 13 15,0 0-15,0-13 0,1 13 0,-1 0 32,0 13-32,-26 0 15,13 0 1,0 1-16,0-1 16,0 0-16,13-13 0,-13 13 15,13 1-15,1-14 16,-1 13-16,0-13 15,27-13-15,-27 13 16,0-14-16,0 1 16,-13 0-16,14 13 0,-14-13 15,0-1-15,-14 1 16,1 13-16,13-13 0,-13 13 16,-13 0-1,12 0-15,-12 13 31</inkml:trace>
  <inkml:trace contextRef="#ctx0" brushRef="#br0" timeOffset="182402.65">19341 12091 0,'-13'27'16,"0"-14"0,13 0-16,0 1 0,0-1 15,0 0-15,0 0 16,13 1-16,0-1 0,0-13 16,1 13-1,-1-13-15,0 0 0,-13-13 16,13 13-16,0 0 0,1-13 15,-14-1-15,13 14 16,-13-13-16,0-27 16,0 14-1,0-1-15,0 14 16,-13 0-16,13 0 0,0 0 16,0-1-1,0 1-15,13 13 0,-13-13 16,13 13-16,0 0 15,1 0-15,-1 13 16,0-13 0,-13 13-16,0 1 0,-13 12 15,13-13 1,-13 0-16,-1-13 16,14 14-16,-13-1 0,0 0 15,13 0 1,0 1-16,13-1 15,0-13-15,1 0 16,-1 0-16,13 0 16,-13 0-1,1 0-15,-14 13 0,13-13 16,-13 13 0</inkml:trace>
  <inkml:trace contextRef="#ctx0" brushRef="#br0" timeOffset="182679.18">18918 12515 0,'211'-40'16,"-171"40"-16,53-13 15,-40 13-15,39-13 0,-65 13 16,12 0-16,1-14 0,-14 14 16,1 0-16,-14 14 15</inkml:trace>
  <inkml:trace contextRef="#ctx0" brushRef="#br0" timeOffset="182944.61">18825 12568 0,'93'-14'16,"-54"14"-1,54-13-15,0 0 16,-67 13-16,40 0 16,0-13-1,-39 13-15,-14 0 0,0 0 16,14 0-16,-14 0 0,0 0 16,0 0-16,1 0 15,-1 0 1</inkml:trace>
  <inkml:trace contextRef="#ctx0" brushRef="#br0" timeOffset="185580.09">23323 7951 0,'26'0'31,"-12"0"-31,12 0 16,-13 0-16,14 0 0,79 13 16,-80-13-1,14 0-15,-14 0 0,1 0 0,-1 0 0,40 0 32,-52 0-32,-1 0 0,0 0 0,0-13 15,0 13-15,1 0 0,-1 0 16,-13-13-1</inkml:trace>
  <inkml:trace contextRef="#ctx0" brushRef="#br0" timeOffset="185903.8">23707 7818 0,'26'14'16,"-13"-14"-16,40 26 16,-40-13-16,14 1 0,-14-1 0,0-13 15,1 13-15,-1 0 0,0 1 0,0-1 16,1 0-16,-14 0 15,13 0-15,-13 1 0,0-1 16,0 0-16,-13 0 0,-1 1 16,1-1-16,0 0 15,0-13-15,-1 13 16</inkml:trace>
  <inkml:trace contextRef="#ctx0" brushRef="#br0" timeOffset="187507.13">23323 9194 0,'40'0'16,"-27"0"-16,27 0 16,-14-13-16,-13 13 15,27 0-15,-27 0 16,14 0-16,-14 0 0,0 0 0,0 0 15,1 0-15,-1 0 0,13 0 16,-12 0 0,-1 0-1</inkml:trace>
  <inkml:trace contextRef="#ctx0" brushRef="#br0" timeOffset="187787.43">23654 9088 0,'39'27'15,"-25"-27"-15,-1 26 16,13 14-1,-12-40-15,-14 13 0,0 14 16,0-14-16,-14 0 16,14 0-16,-13-13 0,13 14 15,-13-1-15,0-13 16,13 13-16,-14-13 0</inkml:trace>
  <inkml:trace contextRef="#ctx0" brushRef="#br0" timeOffset="191519.99">24090 7289 0,'0'27'15,"14"-14"-15,-14 0 0,0 0 0,0 1 16,0-1-16,0 0 0,0 14 16,0-1-16,0 0 15,0-12-15,0-1 0,0 0 16,0 0-16,0 1 0</inkml:trace>
  <inkml:trace contextRef="#ctx0" brushRef="#br0" timeOffset="191814.76">24064 7501 0,'13'40'31,"0"-40"-16,1 0-15,-1 0 0,0 13 16,0-26 0,0 13-16,1 0 0,-1-14 15,0 14-15,0-13 0,1 0 16,-14 0 0,13 13-16,-13-14 0,0 1 15,0 0-15</inkml:trace>
  <inkml:trace contextRef="#ctx0" brushRef="#br0" timeOffset="192424.06">24553 7236 0,'-13'40'15,"0"0"1,13-27 0,0 0-16,0 0 0</inkml:trace>
  <inkml:trace contextRef="#ctx0" brushRef="#br0" timeOffset="192719.54">24646 7302 0,'0'53'0,"13"-53"16,0 14-16,1-14 0,-1 0 16,0 0-1,0-14-15,14-12 16,-27-1 0,-13 14-1,13 0 1,-14 0-16,1 0 0,13-1 15</inkml:trace>
  <inkml:trace contextRef="#ctx0" brushRef="#br0" timeOffset="193174.94">24606 6959 0,'-119'13'16,"93"0"-16,-14 0 0,14 14 0,12-1 15,-12 14-15,-1-14 0,-12 54 16,39-41-16,-13 1 0,13-14 16,0 1-16,13 39 15,-13-39-15,13-1 0,13 0 16,-12 1-16,12-1 0,1-12 0,26 12 15,-27-13-15,0-13 0,-12 14 16,12-14-16,1 0 0,-1 0 16,0 0-16,1-14 0,39 1 15,-39 0-15,-1 0 0,0 13 0,-12-14 16,12 1-16,-13-13 16,1 12-16,-1 1 0,-13-13 0,13 13 15,-13-1-15,13 1 0,-13 0 0,0 0 16,0-14-16,-13 14 0,13-14 15,-13 14-15,13-13 0,-13 13 0,-14-14 16,1-26-16,12 40 0,1-13 16,0 12-16,0 1 15,0 0-15,-1 13 0,1-13 0,13-1 0,-13 14 16,0 0-16,13-13 0,-14 13 16,1 0-16,0 13 15,0-13-15</inkml:trace>
  <inkml:trace contextRef="#ctx0" brushRef="#br0" timeOffset="195150.14">24236 7977 0,'0'40'0,"0"-27"16,0 14-16,0-14 0,-13 13 15,13-13-15,0 1 16,-14-14-16</inkml:trace>
  <inkml:trace contextRef="#ctx0" brushRef="#br0" timeOffset="195510.75">24368 8030 0,'-13'13'31,"13"1"-16,26 25 1,1-12 0,-14-27-16,0 0 15,1 0-15,12 0 16,-13-14 0,-13 1-16,13 13 0,-13-13 15,0 0-15,0-14 16,-13 27-16,13-13 0,0 0 15,-13 13-15,13-13 0,-13-1 16,0 14-16,-1-13 16,1 13-16</inkml:trace>
  <inkml:trace contextRef="#ctx0" brushRef="#br0" timeOffset="195890.03">24606 8004 0,'27'39'15,"-27"-25"-15,13-1 16,0-13-16,0 13 0,1-13 15,-1-13 1,0 13 0,0-13-1,-13-1-15,0 1 16,0 0 0,-13 0-1,0 13 32,0 0-31,-1 0-1</inkml:trace>
  <inkml:trace contextRef="#ctx0" brushRef="#br0" timeOffset="196142.31">24606 8043 0</inkml:trace>
  <inkml:trace contextRef="#ctx0" brushRef="#br0" timeOffset="196678.69">24395 8043 0,'39'0'0,"-25"-13"0,-1 13 16,-79 13-16,145-26 0,-79 0 0,13 13 16,0 0-16,1 0 15,-41 0 16,14 0-31,0 13 16,0-13-16,-1 13 16,1-13-16,13 14 15,-13-14-15,13 13 0,0 0 16,0 0-16,0 0 16,13 1-16,0-1 15,-13 0-15,14-13 0,-14 13 0,13-13 0,-13 14 16,13-1-1,-13 0-15,-13 0 16,13 1-16,-13-14 16,-1 13-16,1-13 0,13 13 15,-13-13-15,0 0 0,-1 13 0,1-13 16,0 0-16,0 0 0,-1 0 16,1 0-1,13-13-15</inkml:trace>
  <inkml:trace contextRef="#ctx0" brushRef="#br0" timeOffset="197023.47">24606 8057 0,'0'39'31,"0"-26"-15,13 1-16,1-1 16,-14 0-16,13-13 0,0 13 0,14-13 15,12 0 1,-25 0-16,-1 0 16,0-13-16,0 13 0,0-13 15,-13 0-15,14 13 0,-14-27 16,0 14-16,-14 0 15,14 0-15,-13 13 0,0-14 0,0 1 16,0 13-16,-1 0 16,-12 0-16,13 0 0,-14 0 15,14 13-15,0-13 0,-1 14 16,-12-14-16,26 13 0</inkml:trace>
  <inkml:trace contextRef="#ctx0" brushRef="#br0" timeOffset="198170.51">24170 8427 0,'66'-26'16,"0"12"-16,-13 14 0,40-13 16,-54 13-16,14-13 0,40 13 15,-40 26-15,-67-65 0,41 39 16,92 39-16,-212-78 0,120 39 0,12 0 0,-65 0 16,52 0-16,-12 0 0,-1 0 0,0 0 15</inkml:trace>
  <inkml:trace contextRef="#ctx0" brushRef="#br0" timeOffset="198737.66">24328 8467 0,'159'-14'0,"-132"14"0,-1 0 16,-13 0-16,14 0 0,-1-13 15,-13 13-15,1 0 0,-1 0 0,0 0 16,0 0-16,1 0 0,-1 0 0,0 0 16,0 0-1,1 13-15,-1-13 16,0 0-1,0 0 17,0 0 30</inkml:trace>
  <inkml:trace contextRef="#ctx0" brushRef="#br0" timeOffset="202258.74">24130 9194 0,'66'40'15,"-66"-27"-15,0 0 16,-13 1 0,0-1-16,-1 0 0,1 0 0,-13 14 15,13-27-15,-1 13 0,1 0 16,0 0-16,0-13 16,-1 0-16,1 14 0,40-14 46,-14 0-46,0 0 16,0-14-16,1 14 0,-1 0 0,0 0 16,27-13-16,-14 13 0,14-13 15,-27 13 1</inkml:trace>
  <inkml:trace contextRef="#ctx0" brushRef="#br0" timeOffset="202576.73">24395 9208 0,'-27'13'0,"14"0"16,26 0 0,-13 0-16,0 1 15,13-14-15,14 26 16,-14-26-1,0 0-15,1 0 0,-1-13 32,-13 0-32,0-1 0,0 1 15,-13 13-15,13-13 16,-14 13 0,14-13-16,-13 13 0</inkml:trace>
  <inkml:trace contextRef="#ctx0" brushRef="#br0" timeOffset="202854.52">24540 9274 0,'27'26'0,"-14"-26"16,13 0-1,-13-13 1,1 0-16,-1-1 0,-13 1 16,0 0-1,0 0-15,-13 0 16,-1 13-16,1 0 15,0 0-15,0 13 16,0-13-16,-1 0 0,1 13 0</inkml:trace>
  <inkml:trace contextRef="#ctx0" brushRef="#br0" timeOffset="207205.83">22820 8890 0,'0'-13'0,"-13"13"94,0 0-31,26 13 15,-13 13-63,0-12-15,0-1 16,0 0-16,-13 0 16,13 1-16,0-1 15,0 0 1</inkml:trace>
  <inkml:trace contextRef="#ctx0" brushRef="#br0" timeOffset="207697.04">22939 8890 0,'27'0'0,"-14"0"16,0 13-16,-13 0 15,14 1-15,-14-1 0,13 13 16,-13 1-1,-13-1 1,-1-12-16,14-1 16,-13-13-16,0-13 31,13-1-15,13 1-1,14-13 1,-27 12-16,13 1 15,-13 0-15,0 0 16,13-1-16,-13 1 0,0 0 16,0 0-16,-13 0 15,13-1 1,-13 1-16,-1 13 16,1-13-16,0 13 31</inkml:trace>
  <inkml:trace contextRef="#ctx0" brushRef="#br0" timeOffset="207957.64">23138 8877 0,'13'0'0,"0"0"15,1 13 1,-1-26-16,0 13 16,-13-13-16,0-1 15,0 1 1,0 0-16,-13 13 16,13-13-16,-13 13 15,-1 0-15,1 0 16,0 13-16,0-13 15,-1 13-15</inkml:trace>
  <inkml:trace contextRef="#ctx0" brushRef="#br0" timeOffset="208519.71">22966 9260 0,'-13'53'0,"13"-39"16,0-1-16,-14 13 15,14 1-15,0-14 0,0 13 16,0 1-16,0-14 16,14 0-16,-1-13 15,0 14-15,14-14 16,-1 0-16,-13 0 0,14 0 15,-14 0-15,53 0 16,-26-14-16,-27 14 0,27 0 16,-27-13-16,0 13 15,0 0-15,1 0 16</inkml:trace>
  <inkml:trace contextRef="#ctx0" brushRef="#br0" timeOffset="208765.21">23363 9353 0,'26'13'15,"1"27"1,-27-27-16,0 0 15,0 1-15,0-1 16,0 0-16,-14 0 0,1 14 16,0-1-16,0-13 15,-1 1-15,1-1 16</inkml:trace>
  <inkml:trace contextRef="#ctx0" brushRef="#br0" timeOffset="-213826.1">6734 12422 0,'53'0'15,"-40"0"-15,0 0 16,0 0-16,0 0 0,14 0 15,-14 0-15,14 0 0,-1 0 16,-13 0-16,1 0 0,-1 0 16,0 0-16,0 0 0,0 0 0,1 0 15,-1 0-15,0 0 16,0 0-16</inkml:trace>
  <inkml:trace contextRef="#ctx0" brushRef="#br0" timeOffset="-213498.88">6972 12290 0,'26'13'16,"-13"-13"-16,27 27 15,-27-14 1,1-13-16,-1 13 0,-13 0 0,13 0 16,-13 1-16,13-14 0,-13 26 15,0-13-15,-13 1 0,13-1 16,0 0-16,-13 14 0,0-14 0,13 0 15,-27 13-15,14-12 16,0 12-16,-1-26 16,14 13-16</inkml:trace>
  <inkml:trace contextRef="#ctx0" brushRef="#br0" timeOffset="-182624.11">5503 12475 0,'-13'-13'0,"13"39"16,0 14 0,0-27-16,0 14 15,0-14-15,0 0 0,0 14 16,0-14-16,0 0 0,0 14 0,-13 12 15,13-12-15,0-14 16,0 0-16,0 0 16,0 1-16</inkml:trace>
  <inkml:trace contextRef="#ctx0" brushRef="#br0" timeOffset="-182268.22">5384 12554 0,'14'-39'0,"-1"26"0,26 13 31,1 0-31,0 13 16,-27 0-16,13 0 0,-12 0 0,25 27 16,-25 13-1,-14-13 1,-14 13 0,1-40-16,0 0 0,0 14 15,-1-14-15,1 0 0,0 0 0,-13 1 16,12-1-16,1-13 15,0-13 1</inkml:trace>
  <inkml:trace contextRef="#ctx0" brushRef="#br0" timeOffset="-182043.14">5702 12554 0,'0'-13'0,"13"13"15,0 27 17,-13-14-32,0 0 15,0 0-15,0 1 0,0-1 16,0 0-16,0 0 0,0 1 0,0 12 16,0-13-16,0 0 0,0 1 15,0-1-15,0 0 0,0 0 16</inkml:trace>
  <inkml:trace contextRef="#ctx0" brushRef="#br0" timeOffset="-181603.24">5662 12581 0,'0'-13'15,"13"13"-15,1 0 0,25 13 16,-26-13-1,1 13-15,-14 0 16,0 14 0,0-14-16,0 0 15,0 1 1,13-1-16,-13 0 16,13 0-16,0 14 15,-13-14 1,0 0-16,0 0 0,0 1 0,-13-14 15,13 13-15,-13 0 0,13 0 0,-13 1 16,-1-1-16,1-13 0,13 13 16,-13-13-16,0 0 0,0 13 15,-1-13-15</inkml:trace>
  <inkml:trace contextRef="#ctx0" brushRef="#br0" timeOffset="-175240.34">7461 12435 0,'27'-13'0,"-14"13"15,0-13 1,0 13 15,-26 13 0,-13 0-15,12-13-16,14 14 0,-13-14 16,0 13-1,13 0-15,-13-13 0,13 13 31,0 1-31,13-14 16,0 0-16,-13 13 16,13-13-16,1 13 0,-1-13 15,-13 13-15,13 0 0,0 1 16,1-1-16,-14 0 16,0 0-16,0 1 0,-14 12 15,14-13-15,-13-13 16,13 14-16,-13-1 0,0-13 15,-1 13-15,14 0 0,-13-13 16,0 0 0</inkml:trace>
  <inkml:trace contextRef="#ctx0" brushRef="#br0" timeOffset="-174925.28">7620 12515 0,'13'0'15,"0"13"1,1 0-16,-1-13 16,0 13-16,0-13 15,1 0-15,-1 0 0,13 0 16,-12 0-16,-1-13 15,0 13 1,-13-13-16,0 0 0,0 0 16,-13 13-16,13-14 15,-13 14-15,-1-13 16,1 13-16,0 0 16,0 0-16,-1 0 15,1 13 1</inkml:trace>
  <inkml:trace contextRef="#ctx0" brushRef="#br0" timeOffset="-174757.2">7911 12462 0,'27'0'16,"-14"-13"-16,0 13 15,0 0 1,0 0-16,-13-14 16</inkml:trace>
  <inkml:trace contextRef="#ctx0" brushRef="#br0" timeOffset="-174570.39">8096 12330 0,'0'-14'31,"0"54"-31,0-66 16,-13 52-1,13-13-15,0 0 0,0 1 16,-13-1-16,13 0 0,0 14 16,0-14-16,0 0 0</inkml:trace>
  <inkml:trace contextRef="#ctx0" brushRef="#br0" timeOffset="-174282.87">8176 12369 0,'0'-13'16,"0"26"-16,-14 0 16,1-13-1,13 27-15,13-27 16,-13 13-16,0 0 0,14 1 15,-1-14-15,0 0 16,0 0-16,1 0 16,25 0-1,-39-14-15,13 14 0,-13-13 16,0 0 0,-13 0-1,0 13-15</inkml:trace>
  <inkml:trace contextRef="#ctx0" brushRef="#br0" timeOffset="-174075.29">8334 12409 0,'14'0'0,"25"0"0,-25-13 15,-14-1-15,0 1 16,13 0-16,-13 0 0,0 0 16,0-1-16,0 1 15,0 0-15,0 0 0,-13 26 32,-1 0-32,1-13 15</inkml:trace>
  <inkml:trace contextRef="#ctx0" brushRef="#br0" timeOffset="-173804.92">7395 12859 0,'119'-40'0,"-79"27"16,13-14-16,79 1 0,-79-1 16,79 1-16,-79 0 15,53-1-15,-13 14 16,-54 0-16,-12-1 0,12 14 16,-12-13-16,-14 13 15,0 0-15,1 0 16</inkml:trace>
  <inkml:trace contextRef="#ctx0" brushRef="#br0" timeOffset="-173233.96">7845 12779 0,'145'-39'0,"-65"12"16,-41 14-16,14 0 0,-13 0 15,13-1-15,0 1 16,40-27-16,-1 14 0,-52 13 16,39-14-1,-52 14-15,-1 0 0,1 0 0,-1-1 16,-13-12-16,14 13 0,-1-27 15,-13 0-15,1 14 0,-14 13 16,13-14-16,-13 14 16,0-14-16,-13-12 0,-1-1 15,-12 14-15,13-1 0,-14 1 16,1 12-16,-14-12 0,0 13 16,-39-14-16,39 1 0,1 13 15,-54-1-15,40 1 0,13 0 16,-65 0-16,-14 13 15,66 0-15,0 0 16,-80 26-16,81-13 0,-15 1 16,14 12-16,-66 27 0,-39 40 15,105-54-15,-40 41 16,14-1 0,-1 0-16,54-39 15,-14 53-15,14-14 0,13-39 16,13-1-16,0-12 15,0-1-15,0 1 0,26 39 16,80 13 0,-80-65-16,1-1 0,65 0 15,-65-13 1</inkml:trace>
  <inkml:trace contextRef="#ctx0" brushRef="#br0" timeOffset="-172628.92">8784 12488 0,'93'0'31,"-67"0"-31,14 0 0,-14-13 16,14 13-16,13 0 0,0-13 15,-27 13-15,1-13 0,13 13 16,-1-14-16,1 1 15,-27 13-15,-13-13 16,13 13-16</inkml:trace>
  <inkml:trace contextRef="#ctx0" brushRef="#br0" timeOffset="-172402.69">9049 12316 0,'53'0'0,"-40"0"16,13 0-16,-12 14 0,12-14 0,14 13 16,-14 0-16,1 0 0,-1 0 15,-13 1-15,27 25 0,-27-12 16,0-1-16,-26 27 16,0-40-16,0 14 15,-27 26-15,0 0 16,27-40-16,0 0 0,0 0 15,-146-423-15,318 834 16</inkml:trace>
  <inkml:trace contextRef="#ctx0" brushRef="#br0" timeOffset="-171913.84">9842 12025 0,'14'14'16,"-1"12"-16,-13 0 16,13 14-16,-13 13 0,13 0 0,1 13 15,-1 119-15,0-119 0,-13 1 16,0-1-16,0-13 16,0 0-16,0 0 0,0-14 0,0 1 15,0 13-15,0-27 0,0 1 0,0 12 16,0-25-16,0 12 15,0-13-15,0 1 0,0-1 0</inkml:trace>
  <inkml:trace contextRef="#ctx0" brushRef="#br0" timeOffset="-171537.33">9234 13004 0,'106'0'16,"-14"-13"-16,41 0 16,12 0-16,-65-1 15,92-12-15,-80 13 16,133-27-16,13 0 15,-132 14-15,13 13 0,119-27 16,-119 13-16,-13 14 16,79-13-16,-92-1 0,0 14 0,-14 0 15,0 0-15,1-1 16,-1 1-16,-26 0 0,0 0 0,-13 13 0,-1-14 16,1 14-16,-27-13 15,0 13-15,-26-13 31,0 13-31,-14 0 0</inkml:trace>
  <inkml:trace contextRef="#ctx0" brushRef="#br0" timeOffset="-170660.01">9988 12832 0,'40'0'16,"-27"0"-16,0-13 0,0 0 15,1 0-15,-1-1 0,0 1 16,-13 0-16,13 0 0,1-14 16,-14 14-16,13 0 0,0-14 15,0 1-15,14-27 0,-14 26 16,0-12-16,14-14 0,-1 13 16,-13 0-16,14 14 15,-14 0-15,13 12 0,14-39 16,0 14-16,-14 26 15,40-27-15,-39 27 0,-1-1 16,14 1-16,13 0 16,-27 0-16,1 13 0,-1 0 0,14 0 15,-14-14-15,14 14 0,-13 0 16,12 0-16,1 0 0,0 14 0,26-1 16,0 0-16,0 14 15,-39-1-15,-14-13 16,13 1-16,1 12 0,26 0 15,-14 14-15,-12-27 0,-1 1 16,1-1-16,39 13 16,-40-13-16,14-13 0,-14 14 15,1-14-15,13 0 0,-14 13 0,1-13 16,39 0-16,-40 0 16,-13-13-16,14 13 0,-14 0 15,13 0-15,-12 0 16,-41-14-1</inkml:trace>
  <inkml:trace contextRef="#ctx0" brushRef="#br0" timeOffset="-170240.41">10782 12105 0,'0'39'15,"0"-12"-15,0-14 16,0 0-16,0 14 0,0-14 16,0 13-16,0-12 0,13 52 15</inkml:trace>
  <inkml:trace contextRef="#ctx0" brushRef="#br0" timeOffset="-170109.07">10848 12594 0,'0'53'16,"0"-40"0,0 14-16,0-14 0,0 0 15,0 14-15</inkml:trace>
  <inkml:trace contextRef="#ctx0" brushRef="#br0" timeOffset="-168177.06">11073 13216 0,'0'-13'0,"13"26"15,0 53 17,0-39-32,-13-1 0,0 0 15,14 1-15,-14-1 16,13 1-16,-13-14 0</inkml:trace>
  <inkml:trace contextRef="#ctx0" brushRef="#br0" timeOffset="-167845.36">11311 13256 0,'-27'26'0,"27"-13"0,14 14 31,-1-14-15,0-13-16,0 0 0,14 0 16,-14-13-1,-13 0 1,-13-14-1,13 14 1,-13 13-16,13-13 0,-14 13 16,14-14-16,-13 14 15</inkml:trace>
  <inkml:trace contextRef="#ctx0" brushRef="#br0" timeOffset="-167663.31">11430 13282 0,'40'13'0,"-80"-26"0,93 26 15,-40-13 1,-13-13-16,13 0 16,-13 0-16,0-1 31,0 1-16</inkml:trace>
  <inkml:trace contextRef="#ctx0" brushRef="#br0" timeOffset="-167245.89">11218 13533 0,'53'-13'16,"-13"0"-16,-133 39 0,212-65 0,-92 39 16,-1-13-16,14-1 0,-14 1 15,1 0-15,39-27 0,-13 14 16,-27-1-16,1 1 16,-1-1-16,-12 1 0,12-1 15,-13-12-15,14-14 0,-27 13 16,0 14-16,13-1 0,-13 1 0,-26-27 15,12 26-15,-39-12 16,14 12-16,-1 14 16,0 13-16,-13-13 0,-52 13 15,38 13-15,1 0 0,0 0 0,0 14 16,-53 26-16,53-27 0,13 14 16,0-14-16,13 14 0,1 0 15,-1-1-15,-13 41 0,26-40 16,14 26-16,13-40 15,13-13-15,1 27 0,12-13 16,40-1-16,-39 0 0,12-12 16,41-1-16,-40-13 0,-14 0 15</inkml:trace>
  <inkml:trace contextRef="#ctx0" brushRef="#br0" timeOffset="-166809.83">11615 13441 0,'80'13'0,"-27"-13"16,-1 0-16,1 0 15,-13 0-15,13 13 0,172-26 16,-172 13 0,0 0-16,0-13 0,-1 13 0,-12 0 15,13-13-15,0 13 16,-40 0-16,14-14 0,-14 14 16,0 0-16,-13-13 15,13 13-15</inkml:trace>
  <inkml:trace contextRef="#ctx0" brushRef="#br0" timeOffset="-166554.15">12409 13282 0,'66'13'16,"-53"-13"-16,40 14 0,-13-1 15,26 13-15,-26-13 16,-14 14-16,1-14 0,12 14 16,-12 26-1,-27-40-15,13 13 0,-26-13 16,0 40-16,-14-26 0,-13 26 16,14-27-16,0-13 15,-1 14-15,1-14 0,-14 0 16,13 1-16</inkml:trace>
  <inkml:trace contextRef="#ctx0" brushRef="#br0" timeOffset="-165972.56">13361 13414 0,'0'14'16,"0"-1"-1,14 0-15,-14 0 16,0 1-16</inkml:trace>
  <inkml:trace contextRef="#ctx0" brushRef="#br0" timeOffset="-165860.27">13494 13652 0,'-13'-13'16,"26"0"-1,-13 39-15</inkml:trace>
  <inkml:trace contextRef="#ctx0" brushRef="#br0" timeOffset="-165638.99">13692 13573 0,'13'-13'16,"1"13"-1,-1-13 17,-13 26-32,26-13 15,-12 13 16</inkml:trace>
</inkml:ink>
</file>

<file path=ppt/ink/ink18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11:06.554"/>
    </inkml:context>
    <inkml:brush xml:id="br0">
      <inkml:brushProperty name="width" value="0.05292" units="cm"/>
      <inkml:brushProperty name="height" value="0.05292" units="cm"/>
      <inkml:brushProperty name="color" value="#0070C0"/>
    </inkml:brush>
  </inkml:definitions>
  <inkml:trace contextRef="#ctx0" brushRef="#br0">1905 1283 0,'-13'0'0,"26"0"0,-13-13 31,26 13-15,1 0-16,26-13 0,-13 13 0,12-13 15,41-1-15,105-25 16,-158 39-16,13-14 16,0 14-16,0-13 0,-13 13 15,13 0-15,-27-13 0,0 13 0,1 0 16,-14 13-16,0-13 0,1 0 16</inkml:trace>
  <inkml:trace contextRef="#ctx0" brushRef="#br0" timeOffset="162.87">2249 1416 0,'119'-14'0,"-93"14"15,1-13-15,-1 13 0,1 0 0,13-13 16,-14 13-16,0 0 15</inkml:trace>
  <inkml:trace contextRef="#ctx0" brushRef="#br0" timeOffset="3406.02">1482 2540 0,'26'13'0,"1"-13"15,-1 0-15,-13 0 0,14 0 16,-1 0-16,1 0 0,52 0 16,-26 0-16,0 0 0,13 0 15,-13 0-15,13 0 0,13 0 16,1 0-16,-1 0 0,1 0 0,-1 0 15,186 0 1,-173 0-16,1 0 0,-1 0 0,1 0 16,0 0-16,-1 13 0,1-13 15,92 0-15,-92 0 0,12 0 16,94 0-16,13 0 16,-80 0-16,0 0 0,-26 0 15,26-13-15,133 13 0,-27-13 16,-132 13-16,0 0 15,26 0-15,0-13 0,-26 13 16,0 0-16,26 0 0,-26-13 0,0 13 0,-14 0 16,1 0-16,0 0 0,-1 0 15,1 0-15,13 0 0,-27 0 0,14 0 16,-1 0-16,-12 0 0,-1 0 16,0 0-16,-26 0 0,0 0 15,13 0-15,-13 0 0,40 0 16,-53 0-16,-1 13 0,-12-13 15,39 0-15,-40 0 0,1 0 16,-1 0-16,-13 0 0,14 0 16,13 0-16,-14 0 0,-13 0 15,1 0-15,-1 0 0,13 0 16,1 0-16,-1 0 0,-13 0 0,1 0 16,12 13-16,-13-13 15,27 0-15,-27 0 0,0 0 16,27 0-16,-13-13 15,-1 13-15,-13 0 0,27-13 16,-27 13-16,0-14 0,27 1 16,-27 13-16,1-13 0,-1 13 15,0-13-15,13-14 16,-12 14-16,-1 0 0,0-1 16,0-12-16,1 13 0,-1-14 0,-13 14 0,26-40 15,-13 13 1,-13 14-16,14-14 0,-14 14 15,13-14-15,-13 1 0,13-28 16,0 28-16,-13 12 0,0-12 0,14 12 16,-14 1-16,0-1 0,13 14 15,-13-14-15,0 14 0,0 0 16,0-13-16,0 12 16,0 1-16,0 0 0,0 0 15,0-1-15,-13 1 16,-1 13-16,1 0 15,0 0-15,-27 0 0,27 0 16,-13 13-16,-1-13 16,1 0-16,-1 14 0,1-14 0,-1 0 15,-39 13-15,13 0 0,14 0 16,-1-13-16,-13 14 0,13-14 16,1 13-16,-54 0 0,53-13 15,-13 13-15,14-13 0,-1 13 0,-66 1 16,66-14-16,-12 13 15,-15-13-15,14 13 0,-13-13 16,-40 13-16,54 1 0,-1-14 16,13 13-16,-13-13 0,13 0 0,1 13 15,-1-13-15,0 0 0,-13 13 16,14-13-16,-1 0 0,0 0 0,-13 14 16,-39-14-16,-1 13 15,-13-13-15,53 13 16,14-13-16,-27 0 0,-93 26 15,106-26-15,0 0 16,0 0-16,-39 14 0,-14-1 16,53-13-16,0 0 15,0 0-15,0 13 0,-53-13 16,53 0-16,-66 0 0,66 0 16,0 0-16,0 13 15,14-13-15,-14 0 0,-53 0 0,53 0 16,0 0-16,0 0 0,14-13 15,-14 13-15,-40 0 16,0 0-16,54 0 0,-80-13 16,79 13-16,0 0 15,1 0-15,-27-13 16,26 13-16,-40 0 0,54 0 16,-40-14-16,39 14 15,1 0-15,-40 0 0,39 0 16,1 0-16,-40-13 15,39 13-15,1 0 0,-1 0 16,-12-13-16,-14 13 0,0 0 16,13 0-16,-13-13 0,27 13 15,-1 0-15,-12 0 16,-14-13-16,26 13 0,-39 0 16,13-14-16,-13 1 15,40 13 1,-27-13-16,13 13 0,-13-13 15,-13 13-15,39-14 0,-25 14 16,12-13 0,13 13-16,1 0 0,-40-13 0,13 13 15,13-13 1,-13 13-16,27-14 0,-1 14 16,-39 0-16,13 0 0,40 0 15,-13 0-15,-1-13 16,-52 13-16,66 0 15,-14 0-15,-26 0 0,27 0 16,-1 0-16,-12 0 0,-67 0 16,53 0-1,-13 0-15,0 0 16,39 0-16,1 0 16,-1 0-16,-13 0 0,14 0 15,0 0-15,-41 0 0,41 0 16,-1-13-16,-12 13 0,-14 0 15,-13 0-15,-14 0 16,54 0-16,-1 0 16,14 0-16,-13 0 0,12 0 15,-12 13-15,13-13 0,-27 0 16,27 0-16,0 0 0,-1 0 0,1 0 16,0 0-16,-13 0 15,12 13-15,1-13 0,0 0 16,-14 0-1,14 14-15,0-14 16,0 13-16,-1-13 16,-12 13-16,13-13 0,0 13 15,-1-13 1,-12 14-16,13-14 16,-1 13-16,1-13 0,0 13 15,0-13 1,13 13-16,-14-13 0,14 14 0,-13-14 15,0 13-15,13 0 16,0 0-16,-13-13 16,13 13-16,0 14 0,0-14 15,0 0-15,0 1 16,0 12 0,0 1-16,0-14 0,0 0 15,0 0-15,0 27 16,0-27-16,13 0 0,-13 1 15,0 38-15,0-25 16,0 13-16,0-27 16,0 0-16,0 14 15,0-1-15,0 14 16,0-14-16,0-13 0,0 1 16,13-1-16,-13 0 15,13 0 1,-13 1-16,14-14 15,-1 13-15,0-13 0,14 0 16,26 0-16,-14 0 0,-12 0 0,26 0 16,92 0-1,-92 0-15,0 0 0,53 0 16,0 13-16,39-13 16,-13 13-16,-79 0 15,14-13-15,131 14 16</inkml:trace>
  <inkml:trace contextRef="#ctx0" brushRef="#br0" timeOffset="38373.81">6218 952 0,'-27'-13'0,"27"0"15,-13 13-15,39-13 32,14 13-17,-13 0-15,12 13 0,27-13 16,1 0-16,12 0 0,14 0 0,12 0 0,28 0 16,12 0-16,-12 0 0,12 13 15,1-13-15,-1 0 0,1 0 16,-1 13-16,1-13 0,158 0 15,-145 0-15,-27 0 0,13 14 0,1-1 16,-14-13-16,67 13 0,-107 0 16,1-13-16,-14 0 0,14 14 15,-27-14-15,66 13 16,-79-13-16,-13 0 0,-14 0 0,1 0 16,-14 0-16</inkml:trace>
  <inkml:trace contextRef="#ctx0" brushRef="#br0" timeOffset="38667.65">9671 847 0,'92'26'0,"-65"-13"16,65 27-16,-52-14 0,0-12 15,12 25-15,-12-12 0,-13 13 16,39 39-16,-53-53 0,13 14 16,-26 0-16,0 39 0,-13-26 15,0 0-15,-27 0 0,1-13 16,-1 13-16,-13-14 0,0 14 15</inkml:trace>
  <inkml:trace contextRef="#ctx0" brushRef="#br0" timeOffset="39512.87">15227 860 0,'0'-13'15,"0"39"-15,0-13 0,0 27 16,0-14-16,0 1 0,0-1 16,0 1-16,0-1 15,0 1-15,0-1 0,0 27 16,13 0-16,-13-40 16,0 1-16,0-1 0,0 0 15</inkml:trace>
  <inkml:trace contextRef="#ctx0" brushRef="#br0" timeOffset="39843.85">15134 873 0,'53'-92'16,"-13"78"-16,-27 14 0,13 0 15,1 0-15,-1 14 0,-12-14 16,-1 13-16,13 13 16,-12-13-16,-14 1 0,13-1 0,-13 13 15,-13 1-15,13-14 16,-14 13-16,1-12 15,0-1-15,-14 27 0,1-27 16,13 0-16,-1 0 0,1 1 16</inkml:trace>
  <inkml:trace contextRef="#ctx0" brushRef="#br0" timeOffset="40164.82">15465 1032 0,'13'-13'16,"-26"39"-1,13 14 1,13-27-16,-13 0 16,13 0-16,1 14 15,-1-14-15,0-13 0,14 13 16,-14-13-16,0 0 15,0 0-15,0 0 16,1-13-16,-14 0 16,0-14-16,-14 14 15,14 0 1,-26 0-16,13 0 0,0-1 16,-1 14-16,1 0 15,0 0-15,0 0 16,-1 0-16</inkml:trace>
  <inkml:trace contextRef="#ctx0" brushRef="#br0" timeOffset="40489.71">15729 1005 0,'-26'14'0,"26"-1"16,0 0-1,13 0 1,-13 1-16,27-1 0,-27 0 16,13 0-16,0 0 15,-13 1 1,0-1-1,-13 0 1,-14 0-16,14-13 0,0 0 16,0 14-16,0-14 0,-1 0 15,1 0-15</inkml:trace>
  <inkml:trace contextRef="#ctx0" brushRef="#br0" timeOffset="40789.79">15888 1019 0,'-13'-27'0,"0"27"16,0 13 0,26 14 15,-13-14-31,13 0 0,0 1 15,-13-1-15,13-13 0,1 13 0,-14 0 16,13-13-16,-13 13 16,13 14-16,-13-14 15,0 0 1,-13-13-16,0 14 0,-1-1 16,1-13-16,0 13 15,0-13-15,0 0 0,13 13 16</inkml:trace>
  <inkml:trace contextRef="#ctx0" brushRef="#br0" timeOffset="40941.01">16021 1124 0,'13'14'15,"-13"-1"16,0 0-31,0 0 0,0 1 16</inkml:trace>
  <inkml:trace contextRef="#ctx0" brushRef="#br0" timeOffset="41119.6">16179 966 0,'-13'-14'16,"0"14"15</inkml:trace>
  <inkml:trace contextRef="#ctx0" brushRef="#br0" timeOffset="41712.01">16285 900 0,'0'39'16,"0"-26"-1,-13-13-15,13 14 0,0 12 0,0-13 16,0 14-16,0 13 16,0-27-16,-13 13 0,13 1 15,0-14-15,0 0 16,0 0-16,13-39 31,-13 13-15,13 13-16,0-14 15,1 14-15,-1 0 0,-13-13 0,13 13 16,13 13 0,-12-13-16,-14 14 15,13-1-15,-26 0 16,-1 0-16,14 1 15,-13-14 1,13 13-16,-13-13 0,13 13 16</inkml:trace>
  <inkml:trace contextRef="#ctx0" brushRef="#br0" timeOffset="41872.69">16497 1111 0,'-13'27'32,"13"-14"-17,-14 0 1,14 0-16</inkml:trace>
  <inkml:trace contextRef="#ctx0" brushRef="#br0" timeOffset="42030.97">16536 900 0,'-13'0'16</inkml:trace>
  <inkml:trace contextRef="#ctx0" brushRef="#br0" timeOffset="42397.56">16682 807 0,'0'-13'16,"0"26"-1,13 13-15,-13-12 16,0 12-16,0 1 16,0-1-16,0-13 0,0 0 15,0 1-15,0 12 0,0 1 0,0-14 0,0 0 16,13 0-16,-13 14 16,14-14-16,-1 0 0,0 0 15,0-13 1,1-13-16,-1 13 0,0 0 15,0-13-15,1 13 16,-1 0 0,0 0-1,-13 13 1,13 0 0,-13 1-1,0-1-15</inkml:trace>
  <inkml:trace contextRef="#ctx0" brushRef="#br0" timeOffset="42540.93">16933 952 0,'-13'0'16,"-13"0"-16</inkml:trace>
  <inkml:trace contextRef="#ctx0" brushRef="#br0" timeOffset="42710.81">17052 820 0,'14'13'0,"-14"27"15,0-13 1,0-1-16,0-13 16,0 0-16,0 27 0</inkml:trace>
  <inkml:trace contextRef="#ctx0" brushRef="#br0" timeOffset="43428.44">17039 1072 0,'0'-14'0,"13"1"16,1 13-16,25-26 15,-25 26-15,12-14 16,14 1-16,-27 0 15,0 13-15,0-13 0,1 13 16,-1 0-16,0-14 0,0 28 16,1-14-16,-14 13 15,13-13 1,-13 13-16,13 0 16,0 1-1,0-14 16,1-14-31,-1 14 32,0 0-32,0 0 0,1-13 31,-1 13-15,0 0-1,-13-13 16,13 39 16,-26 1-15,13-1-32,0-12 0,0 12 15,0 0-15,-13 1 16,13-14-16,0 0 15,-13 1-15,13-1 0,0 0 94,0-39-78,0 12-16,-53-52 15</inkml:trace>
  <inkml:trace contextRef="#ctx0" brushRef="#br0" timeOffset="43988.25">17198 900 0,'0'-14'0,"0"41"16,0-14-16,0 0 15,-13-13-15,26 13 16,-13 1-16,0-1 0,0 0 15,13-13-15,-13 13 0,13-13 16,1 14-16,-1-28 16,0 14-16,0 0 15,1-13-15,-1 13 0,0 0 16,-13-13-16,26 13 16,-12 0-16,-1 0 15,-13 13-15,13 0 16,-13 1-16,0-1 0,0 0 15,0 0-15,0 1 0,0 12 16,0-13-16,0 27 0,0-14 16,-13-12-16,13 12 0,0-13 0,0 14 15,-13-14 1,13 0-16,-14 0 16,1-13-16,0-13 15,13 0 1,13-13-1,-13 12-15,0 1 0,13-13 16,-13 12-16,14-12 0,-1 13 16,0-1-16,0 1 15,-13 0-15,14 13 16</inkml:trace>
  <inkml:trace contextRef="#ctx0" brushRef="#br0" timeOffset="44341.5">17052 966 0,'14'13'15,"-1"0"-15,-13 0 16,0 1-16,0 39 16,0-40-1,0 0-15</inkml:trace>
  <inkml:trace contextRef="#ctx0" brushRef="#br0" timeOffset="47976.54">15544 1429 0,'27'-13'32,"-1"13"-32,-13-14 0,14 14 15,13-13-15,52 0 16,-39 0-16,-13 13 0,13-14 0,0 1 15,-14 13-15,67-13 0,-66 0 16,-1 13-16,1 0 0,-13 0 16,12-14-16,-25 14 0,12 0 0,0 0 15,-12 0-15,-1 0 0</inkml:trace>
  <inkml:trace contextRef="#ctx0" brushRef="#br0" timeOffset="48225.38">15650 1561 0,'132'-40'16,"-105"40"-16,13 0 0,-1-13 0,1 0 15,-14 13-15,1 0 0,-1-13 0,1 13 0,-14 0 16,13-14-16,1 14 16,-14 0-16,14 0 0,-14 0 15,13 0-15</inkml:trace>
  <inkml:trace contextRef="#ctx0" brushRef="#br0" timeOffset="62227.86">18269 1045 0,'27'0'31,"13"13"-15,-14-13-16,-13 0 15,27 0 1,-14-13-16,-12 13 0,12 0 0,1 0 16,-14 0-16,13 0 0,-12-13 0,12 13 15,-13 0-15,0-13 0,1 13 16</inkml:trace>
  <inkml:trace contextRef="#ctx0" brushRef="#br0" timeOffset="62505.16">18653 900 0,'40'26'0,"-27"0"16,0-12 0,-13-1-16,0 0 0,13 0 0,-13 1 15,0-1-15,0 13 0,0-12 16,-13-1-16,13 0 0,0 0 0,-13 0 16,13 1-16,-13-1 0</inkml:trace>
  <inkml:trace contextRef="#ctx0" brushRef="#br0" timeOffset="67040.16">20809 6125 0,'0'27'16,"0"-1"0,0 0-16,0-12 0,0 12 15,-13 40-15,13-52 16,0 12-16,0-13 0,0 14 0,0-1 16,0 1-16,-13-14 15,13 13 1,0-12-16</inkml:trace>
  <inkml:trace contextRef="#ctx0" brushRef="#br0" timeOffset="67419.69">20796 6112 0,'13'-27'0,"27"1"0,-27 26 0,1-13 16,12 13-16,-13 0 0,1 0 15,-1 0-15,13 0 0,-13 0 0,14 26 16,-14-26-16,-13 13 16,0 1-16,0 25 15,-13-25-15,0 12 16,-1-13-16,1 0 0,-13 14 16,13-14-16,-14 0 0,1 14 15,12-27-15,1 0 16,13 13-16</inkml:trace>
  <inkml:trace contextRef="#ctx0" brushRef="#br0" timeOffset="67772.66">21180 6244 0,'-27'27'0,"14"-1"16,13-13-1,0 1-15,13-14 16,-13 13-16,14-13 0,12 13 16,-13-13-16,14 0 15,-14 0-15,-13-13 0,13 13 16,0 0-16,1-13 0,-14-1 15,13 14-15,-13-13 0,0 0 16,-13 0-16,-14-14 16,14 14-1,0 13 1,-14 0-16,14 0 16,0 0-16,0 13 15</inkml:trace>
  <inkml:trace contextRef="#ctx0" brushRef="#br0" timeOffset="68067.53">21444 6178 0,'-39'13'0,"39"0"0,0 1 0,0-1 16,13-13-16,-13 13 0,0 0 16,13-13-16,-13 14 0,13-1 0,1 0 15,-14 0-15,13 1 16,-26-1 0,-1 0-16,1-13 15,-13 13 1,-1 0-1,14-13-15</inkml:trace>
  <inkml:trace contextRef="#ctx0" brushRef="#br0" timeOffset="68364.95">21603 6204 0,'-26'0'0,"13"14"0,13-1 16,13 0-16,-13 0 16,0 1-16,13-1 0,0 0 15,-13 0-15,0 1 0,13-1 16,-13 0-16,0 0 15,-13 0-15,13 1 16,-13-1-16,-13 0 16,12 0-1,1-13-15,0 0 16</inkml:trace>
  <inkml:trace contextRef="#ctx0" brushRef="#br0" timeOffset="68524.53">21749 6324 0,'0'13'15,"0"0"1,-13 13 0,13-12-16,-14-1 15</inkml:trace>
  <inkml:trace contextRef="#ctx0" brushRef="#br0" timeOffset="68682.11">21934 6191 0,'-13'-13'16,"0"13"-1,-1 13-15</inkml:trace>
  <inkml:trace contextRef="#ctx0" brushRef="#br0" timeOffset="69402.98">22079 6112 0,'-13'106'0,"0"-80"0,0 27 0,13-26 16,0-14-16,-13 26 0,13-25 15,-14-1-15,14 0 0,27-26 47,-1-14-47,-13 27 16,1-13-16,12 13 15,-13-13-15,1 13 0,-1 0 0,0 0 16,0 13-16,14-13 16,-27 13-16,0 1 15,-13 12 1,13-13-16,-14-13 0,14 14 16,-13-14-16,13 13 0,-13-13 15</inkml:trace>
  <inkml:trace contextRef="#ctx0" brushRef="#br0" timeOffset="69551.42">22304 6337 0,'0'13'0,"0"0"0,-13 0 15,13 1 1,-13-14-16,13 13 0,-13 0 15</inkml:trace>
  <inkml:trace contextRef="#ctx0" brushRef="#br0" timeOffset="69697.64">22344 6152 0</inkml:trace>
  <inkml:trace contextRef="#ctx0" brushRef="#br0" timeOffset="69885.47">22516 6059 0,'13'0'0,"-13"13"0,0 0 16,0 1-16,0-1 0,0 0 0,-13 0 16,13 14-16,-13-1 0,13-13 15,-27 67 1,27-67-16,-13 40 16,13-40-16,0 0 15</inkml:trace>
  <inkml:trace contextRef="#ctx0" brushRef="#br0" timeOffset="70035.67">22595 6376 0,'-13'27'32,"0"-14"-17,13 0-15,-13-13 0,13 14 0,-14-14 16,14 13-16</inkml:trace>
  <inkml:trace contextRef="#ctx0" brushRef="#br0" timeOffset="70232.56">22767 6072 0,'-13'27'15,"-13"26"1,26-40-16</inkml:trace>
  <inkml:trace contextRef="#ctx0" brushRef="#br0" timeOffset="70616.71">22675 6271 0,'13'26'31</inkml:trace>
  <inkml:trace contextRef="#ctx0" brushRef="#br0" timeOffset="70922.86">22781 6085 0,'0'-13'0,"-14"40"0,14-14 16,0 13-16,-13 40 15,13-39-15,-13-1 0,13 1 0,0-14 16,-13 27-16,13-14 16,0 14-1,-14-27-15,28 0 0,-14 1 0,0-1 16,0 0-1</inkml:trace>
  <inkml:trace contextRef="#ctx0" brushRef="#br0" timeOffset="71419.28">22662 6350 0,'0'-13'16,"13"13"-1,13-13 1,1 13-16,-14 0 0,13-14 16,14 1-16,-27 13 15,1 0-15,-1 0 16,0 0-16,0 0 16,0 0-1,-13 13 1,0 1-1,14-1 1,-1 0 0,0-13-1,0 0-15,1 0 16,12 0-16,-13 13 16,1-13-16,-1 13 0,0 1 15,0-14-15,-13 26 16,0-13-1,0 1-15,-13-1 0,13 0 0,-13 0 16,0 14 0,-1-27-16,14 13 15,14-26 1,38-40 0,-25 40-16,-1-14 0,14 14 0,-13-14 15,-1 14-15,-13 0 0,14 0 16,-14 0-16,13-1 0,27-25 15</inkml:trace>
  <inkml:trace contextRef="#ctx0" brushRef="#br0" timeOffset="72144.53">17449 6310 0,'-13'27'16,"0"-14"-16,13 13 15,0-12-15,0 12 0,0 40 16,0-52-16,0 12 0,0-13 16,0 14-16,0 12 15,0-25-15</inkml:trace>
  <inkml:trace contextRef="#ctx0" brushRef="#br0" timeOffset="72411.05">17410 6337 0,'79'-53'0,"-66"53"0,0 0 16,14 0-16,26 26 15,-40-12-15,-13-1 0,13 0 0,-13 0 16,0 14 0,-13-1-16,13-13 0,-40 54 15,40-54-15,-13 0 0,0 0 16,0 0-16</inkml:trace>
  <inkml:trace contextRef="#ctx0" brushRef="#br0" timeOffset="72887.56">17661 6416 0,'13'0'0,"14"13"31,-14 1-16,-26 52 1,13-53-16,26-39 47,-13-1-47,1 14 16,-14 0-16,26-1 15,-13 1-15,0 13 0,1-13 16,12 13-1,-13 13 1,1-13 0,-14 13-1,13-13 1,0 14-16,0-14 16,-13 13-16,14-13 15,12 0 1,-13 0-16,-13-13 0,27-1 15,-27 1 1,-14 0 15,1 13-31,0 0 32</inkml:trace>
  <inkml:trace contextRef="#ctx0" brushRef="#br0" timeOffset="73204.74">18084 6271 0,'0'13'16,"0"13"-1,0-12-15,0-1 0,0 0 0,0 13 16,0-12-16,0-1 0,0 13 0,0-12 0,0-1 15,0 13 1,14-26 15,-1-13-15,0 13-16,0-13 16,0 13-16,1 13 31,-41 0-16,14 1-15,0-14 16,0 26 0,-1-26-16</inkml:trace>
  <inkml:trace contextRef="#ctx0" brushRef="#br0" timeOffset="73872.53">22079 7078 0,'14'39'15,"-14"-25"-15,0 25 16,13-26-1,0 14-15,0-14 16,1 0-16,39 1 16,-40-14-16,66-27 15,-52 14-15,-1 0 0,1-1 16,-14 1-16,0 0 0,0 0 0,0 0 16,1 13-16,-1-14 15,-40 28 1,-25 38-1,25-25-15,-39 52 16,39-39-16,14-14 16,0-12-16,0 12 0,0-13 0,-1 1 15,14 12-15,-13-26 0,13 13 16,0 0-16,0 1 16</inkml:trace>
  <inkml:trace contextRef="#ctx0" brushRef="#br0" timeOffset="74364.6">22622 7355 0,'26'-39'0,"-12"25"0,-14 1 0,13 0 16,-13 0-16,13 0 0,-13-1 0,0 1 15,0 0 1,-13 0-16,0 13 16,-1 13-16,-12 0 15,-14 14 1,27 12-16,0-26 16,26 14-1,0-14-15,14 0 16,-1-13-16,-13-13 15,1 13-15,12-13 0,-13 13 16,0-13-16,1-1 0,-1 1 16,13-13-16,-12 13 0,12-14 15,-26 14-15,13 0 16,1 13 0,-1 0-1,-13 13-15,13 0 16,0 14-16,-13-14 15,0 0-15,0 27 16,0-27-16,-26 27 16,13-27-1,-1 0-15,1 0 0,0 1 16,0-1-16,-14 0 0</inkml:trace>
  <inkml:trace contextRef="#ctx0" brushRef="#br0" timeOffset="74868.41">22146 8162 0,'0'14'0,"0"-41"0,0 14 15,13 0-15,-13-1 16,0 1-16,13 0 0,-13 0 0,0 0 0,13-1 15,-13 1 1,14 13 0,-1 13-16,0 1 15,0-1 1,0 0-16,1-13 0,-1 13 0,0 0 16,0-13-16,1 0 15,12 0-15,-13-13 16,-13 0-16,14 13 15,-14-13-15,13 0 16,-13-1-16,0 1 0,13 13 0,-13-13 16,13 0-16,0-1 0,1 14 15,-14-13-15,13 13 0,0 0 16,0 0-16,1-13 0,-1 13 0</inkml:trace>
  <inkml:trace contextRef="#ctx0" brushRef="#br0" timeOffset="75057.91">22648 7990 0,'27'14'16,"-14"-14"-1,-13-14-15,13 14 0,-13-13 0,13 13 16,-13-13-16,0 0 16,-13 0-16,13-1 15,-13 14-15,0-13 16,0 13-16,-1 13 15,1-13-15,0 14 16</inkml:trace>
  <inkml:trace contextRef="#ctx0" brushRef="#br0" timeOffset="77516.37">17754 6959 0,'13'-14'0,"-40"14"15,14 14 1,0-14-16,0 0 0,13 13 16,-14 0-1,14 13-15,14 1 16,-1-27-16,-13 13 15,13 14 1,-13-14-16,13-13 0,-13 13 0,-13 0 16,13 1-1,-13-14-15,13 13 0,-13-13 0,-1 13 16,1-13-16</inkml:trace>
  <inkml:trace contextRef="#ctx0" brushRef="#br0" timeOffset="77667.91">17992 6985 0,'13'0'16,"-13"13"-16,0 0 0,-13 1 16,-1 12-16,14-13 15,-13 1-15,0-1 0,-13 27 16,12-27-16,14 0 15</inkml:trace>
  <inkml:trace contextRef="#ctx0" brushRef="#br0" timeOffset="77799.14">17886 7117 0,'13'-26'0</inkml:trace>
  <inkml:trace contextRef="#ctx0" brushRef="#br0" timeOffset="78190.73">17687 7686 0,'-13'40'15,"13"-27"-15,0 14 16</inkml:trace>
  <inkml:trace contextRef="#ctx0" brushRef="#br0" timeOffset="78421.52">17859 7713 0,'14'0'15,"-1"0"17,-26-14-1,13 1-15,-14 13-1,1-13 1</inkml:trace>
  <inkml:trace contextRef="#ctx0" brushRef="#br0" timeOffset="78552.13">18018 7633 0,'13'13'0,"-13"1"15,0-1-15,-13 13 31,0-26-31,13 14 0,0-1 0</inkml:trace>
  <inkml:trace contextRef="#ctx0" brushRef="#br0" timeOffset="78665.86">18005 7739 0</inkml:trace>
  <inkml:trace contextRef="#ctx0" brushRef="#br0" timeOffset="79207.63">17886 8136 0,'0'-13'0,"0"-1"47,0 1-15,-13 26 14,-1 1-30,14-1 0,14 0-16,-14 0 15,13 1-15,-13-1 0,0 13 16,0-12 0,-13-1-16,13 0 15,-14-13-15,14 13 0,-13 0 0,0 14 16,0-27-16,-1 13 0,1 0 15,0 1-15,0-1 16,0-13-16,-1 13 16</inkml:trace>
  <inkml:trace contextRef="#ctx0" brushRef="#br0" timeOffset="79499.6">17714 8149 0,'0'27'16,"-13"-14"-16,13 40 15,-14-40-15,14 40 16,0-40-16,0 0 16,0 1-16,0-1 0</inkml:trace>
  <inkml:trace contextRef="#ctx0" brushRef="#br0" timeOffset="79696.71">18217 8215 0,'-27'27'0,"14"-14"0,0 0 0,-1 0 15,1 1-15,13-1 0,-13 0 0,0 0 16,0 14 0</inkml:trace>
  <inkml:trace contextRef="#ctx0" brushRef="#br0" timeOffset="79836.78">18098 8281 0,'0'-26'16,"13"26"-16,0 0 16</inkml:trace>
  <inkml:trace contextRef="#ctx0" brushRef="#br0" timeOffset="80345.28">17793 10160 0,'-13'40'16,"0"-27"-16,13 0 15,-13 27-15,13 0 16,0-27-16,-14 0 0,14 0 16,0 0-16,14 1 0</inkml:trace>
  <inkml:trace contextRef="#ctx0" brushRef="#br0" timeOffset="80605.66">17965 10186 0,'0'-13'0,"-13"40"47,13-14-32,0 0-15,0 0 16,13-13-16,0 14 16,1-14-1,-1-14-15,-13 1 47,-13 0-47,-1 13 16</inkml:trace>
  <inkml:trace contextRef="#ctx0" brushRef="#br0" timeOffset="80816.64">18098 10213 0,'13'26'0,"0"-26"16,0 0 15,-13-13-15,0-13-1,-13 12 1,13 1-1,13 0 1</inkml:trace>
  <inkml:trace contextRef="#ctx0" brushRef="#br0" timeOffset="80980.78">18375 10120 0,'14'27'0,"-28"-14"15,1 13-15,13-12 16,-13-1-16,0 0 16,-1 27-16,1-27 15,0 0 1</inkml:trace>
  <inkml:trace contextRef="#ctx0" brushRef="#br0" timeOffset="81095.52">18296 10213 0,'0'0'16,"-13"-13"-16</inkml:trace>
  <inkml:trace contextRef="#ctx0" brushRef="#br0" timeOffset="81223.84">18455 10306 0,'13'13'0</inkml:trace>
  <inkml:trace contextRef="#ctx0" brushRef="#br0" timeOffset="82724.71">17912 9737 0,'-26'-14'0,"13"28"16,-1-14-16,-25 26 15,25-13-15,1-13 0,13 14 16,-13-1-16,0 0 0,13 0 16,13 0-1,0-13-15,0 0 16,1 0-16,-1 0 16,0 0-16,0 0 15,-13 14-15,14-14 0,-14 13 16,13 0-1,-13 0-15,0 1 0,0 12 16,0 1 0,0-14-1</inkml:trace>
  <inkml:trace contextRef="#ctx0" brushRef="#br0" timeOffset="82995.75">18111 9763 0,'-13'0'15,"-14"13"1,14-13-16,0 14 0,13-1 16,0 0-16,-14-13 0,14 40 15,0-27-15,14 13 16,-14-12-16,13-1 0,-13 0 15,0 0-15,0 1 0,0-1 16,0 0-16,0 0 16,-13-13-16,-1 13 15,1-13-15,0 0 0,0 0 16,-14-26 0,1 13-16</inkml:trace>
  <inkml:trace contextRef="#ctx0" brushRef="#br0" timeOffset="83550.46">17701 9260 0,'26'14'0,"1"25"15,-14-25 1,-13-1-16,13 0 0,-13 0 0,0 14 16,0-14-16,0 40 15,-13-40-15,0 14 16,13-14-16,-14-13 16,14 13-16,-13-13 15,13-26 1,13 12-16,1-25 15,-1 25-15,13-25 16,-26 25-16,13 1 16,-13-13-16,14-27 15,-14 26-15,0 14 16,-27-13 0,14 26-1,-13 0 1,12 13-16,1-13 15,13 13-15</inkml:trace>
  <inkml:trace contextRef="#ctx0" brushRef="#br0" timeOffset="83783.75">17992 9234 0,'13'0'0,"0"13"16,-13 14-1,0-14 1,13 0-16,-13 0 0,0 27 16,0-27-16,-13 0 0,13 14 15,-13-14 1,13 0-16,-13 1 0,-1-14 0,14 13 16,-13 0-16,0-13 0,0-13 31</inkml:trace>
  <inkml:trace contextRef="#ctx0" brushRef="#br0" timeOffset="83927.06">18124 9274 0,'0'26'0,"-13"-13"0,13 1 0,-27 25 15,14-26 1,-13 54-1,12-54-15,1 0 0,0 0 0</inkml:trace>
  <inkml:trace contextRef="#ctx0" brushRef="#br0" timeOffset="84081.17">18243 9419 0,'-13'-13'15,"0"-14"1,13 14 0,-14 0-16</inkml:trace>
  <inkml:trace contextRef="#ctx0" brushRef="#br0" timeOffset="84286.39">17740 8890 0</inkml:trace>
  <inkml:trace contextRef="#ctx0" brushRef="#br0" timeOffset="85264.43">18534 6535 0,'40'0'16,"-27"0"-16,0 0 0,0 0 16,1 0-16,-1 13 15,0-13-15,27 27 16,-27-1-16,0 41 15,-13-41-15,0 14 16,0-1-16,0 14 0,0-13 0,0 13 16,0 0-16,0 0 0,0 13 0,0 0 15,0 0-15,13 0 0,-13 0 16,14 1-16,-1-1 0,-13 13 0,13-13 16,0 14-16,1-1 0,-1 0 0,0 1 15,0-1-15,1 0 0,-14 14 16,13-14-16,-13 1 0,0-1 0,13 14 15,-26-14-15,13 1 0,0-1 16,0 0-16,0 1 0,0-1 0,-13 0 16,13 1-16,0-14 0,0 13 15,0 1-15,0-14 0,0 0 0,13 13 16,-13-12-16,13-1 0,-13 0 0,26 106 16,-12-119-1,-14-14-15,13 14 0,-13-13 0,13 0 16,0-1-16,1-12 0,-14 13 0,13-27 15,-13 13-15,0-13 0,13 1 16,-13-1-16,0 0 0,0 0 16,0 1-16,0-1 0,-13 0 15,0 0-15,-1 1 0,1-14 16,0 13-16,-40 13 16,0 1-16,27-14 15,-1-13-15</inkml:trace>
  <inkml:trace contextRef="#ctx0" brushRef="#br0" timeOffset="86003.7">15637 12449 0,'-27'0'0,"67"0"15,-13 0 1,25 0-16,1 0 0,27 13 0,-1-13 16,14 0-16,13 0 0,-1 0 0,41 0 15,-1 0-15,27 0 0,0-13 16,0-1-16,27 14 0,-1-13 0,80-13 16,0 12-16,-14-12 0,14 13 0,0 0 15,13-14-15,0 14 0,0 13 16,0-13-16,-13 13 0,-53 0 0,53 0 15,-67 13-15,54 0 0,-80 0 0,0 1 16,1-1-16,-14 0 0,-14 0 16,-12 0-16,396 27 31,-489-40-31,-13 0 0,-27 0 16,0 0-16,1 0 0</inkml:trace>
  <inkml:trace contextRef="#ctx0" brushRef="#br0" timeOffset="86703.74">15438 12713 0,'-26'40'0,"13"-27"15,-14 80 1,27-67-16,0-13 0,0 14 0,14 26 15,-14-40-15,26 14 16,-13-1-16,14-13 0,-14 0 0,66 1 16,-52-14-1,-1 0-15,-13-14 0,14 14 16,-1-13-16,-12 0 0,-14-13 0,13 12 0,-26-25 16,-1 25-16,-12-12 15,-1-1-15,1 14 0,-14 0 0,1 0 16,-1 0-16,-13 13 0,13 0 0,14 0 15,-1 13-15,1-13 0,-1 13 16,1-13-16,13 13 0,0 0 0,13 1 16</inkml:trace>
  <inkml:trace contextRef="#ctx0" brushRef="#br0" timeOffset="87284.19">23614 12806 0,'-13'40'0,"0"-14"0,-27 67 16,27-54-16,-1 1 16,1 0-16,0 13 0,13-14 0,-26 94 15,26-94-15,0-12 16,0-1-16</inkml:trace>
  <inkml:trace contextRef="#ctx0" brushRef="#br0" timeOffset="88115.7">15002 11933 0,'-27'26'15,"14"-13"1,0 14-16,13-14 0,0 0 0,0 14 15,0-1-15,13-13 0,-13 14 0,13-1 16,1-12-16,-1-1 0,13 13 16,27-12-16,-26-14 15,-1 0-15,1-14 0,12 1 0,27-13 16,-52-1-16,39-26 31,-53 27-31,0 13 0,0-1 0,0 1 16,-14 0-16,14 0 0,-39-1 15,25 1-15,1 0 0,-13 13 16,13-13-16,-14 13 0,14-14 0,0 14 16,-1 0-16,1 0 0,-13 0 15,12 0-15</inkml:trace>
  <inkml:trace contextRef="#ctx0" brushRef="#br0" timeOffset="88327.88">15663 11576 0,'14'13'15,"-28"13"1,1 14-16,0 13 16,-27 53-1,27-67-15,-13 27 16,12-26-16,1-13 0,0 12 0,0-12 0,-1 26 15,1-27-15,0-13 0,13 1 16,-13-1-16,-1 13 16</inkml:trace>
  <inkml:trace contextRef="#ctx0" brushRef="#br0" timeOffset="88448.51">15386 11933 0,'-14'-14'0</inkml:trace>
  <inkml:trace contextRef="#ctx0" brushRef="#br0" timeOffset="88604.88">15915 12105 0,'13'0'0,"0"0"16,-13-14-16,13 1 16,1 0-1,-1 13 1</inkml:trace>
  <inkml:trace contextRef="#ctx0" brushRef="#br0" timeOffset="89193.13">22728 11906 0,'-14'53'15,"14"-40"-15,0 14 0,-26 26 16,13-40-16,13 13 15,-13-12-15,13-1 0,-14 0 0,14 0 16,0 1-16</inkml:trace>
  <inkml:trace contextRef="#ctx0" brushRef="#br0" timeOffset="89679.61">22860 12012 0,'-13'27'16,"13"-14"-16,-13 0 16,13 0-16,-14 0 0,14 1 0,0 12 15,14-13-15,-14 1 0,0-1 16,26-13 0,-13 0-1,-13-27-15,0 14 16,0 0-1,0 0-15,-13 13 0,13-14 16,0 1 0,13 13-1,0-13-15,1 13 16,-1 0 0,0 13-1,-13 0-15,0 1 16,0 12-1,13-26-15,-13 13 0,14 1 16,-1-14 0,0-14-1,-13-12 17,-26 13-17,26-1-15</inkml:trace>
  <inkml:trace contextRef="#ctx0" brushRef="#br0" timeOffset="89856.12">23257 12065 0,'13'13'0,"-26"0"15,13 1-15,-13-1 16,-1 0-16,14 0 0,-13 1 0,0-1 16,0 0-1,0 0-15,-1 1 16</inkml:trace>
  <inkml:trace contextRef="#ctx0" brushRef="#br0" timeOffset="89969.82">23164 12091 0,'-13'0'0,"13"-13"15</inkml:trace>
  <inkml:trace contextRef="#ctx0" brushRef="#br0" timeOffset="90078.79">23429 12184 0,'13'0'0,"-13"-13"32</inkml:trace>
  <inkml:trace contextRef="#ctx0" brushRef="#br0" timeOffset="108064.63">8797 3413 0,'-13'0'15,"53"0"32,-14 0-47,-12 0 0,38 0 16,-12 0-16,13 0 0,13 0 15,-13 0-15,93 13 16,-14 1-16,13-1 16,-65-13-16,-14 13 0,79 13 15,-78-26-15,-1 14 0,0-1 16,40 0-16,-53-13 15,105 13-15,-105-13 16,0 0-16,119 14 16,-145-14-16,12 0 15,-12 0-15,-1 0 0,1 0 0,-1 0 16,14 0-16,-27 0 16,14 0-16,-14 0 0,27 0 15,-14 0-15,14 0 16,-27 0-16,13 0 15,1 0-15,12 0 16,-12 13-16,-14-13 16,27 0-1,-14 0-15,-12 0 16,12 0-16,-13 0 16,14-13-16,-14 13 15,0 0-15,0 0 0,1-14 16,12 14-1,1-13-15,-14 13 0,13-13 16,1-14 0,-1 14-16,-13 0 15,1 0-15,-1-14 16,0 14-16,-13 0 16,13 0-16,-13-1 0,14-12 15,-1 0-15,0-1 16,0 14-16,-13 0 15,13-1-15,1-12 16,-1 13-16,-13-14 16,13 14-16,-13 0 0,13 0 15,-13-27-15,14 27 0,-14-1 16,13-12-16,-13-1 16,0-12-16,0 26 15,0-14-15,0 14 16,0-14-16,0 14 15,-13 0 1,-1 0-16,14 0 16,-13-1-16,-13 1 15,12 0-15,-25 0 16,-1 13-16,-13-14 16,0 1-16,-13 13 15,13-13 1,-13 13-16,0-13 15,0 13-15,-53 0 16,-14-14 0,-65 14-1,92-13 1,14 13-16,-14 0 16,-40-13-1,93 13-15,-39 0 0,-1 0 16,27 0-1,-27 0-15,1-13 16,26 13 0,39 0-16,-118 13 31,105-13-31,-40 0 16,54 13-16,-93 0 15,13 1 16,80-14-15,-67 0 0,0 13 15,80-13-31,-93 13 31,53 0-15,40-13-16,-53 14 31,53-14-31,-40 0 16,13 26 15,14-13 0,13 14-15,-14-14-16,14 0 15,0 14 1,-1-14 0,14 0-16,-13 14 15,13-1 1,0 14 0,0 26-1,13-40-15,-13 1 16,14 26-16,-14-40 15,13 27-15,-13-27 16,13 27-16,-13-27 16,27 40-1,-27-40-15,26 13 16,-13 1-16,0-14 16,14 0-1,-14-13-15,0 13 0,14 1 16,-14-14-1,0 13-15,14-13 16,-14 0 0,0 13-1,0-13 17,1 0 46</inkml:trace>
  <inkml:trace contextRef="#ctx0" brushRef="#br0" timeOffset="110939.83">10557 5371 0,'53'0'16,"13"-13"-16,27 13 16,-41 0-16,1 0 15,106-13-15,-119 13 0,26 0 16,-26-14-16,-14 14 0,1 0 15,-14 0-15,0 0 16,27-13-16</inkml:trace>
  <inkml:trace contextRef="#ctx0" brushRef="#br0" timeOffset="111168">11218 5146 0,'27'0'15,"-14"13"-15,40 1 0,-13-1 16,-1 0-16,-12 0 0,39 27 16,-26 13-16,-14-27 15,-13 27-15,-13-39 16,-13 25-16,-13 41 16,-27-1-16,13-39 0,14-14 0,-14 1 15,-26 39 1,-14-27-16,54-25 0</inkml:trace>
  <inkml:trace contextRef="#ctx0" brushRef="#br0" timeOffset="116898.63">12396 4974 0,'-14'13'16,"14"14"-16,0-14 16,0 40-16,0-40 15,0 14-15,0 12 0,0-25 16,0-1-16,0 13 0,-13 1 16,13-14-16,0 0 15,0 0-15,0 1 0,0-1 0</inkml:trace>
  <inkml:trace contextRef="#ctx0" brushRef="#br0" timeOffset="117528.1">12303 5014 0,'0'-13'0,"-13"13"16,13-14-1,-13 14 95,13-13-64,0 0-14,0 0-1,13 13-31,-13-14 16,13 14-16,-13-13 0,27 13 15,-27-13-15,13 13 16,0-13-16,27 0 15,-27 13-15,13 0 0,1 13 0,-14 0 16,14 0-16,-14 0 16,13 27-16,-26-13 0,13-14 15,1 13-15,-1 14 0,-13 0 16,13-14-16,-13 1 16,0-1-16,0 1 15,0-1-15,0-13 0</inkml:trace>
  <inkml:trace contextRef="#ctx0" brushRef="#br0" timeOffset="118411.79">12330 5226 0,'13'-40'31,"0"40"-31,0-13 0,14 13 16,-1-14-16,1 1 15,-1 13-15,27-26 0,13-1 16,-39 1-16,12 13 0,14-27 16,-40 27-16,1-1 15,-1 1-15,0 0 0,14 0 16,-14-1-16,-13 1 0,13 13 15,-13-13-15,13 13 16,1 13 0,-14 0-16,0 14 15,0-14-15,0 0 16,0 14-16,13-14 0,-13 14 16,13-1-16,-13 0 15,0-12-15,13-1 0,-13 0 16,-26-13 15,13 0-15,-1 0-16,1 0 0,-13 0 15,12 0-15,-12 13 0,-1 1 16,1-1 0,13 0-16,13 0 0,-13 1 15,13-1 1,13-13-16,13 0 15,-13 0-15,1 0 16,12-27-16,1 27 16,-14-13-16,13 0 0,1 0 15,-1-1 1,-13 14-16,1 0 16,-1 0-16,0 0 15,0 14 1,1-1-16,-14 0 15,13-13 1,0 0 15,0-13-31,1 0 0,-1-14 16,0 1-16,0 12 16,0 1-16,-13 0 15,14 13-15,-1-26 16,0 26-16,0 0 15,1 0 1,-1 0 0,-13 13-16,13 0 15,-13 0 1,0 0 0,13 1-16,-13-1 31</inkml:trace>
  <inkml:trace contextRef="#ctx0" brushRef="#br0" timeOffset="118800.92">13216 4987 0,'0'-26'16,"13"26"-1,0 0 17,1 13-17,-14 0 1,0 1 0,0-1-1,0 0 1,-40-53-16,93 80 15,-53-27 1,13-13-16,0 0 16,14 0-1,-14 0-15,0 0 0,14-13 16,-1 13-16,-13 0 16,14 0-16,-1 0 31,-26 13-16</inkml:trace>
  <inkml:trace contextRef="#ctx0" brushRef="#br0" timeOffset="119039.99">12594 5477 0,'27'-13'16,"-1"-1"-16,1 1 0,12 0 16,1 0-16,66-27 0,-40 27 15,-13 0-15,79-14 16,-79 1-16,40 12 16,12 1-16,-65 13 15,-847 212-15,1641-424 0,-821 212 16,-13 13-16</inkml:trace>
  <inkml:trace contextRef="#ctx0" brushRef="#br0" timeOffset="119241.93">12938 5503 0,'-26'14'31,"65"-28"-15,-25 14-16,12-13 0,1 13 15,52-26-15,40-1 16,-26 1 0,-41 13-16,-38 13 15,-1 0-15,0-14 0</inkml:trace>
  <inkml:trace contextRef="#ctx0" brushRef="#br0" timeOffset="127087.44">14102 5146 0,'-13'-13'0,"26"0"16,1 13-1,-1 0-15,13-14 16,1 1 0,-14 13-1</inkml:trace>
  <inkml:trace contextRef="#ctx0" brushRef="#br0" timeOffset="127308.69">14274 5027 0,'40'0'0,"-27"13"15,-66-26-15,119 26 0,-52-13 0,-14 14 16,13-14-16,-13 13 16,0 0-16,0 0 15,-13-13-15,13 13 0,0 1 16,-27-1-16,27 0 15,-13 0 1</inkml:trace>
  <inkml:trace contextRef="#ctx0" brushRef="#br0" timeOffset="127632.86">14645 4961 0,'-14'0'0,"28"26"16,12-12-1,-13-1-15,-13 0 0,14 0 16,-14 1-16,0-1 0,13 0 15,-13 0-15,0 0 0,-13-13 0,-1 27 16,-12-14 0,13 0-16,-1 1 0,1-14 15,0 0-15,-13 13 0,12-13 16,1 0-16,0 0 16,13-13-16</inkml:trace>
  <inkml:trace contextRef="#ctx0" brushRef="#br0" timeOffset="127948.7">14830 4961 0,'0'0'16,"0"26"-1,13-12-15,-13-1 16,13 0-16,1-13 0,-1 13 15,0 1-15,0-14 0,14 13 16,-14-13-16,13 0 0,-12 0 0,12 13 16,-13-13-16,1-13 0,-1 13 15,0 0-15,13-13 0,-26-1 16,0 1 0,-13 13-16,0-13 0,-13 13 15,12-13-15,1 13 0,-13 0 16,-1 0-16,1 0 15,12 0-15,1 0 16,0 0-16</inkml:trace>
  <inkml:trace contextRef="#ctx0" brushRef="#br0" timeOffset="128128.76">15319 4895 0,'14'39'16,"-28"-12"0,14-1-16,-13-12 15,13 12-15,-26 14 16,12-14-16,14-13 16,-13 1-16</inkml:trace>
  <inkml:trace contextRef="#ctx0" brushRef="#br0" timeOffset="128236.82">15121 5014 0,'-13'-13'0,"13"-1"16</inkml:trace>
  <inkml:trace contextRef="#ctx0" brushRef="#br0" timeOffset="128370.98">15452 5080 0,'26'-13'16</inkml:trace>
  <inkml:trace contextRef="#ctx0" brushRef="#br0" timeOffset="128797.03">14684 5596 0,'27'0'15,"26"-13"-15,26-1 16,-26-12-16,13 13 0,66-40 16,14-13-16,26-27 15,-79 40-15,79-66 16,-93 66-16,-13-13 0,-13 26 16,13-65-16,-53 25 15,-26 40-15,-53-39 0,-40 13 16,27 40-16,-1-1 15,-25 1-15,12 12 0,-119 1 16,80 26-16,-106 14 16,132-1-16,-92 54 0,118-41 15,1 14-15,-14 40 16,27 26-16,53-53 0,0 40 16,26-53-16,40 53 15,-13-67-15,12 14 0,1-13 16,13-14-16,67 41 15</inkml:trace>
  <inkml:trace contextRef="#ctx0" brushRef="#br0" timeOffset="133049.69">12488 5834 0,'252'-40'0,"-199"27"16,79-27-16,-66 27 0,13 0 15,54-13-15,-80 12 16,13 1-16,-13 0 0,-14 0 0,1-1 15,-13 14-15,-1 0 0</inkml:trace>
  <inkml:trace contextRef="#ctx0" brushRef="#br0" timeOffset="133252.75">12713 5940 0,'66'-13'0,"53"-1"16,-79 1-1,26 0-15,0 0 0,-13 0 0,80-14 16,-94 14-16,14 0 0,-13-1 16</inkml:trace>
  <inkml:trace contextRef="#ctx0" brushRef="#br0" timeOffset="136711.98">18137 3651 0,'40'0'0,"-14"-13"0,27 13 0,-13 0 15,26 0-15,0 0 16,106-13-16,-79 13 0,158-13 16,-119-1-16,1 14 0,12-13 15,-12 0-15,131 0 16,-132 13-16,107-14 0,-134 14 15,1 0-15,-13 0 16,92-13-16,-106 26 0,1-13 16,-27 0-16,0 0 0,0 0 0,13 0 15,-27 14-15,-25-14 0,-1 0 16,0 0-16,0 0 16,-39 0 46</inkml:trace>
  <inkml:trace contextRef="#ctx0" brushRef="#br0" timeOffset="137878.82">23548 3519 0,'79'0'16,"-39"0"-16,0 13 16,13-13-16,13 0 0,-13 13 0,13-13 15,13 0-15,67 14 16,-14-14-16,-79 0 0,0 0 0,0 0 16,0 0-16</inkml:trace>
  <inkml:trace contextRef="#ctx0" brushRef="#br0" timeOffset="139005.82">1230 4180 0,'291'-26'0,"-66"13"16,-106 0-16,14-1 0,158-12 15,-159 13-15,13-1 0,-12 1 16,12 0-16,-12 13 0,-1-13 16,-13-1-16,-26 1 0,-1 13 15,14-13-15,-27 0 0,14 0 0,-14 13 16,40-14-16,-66 1 0,0 13 16,-13-13-16,-14 13 0</inkml:trace>
  <inkml:trace contextRef="#ctx0" brushRef="#br0" timeOffset="145307.87">1323 5159 0,'66'-13'16,"-26"13"-16,13-13 16,13 0-16,13 13 0,1-14 0,12 1 0,1 0 15,13 13-15,13-13 0,0 0 0,-27-1 16,14 1-16,-13 13 0,-1-13 16,1 0-16,-14 13 0,1-14 0,-1 1 15,0 13-15,-12-13 0,-14 13 16,-1-13-16,-12 13 0,0 0 0,-14 0 15,-12 0-15,-1-14 0,0 14 0</inkml:trace>
  <inkml:trace contextRef="#ctx0" brushRef="#br0" timeOffset="145524.41">1984 5252 0,'93'13'0,"-53"-13"0,198 0 16,53-13-1,-212 0 1,106 13 0,-132-13-16,0 13 0,0 0 15,-13 0-15,52-14 0,-39 14 16</inkml:trace>
  <inkml:trace contextRef="#ctx0" brushRef="#br0" timeOffset="146725.57">9657 9631 0,'172'-27'0,"-132"27"0,13 0 0,132-26 15,-132 26 1,0 0-16,13-13 0,-13 13 0,0 0 15,0 0-15,-13 0 0,-1 0 16,1-14-16,-14 14 0,-12 14 16,12-14-16,-13 0 0,0-14 0,1 14 15,-1 14-15</inkml:trace>
  <inkml:trace contextRef="#ctx0" brushRef="#br0" timeOffset="147027.57">9710 9697 0,'265'0'15,"-226"0"-15,1 0 0,0 0 0,13 0 0,-14 0 16,41 0-16,-40 0 0,-1 0 16,-12 0-16,-1 0 0,1 0 15,-1 0-15,1 13 0,12-13 16,-26 0-16,1 0 0,12 0 0,-13 0 16,1 0-16,25 0 15,-12-13-15,-1 13 0,1 0 16,12-13-16</inkml:trace>
  <inkml:trace contextRef="#ctx0" brushRef="#br0" timeOffset="147666.87">13467 9525 0,'66'13'0,"-26"-13"16,53 0-16,-40 0 15,0 0-15,-1 13 0,173-13 16,-53 0 0,-119 0-1,53 0-15,0 0 16,-80 0-16,1 0 0,26 0 16,-40 0-1,0 0-15,0 0 0</inkml:trace>
  <inkml:trace contextRef="#ctx0" brushRef="#br0" timeOffset="147919.72">13758 9604 0,'133'27'15,"-80"-14"-15,-14-13 0,1 0 16,0 0-16,13 13 0,-14-13 0,1 0 16,13 0-16,-27 14 0,14-14 15,0 0-15,-14 0 0,1 0 16,12 0-16,-12 13 0,-14-13 0,13 0 16,-12 0-16,12 0 0,-13 0 0,1 0 15,-1 0-15,0 13 16,0-13-16,0 0 15,1-13-15</inkml:trace>
  <inkml:trace contextRef="#ctx0" brushRef="#br0" timeOffset="152140.43">9750 10279 0,'13'-13'0,"-13"39"16,0 1-1,0-14-15,-13 0 16,13 0-16,0 1 0,0 12 0,-13-13 16,13 14-16,-14-14 0,14 14 15,-13-14-15,13 0 0,-13 0 0,13 14 16,-13-14-16,13 0 0,0 0 16,0 1-1</inkml:trace>
  <inkml:trace contextRef="#ctx0" brushRef="#br0" timeOffset="152391.89">10186 10372 0,'-52'39'16,"38"-25"-1,-25-1-15,12 13 0,1-12 0,-14 12 0,0 0 16,14 1-16,-40 26 16,39-27-16,-12-13 0,12 14 15,1-1-15,-1 1 0,1-1 0,-1-12 16,14 12-16,-13-13 0,12 14 16,1-1-16,0-13 0,0 1 15,13-1-15</inkml:trace>
  <inkml:trace contextRef="#ctx0" brushRef="#br0" timeOffset="153065.12">9909 10914 0,'53'13'0,"-53"1"15,13-1-15,-13 13 16,-13-13-16,13 1 16,-14-1-16,1 0 0,-13 27 15,12-27-15,1 0 0,0 0 16,13 1-16,-13-1 0,-1 0 16,1 0-16,0-13 0,13 14 15,-13-1-15,26 0 47,0-13-47,0 0 0,1 0 16,-1 0-16,0 0 15,0 0-15,1-13 0,-1 13 0,0 0 16,14 0-16,-14 0 0,0 0 16,0-13-16,0 13 15,1 0-15,-1-14 16,0 14-16,0 0 15,1 0 1</inkml:trace>
  <inkml:trace contextRef="#ctx0" brushRef="#br0" timeOffset="153849.43">13652 10094 0,'14'0'16,"-14"40"-1,0-27-15,0 40 16,-14-27-16,14 1 15,-13-1-15,0 14 0,13 13 16,-13-40-16,13 0 16,0 27-16,0-14 15</inkml:trace>
  <inkml:trace contextRef="#ctx0" brushRef="#br0" timeOffset="154107.73">14076 10279 0,'-146'106'16,"54"-27"-16,65-52 15,1-1-15,-1 1 0,1-1 0,-1 1 16,1 12-16,-1-12 0,1-1 16,13 1-16,0-14 0,-1 13 0,1-12 15,0-1-15,13 0 0,-13 0 16,13 0-16</inkml:trace>
  <inkml:trace contextRef="#ctx0" brushRef="#br0" timeOffset="154543.56">13957 10755 0,'66'0'15,"-53"27"1,0-14-16,-26 0 16,0 53-1,-14-39-15,1 13 0,13-27 16,0 13-16,-1-13 0,1 1 15,0-1-15,0 0 0,13 0 16,0 1-16,13-14 16,0 0-16,14 0 15,52 0 1,-53-14-16,1 14 16,39-13-16,-26 13 0,-14-13 15,-13 0-15,1 13 16,12-14-16</inkml:trace>
  <inkml:trace contextRef="#ctx0" brushRef="#br0" timeOffset="155495.6">8334 10795 0,'27'-13'15,"-14"13"1,0 0-16,14 0 0,-14 13 0,27-13 16,13 0-1,-40 0-15,0 0 16,0 13-16,0-13 16</inkml:trace>
  <inkml:trace contextRef="#ctx0" brushRef="#br0" timeOffset="155683.63">8334 10980 0,'93'0'0,"-80"-13"15,14 13-15,-1 0 16,1-13-16,25 13 0,-12-13 15,-27 13-15,14 0 0</inkml:trace>
  <inkml:trace contextRef="#ctx0" brushRef="#br0" timeOffset="164812.71">10729 11020 0,'0'-13'0,"13"13"16,-53 0 31,1 13-32,25-13 1,1 0-16,0 13 0,0-13 16,0 0-16,-1 0 0,1 0 0,0 13 15,-14-13-15,14 0 0,0 0 16,0 0-16,0 14 0,-1-14 15,1 0-15,0 0 0,0 0 16,-1 0-16</inkml:trace>
  <inkml:trace contextRef="#ctx0" brushRef="#br0" timeOffset="165144.5">10438 10954 0,'0'-13'15,"-27"26"-15,27 0 16,-13-13-16,13 13 0,-13-13 0,0 27 15,13-14 1,0 0-16,0 14 16,13-14-16,-13 0 0,13-13 15,-13 13-15,13-13 0,1 13 16,-1-13-16,0 14 0,0-14 0,14 13 16,-14-13-16,0 0 0,14 0 15,-14 0-15</inkml:trace>
  <inkml:trace contextRef="#ctx0" brushRef="#br0" timeOffset="166284.65">11112 10874 0,'0'27'0,"0"-1"16,0-12-16,0-1 15,-13 0-15,13 0 0,0 0 16,-13 27-16,13-27 0,-13 1 16,13-1-16,-13 26 15,13-25-15,0-1 0,-14-13 16,14 13-16</inkml:trace>
  <inkml:trace contextRef="#ctx0" brushRef="#br0" timeOffset="166523.7">11271 10888 0,'0'-14'0,"0"41"32,-13 13-17,13-27-15,0 0 0,0 0 0,-13 0 16,13 1-16,0-1 0,-13 0 16,13 0-16,0 14 0,0-14 15,-14 0-15,14 0 0</inkml:trace>
  <inkml:trace contextRef="#ctx0" brushRef="#br0" timeOffset="166752.41">11099 11073 0,'27'-13'0,"-14"13"15,0 0-15,0-14 0,1 14 16,-1 0-16,0 0 0,0 0 16,1 0-16</inkml:trace>
  <inkml:trace contextRef="#ctx0" brushRef="#br0" timeOffset="167449.76">11430 10954 0,'-26'13'31,"26"0"-31,0 0 16,0 1-16,-14-1 15,14 0-15,14 0 16,-14 1-16,0-1 0,13 0 15,0 0 1,0-13-16,0 0 16,1 0-16,-14-13 15,13 13-15,0-13 16,-13 0-16,0-1 16,-13 14-1,13-13-15,-13 0 0,-1 0 16,1 13-1,0 0 1,39-14 31,-12 28-31,-1-14-16,0 13 15,0-13-15,-13 13 0,14-13 16,-14 13-16,13 1 15,-13-1 1,0 0 0,13-39 31,-13 12-32,13 1-15,1-13 16,-1 26-16,-13-14 15,13 14-15,-13-13 0,13 13 16</inkml:trace>
  <inkml:trace contextRef="#ctx0" brushRef="#br0" timeOffset="167826.29">11748 10914 0,'13'0'31,"13"-13"-16,-13 13 1,1 0-16,-14-13 16,13 13-16,-13 13 31,0 27-15,-13-40-16,13 13 15,0 0-15,-14 0 0,14 0 0,0 1 16,0-1-16,0 0 15,0 0-15,0 1 0,0-1 16,0 0-16,0 0 16</inkml:trace>
  <inkml:trace contextRef="#ctx0" brushRef="#br0" timeOffset="170649.23">11205 11284 0,'27'14'47,"-1"-1"-31,-13-13 0,14 13-16,-14-13 0,0 0 15,14 13-15,-1-13 0,-13 0 0,14 14 16,-14-14-16,13 0 0,1 13 0,-14-13 15,14 0-15,-1 0 0,-13 0 0,14 0 16,-1 0-16,-13 0 0,14 0 16,-1-13-16,-12 13 0,12 0 0,-13-14 15,14 14-15,-14-13 0,0 13 16,14-13-16,-14 13 0,0-13 0,0 13 16,1-14-16,-1 1 0,13 0 15,-13 13-15,-13-13 0,14 13 16,-1-13-16,0-1 0,0 1 15,1 0-15,-14 0 0,13 13 16,-13-14-16,0 1 0,13 0 16,0 0-16,-13-1 15,14-12-15,-14 13 0,13 0 16,-13-1-16,0 1 16,0 0-16,0 0 15,0-1-15,0 1 0,0 0 16,0 0-16,0 0 15,0-1-15,-27-12 16,27 13-16,0-1 0,-13 1 16,13 0-16,-13 13 0,0-27 15,-1 14-15,1 0 16,0 0-16,0 0 0,-1-1 16,1 1-16,0 13 15,13-13-15,-26 0 0,12 13 16,1-14-16,0 14 0,0-13 15,-1 13-15,1-13 0,0 13 16,-13 0-16,12-13 0,1 13 16,0 0-16,0 0 0,-1 0 15,1 0-15,-13-14 0,12 14 16,1 0-16,0 0 0,0 0 0,0 0 16,-1 0-16,1-13 15,0 13-15,0 0 0,-1 0 0,1 0 0,0 0 16,0 0-16,-1 0 0,1 0 15,0 0-15,0 0 16,0 0-16,-1 0 16,1 0-16,-13 0 0,12 0 15,-12 13-15,13-13 16,-1 0-16,1 0 16,0 0-16,0 14 0,0-14 15,-1 0-15,1 13 16,0-13-16,0 0 0,-1 13 15,1-13-15,0 0 16,0 13-16,-1 1 16,1-14-16,13 13 15,-13-13-15,0 13 0,0 0 16,-1 1 0,1 12-16,0-13 15,0 14 1,-1-14-16,14 0 0,-13 0 15,13 1 1,-13 12-16,13-13 16,0 1-16,0 12 0,-13 0 15,13-12-15,13-1 16,-13 0-16,0 0 16,0 1-16,13 12 0,-13-13 0,13 0 15,-13 1-15,14-1 0,-14 0 16,13 0-16,0 1 0,0-1 15,1-13-15,-1 13 0,0 0 16,0-13-16,0 14 16,14-1-16,-14-13 15,0 13 1,1-13 0,-1 13-16,0-13 15,0 0 1,1 0-1,-1 13 17,0-13 46,-13-13 0,0 0-62,0 0-1,0 0-15</inkml:trace>
  <inkml:trace contextRef="#ctx0" brushRef="#br0" timeOffset="173204.34">9935 10226 0,'27'-26'31,"-1"26"-15,-13 0-16,-13-14 15,13 14-15,1 0 16,-1-13-16</inkml:trace>
  <inkml:trace contextRef="#ctx0" brushRef="#br0" timeOffset="173575.82">9856 10173 0,'-14'27'0,"1"-1"16,26-26-16,-13 13 15,14 1 1,25-1-1,-25-13 1,-14 13-16,26-13 0,-13 0 16</inkml:trace>
  <inkml:trace contextRef="#ctx0" brushRef="#br0" timeOffset="175109.51">10213 10028 0,'0'13'16,"0"13"-16,0-12 16,0-1-16,0 0 15,-13-13-15,13 27 16</inkml:trace>
  <inkml:trace contextRef="#ctx0" brushRef="#br0" timeOffset="175342.45">10292 10014 0,'14'-13'15,"-14"40"-15,0-14 16,13 0-16,-13 0 15,0 1-15,0 12 0,0-13 0,0 1 16,0 12 0,0-13-1</inkml:trace>
  <inkml:trace contextRef="#ctx0" brushRef="#br0" timeOffset="175648.06">10186 10147 0,'40'-13'0,"-40"-1"15,13 14-15,14-13 0,-1 0 16,-12 13-16,-1-13 0,13-1 16,1-12-16,-1 26 15,1-27-15,-1 14 0,-13 0 16,1 0-1,-306 185 1,584-331 0,-292 185-1,0 1-15,-14-14 0,14 14 16,0-1 0,0 1-1,0-14-15</inkml:trace>
  <inkml:trace contextRef="#ctx0" brushRef="#br0" timeOffset="176031.77">10702 9975 0,'0'26'15,"0"14"1,0-27-16,-13 14 16,13-14-16,13 13 15,-13-12-15,0-1 16</inkml:trace>
  <inkml:trace contextRef="#ctx0" brushRef="#br0" timeOffset="176439.79">10557 10014 0,'40'0'15,"-27"-13"-15,0 13 0,0 0 0,40-13 16,-13 0-1,13 13-15,-40 0 16</inkml:trace>
  <inkml:trace contextRef="#ctx0" brushRef="#br0" timeOffset="177395.81">8824 12396 0,'66'-27'15,"-26"14"-15,-14 0 0,1 13 16,-14 0-16,13-13 0,1 13 16,-1 0-16,1 0 15,-14 0-15</inkml:trace>
  <inkml:trace contextRef="#ctx0" brushRef="#br0" timeOffset="177561.66">8811 12541 0,'-27'13'16,"67"-13"15,-14 0-31,14-13 16,0 13-16,13 0 15,-14-13-15,1 13 0,26 0 16</inkml:trace>
  <inkml:trace contextRef="#ctx0" brushRef="#br0" timeOffset="178122.69">9657 12303 0,'27'-40'15,"-14"40"-15,-13-13 0,-13 26 32,0 1-17,-1-14-15,-12 13 0,-1 0 16,1 0-16,-1 14 15,14-27-15,13 13 16,0 0-16,13 0 16,1-13-16,-1 0 15,27 14 1,-27-14-16,27 13 0,-14-13 16,14 13-16,-27-13 15,-13 13-15,13-13 0,-13 27 16,-13-27-1,13 13-15,-27 0 0,14 1 0,-13-1 16,-1 0-16,1 0 16,13 0-16,-1-13 15</inkml:trace>
  <inkml:trace contextRef="#ctx0" brushRef="#br0" timeOffset="178468.38">9882 12369 0,'0'-13'16,"0"79"15,0-53-15,13-13-16,1 14 0,-1-1 15,13-13-15,14 0 16,0 0-16,-27 0 0,13 0 16,14-27-1,-13 1-15,-14 26 16,-13-13-16,0-1 0,-265 1 16,517 0-16,-279 0 15,14 0-15,0 13 0,-1-14 16,1 14-16,-13 0 15,-1 0-15,14 0 16,-13 14-16,12-14 16,14 13-16,0 0 0</inkml:trace>
  <inkml:trace contextRef="#ctx0" brushRef="#br0" timeOffset="178704.66">10411 12158 0,'40'-27'16,"-40"93"15,0-52-31,-13-1 16,13 26-16,-13-12 15,13-1-15,-14 14 0,1-27 16,13 14-16,-13-14 0,13 0 15,-13 14-15,-1-1 0,1-13 32</inkml:trace>
  <inkml:trace contextRef="#ctx0" brushRef="#br0" timeOffset="178852.38">10239 12277 0,'-13'-14'16</inkml:trace>
  <inkml:trace contextRef="#ctx0" brushRef="#br0" timeOffset="179022.25">10729 12316 0,'13'-13'31,"-26"0"-15,26 13 0,0-13-1</inkml:trace>
  <inkml:trace contextRef="#ctx0" brushRef="#br0" timeOffset="180043.44">13586 12012 0,'53'-13'16,"-92"13"15,-1 13-31,0 0 15,14 1-15,-1-14 16,1 13 0,-1 0-16,14 0 15,13 0-15,27 1 16,-27-1 0,13-13-16,0 13 0,0 0 15,1-13-15,-1 14 0,0-14 16,0 13-16,0 0 0,1 0 15,-14 1-15,0-1 16,-14-13-16,14 13 0,-26 13 16,0-12-16,-14-1 15,13 0-15,14-13 0,0 13 0,-14-13 16,1 0-16,13 0 16,0 0-1,13-13-15,26 0 16,0 0-1</inkml:trace>
  <inkml:trace contextRef="#ctx0" brushRef="#br0" timeOffset="180388.52">13692 12078 0,'-26'27'15,"26"-14"1,-14 0-16,14 0 15,0 14-15,0-1 16,0 1-16,27-1 16,-14-13-16,14 1 15,-14-14-15,27 0 0,-27 0 16,13 0-16,-13 0 0,14-14 0,-14 14 16,0-13-16,1 0 15,-14 0-15,13 13 0,-13-13 16,-13-1-16,13 1 0,-14 0 15,-12 0-15,13-1 0,-1 14 16,-12-13-16,-14 13 16,27 0-1,-13 0-15,12 0 0,14 13 16,-13-13-16,13-66 16</inkml:trace>
  <inkml:trace contextRef="#ctx0" brushRef="#br0" timeOffset="180608.69">14274 11972 0,'0'40'0,"0"-27"16,-26 27-16,13-14 15,-1 14-15,1-27 16,0 14-16,0 13 0,-1-27 16,1 13-16,0 1 15,13-14-15,-13-13 16,13 13-16</inkml:trace>
  <inkml:trace contextRef="#ctx0" brushRef="#br0" timeOffset="180753.56">14049 12078 0,'-13'-13'16</inkml:trace>
  <inkml:trace contextRef="#ctx0" brushRef="#br0" timeOffset="180881.67">14420 12211 0</inkml:trace>
</inkml:ink>
</file>

<file path=ppt/ink/ink18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14:20.318"/>
    </inkml:context>
    <inkml:brush xml:id="br0">
      <inkml:brushProperty name="width" value="0.05292" units="cm"/>
      <inkml:brushProperty name="height" value="0.05292" units="cm"/>
      <inkml:brushProperty name="color" value="#0070C0"/>
    </inkml:brush>
  </inkml:definitions>
  <inkml:trace contextRef="#ctx0" brushRef="#br0">1654 2910 0,'0'0'0,"211"0"0,80 0 0,40 0 16,26 0 0,80 0-16,-120 0 15,120 0 1,-278 0-16,-67 0 0,-65 0 15,-1 0 1</inkml:trace>
  <inkml:trace contextRef="#ctx0" brushRef="#br0" timeOffset="1191.13">1958 2805 0,'13'0'16,"14"0"-16,12 0 15,14 0 1,-13 0-16,39 0 0,1 0 16,-1 0-16,40 0 15,0 0 1,13 0-16,1 0 0,52 0 16,-53 0-1,27 0-15,92 0 16,-132 0-16,-52 0 15,-1 0 1,-27 0-16,-12 0 16,-1 0-1</inkml:trace>
  <inkml:trace contextRef="#ctx0" brushRef="#br0" timeOffset="8348.29">13229 3717 0,'0'53'0,"0"-26"16,0-14-16,13 0 16,-13 0-16,0 1 15,0-1-15,0 0 0,0 0 0,0 1 16</inkml:trace>
  <inkml:trace contextRef="#ctx0" brushRef="#br0" timeOffset="8688.98">13600 3916 0,'0'13'0,"0"-26"0,0 39 0,0-12 16,-14-14-16,14 26 0,-13-13 15,13 0-15,-13 14 0,13-14 0,-13 0 16,-1-13-16,14 14 0,-13-1 16</inkml:trace>
  <inkml:trace contextRef="#ctx0" brushRef="#br0" timeOffset="9143.65">13957 3691 0,'66'26'16,"-53"-12"-16,-26-1 15,13 0-15,-27 40 16,1-27-16,13 1 0,0-14 15,-1 0-15,1 1 0,0-1 16,0 0-16,-1 0 16,14 1-16,-13-14 15,26 13-15,1-13 16,-1 0-16,0 0 16,0 0-16,1 0 0,-1 0 15,0 0-15,0 0 0,0 0 0,14-13 16,-14 13-16,0-14 0</inkml:trace>
  <inkml:trace contextRef="#ctx0" brushRef="#br0" timeOffset="9323.95">14248 3836 0,'26'14'16,"-26"-1"-1,14 27 1,-14-27-16,0 0 0,0 0 15,0 1-15,0 12 16,-14 0-16,14-12 16,-13-1-16,13 0 0,-13 0 15</inkml:trace>
  <inkml:trace contextRef="#ctx0" brushRef="#br0" timeOffset="9891.17">14526 3744 0,'105'0'16,"-91"0"-16,-14 13 15,0 0-15,0 1 16,-14-1-16,14 0 0,0 0 16,-13-13-16,13 13 0,0 1 15,13-1 1,1-13-1,12 13 1,-13-13-16,1 0 0,-1 13 16,0-13-16,-13 14 0,13-1 0,-13 0 15,0 14 1,-13-27-16,0 13 0,13 0 0,-13 0 16,-1 0-16,1-13 0,0 14 0,0-1 15,-1-13-15,1 0 16</inkml:trace>
  <inkml:trace contextRef="#ctx0" brushRef="#br0" timeOffset="10079.31">14909 3889 0,'27'40'16,"-27"-27"-16,0 14 15,-14 26 1,1-27-16,0-13 0,0 1 16,13-1-16,-13 0 0,13 0 0,-14 1 15</inkml:trace>
  <inkml:trace contextRef="#ctx0" brushRef="#br0" timeOffset="10496.12">15505 3651 0,'0'27'0,"-27"-14"15,1 13-15,12-12 16,1-1-16,-26 40 16,25-53-16,1 13 0,13 0 0,-13 0 15,13 1-15,0-1 16,0 0-16,13-13 15,-13 13-15,13-13 0,1 0 16,-1 0-16,0 14 0,0-14 16,14 0-16,-14-14 0,27 14 15,-14 0-15,-13 0 0,14 0 0,-14-13 16,0 13-16,0 0 0,1-13 16,-1 13-16,0-13 0,-13-1 15</inkml:trace>
  <inkml:trace contextRef="#ctx0" brushRef="#br0" timeOffset="10706.53">15571 3638 0,'-13'53'0,"13"-40"0,13 14 15,-13-14-15,0 13 0,0 1 16,-13-1-16,13 1 0,0 39 15,0-40-15,-14-12 0,14 12 16,0-13-16,-13 14 16,13-14-16,0 0 15</inkml:trace>
  <inkml:trace contextRef="#ctx0" brushRef="#br0" timeOffset="10940.93">15835 3797 0,'14'0'15,"-28"0"-15,41 0 0,-14 13 16,0-13-16,-13 13 16,13 0-16,-13 1 0,14-1 0,-14 0 15,0 14-15,0-14 0,0 0 16,0 14-16,-27 12 0,1 1 15,13 0-15,13-27 0,-14-13 16,14 13-16,-13-13 0,13 13 16</inkml:trace>
  <inkml:trace contextRef="#ctx0" brushRef="#br0" timeOffset="11385.04">16391 3678 0,'-27'0'0,"14"0"16,-13 13-16,13 0 0,-1-13 15,1 13-15,0 1 16,0-14-16,13 13 16,13 0-1,0-13-15,-13 13 0,27-13 0,-14 14 16,0-14-16,13 0 15,-12 13-15,-1-13 0,-13 13 0,13-13 16,0 0-16,-13 13 0,0 0 0,0 1 16,0-1-1,-13 0-15,0-13 0,0 13 0,-1 1 16,1-14-16,0 26 16,0-26-16,0 0 0,13 13 0,-14-13 15,1 0-15</inkml:trace>
  <inkml:trace contextRef="#ctx0" brushRef="#br0" timeOffset="11594">16629 3810 0,'13'40'16,"1"-27"-16,-14 0 0,0 0 15,0 1-15,-14 12 16,1 14-16,0-14 16,0-13-16,-1 14 0,14-14 15,-13 0-15,0 1 0,13-1 16</inkml:trace>
  <inkml:trace contextRef="#ctx0" brushRef="#br0" timeOffset="11935.91">17066 3651 0,'-27'27'15,"14"-14"-15,0 0 0,-1 0 16,14 1-16,-13 25 15,0-12-15,13 12 16,0-25-16,13-1 0,0 0 0,14 0 16,-14 1-16,0-14 15,1 13-15,-1-13 0,0 0 0,0 0 16,1-13-16,-1 13 0,-13-14 16,13 14-16,-13-13 0,0 0 15,0 0-15,-13-1 16,0 14-16,-1 0 15,1 0-15,0 0 0,0 0 16,-67 14-16,41-14 16,-1 13-16</inkml:trace>
  <inkml:trace contextRef="#ctx0" brushRef="#br0" timeOffset="12457.56">14208 4313 0,'318'-40'0,"-239"40"15,80-13-15,-80 13 0,14-13 16,65 13-16,-65 0 15,66-14-15,-93 14 0,185 0 32,-198 0-32,13 0 0,-26 0 15,-27 0-15</inkml:trace>
  <inkml:trace contextRef="#ctx0" brushRef="#br0" timeOffset="12733.33">14724 4432 0,'172'-13'0,"-13"13"0,-80 0 16,1 0-16,12 0 0,-12 0 0,-1 0 15,0 0-15,54 0 0,-81 0 16,1 0-16,-13 0 0,-13 0 16,-1 0-16,0 0 0,1 0 0,-14 0 15,14 0-15,-14 0 0,0 0 16</inkml:trace>
  <inkml:trace contextRef="#ctx0" brushRef="#br0" timeOffset="16076.19">12449 5702 0,'0'26'0,"0"-13"16,0 14-16,0-1 0,0 1 0,0-1 16,0 14-16,0 0 0,0-1 0,0 1 15,-14 0-15,14 13 0,0-27 16,-13 1-16,13-1 15,0 0-15,0-12 0,0 12 0,-13 1 16,13-14-16,0 0 0,0 0 16</inkml:trace>
  <inkml:trace contextRef="#ctx0" brushRef="#br0" timeOffset="16456.75">12343 5728 0,'66'-53'15,"-53"40"-15,40 26 0,-26 1 16,-1-1-16,0 0 0,1 0 16,-1 27-16,-26-27 0,14 0 15,-14 14-15,0-14 0,0 0 0,-14 14 16,1-1-16,0 1 15,-14-1-15,14-13 0,0 1 0,0-1 0,-14 0 16,14 0-16,0 0 0,0-13 16,-1 0-16,1 0 15</inkml:trace>
  <inkml:trace contextRef="#ctx0" brushRef="#br0" timeOffset="16728.82">12859 5675 0,'-80'106'0,"54"-79"0,-1 26 0,14-14 15,-13 14-15,13-13 0,-1-1 16,1 1-16,0 40 0,13-41 15,0 27-15,0-39 0,0-1 16,0 1-16,26 26 0,-26-40 16,14 13-16,-1-12 0,0-1 15,0-13-15,0 13 16,1-13-16,52-13 0,-40 0 16</inkml:trace>
  <inkml:trace contextRef="#ctx0" brushRef="#br0" timeOffset="17732.11">13309 5874 0,'-14'0'0,"1"0"16,0 13-16,0-13 0,-1 13 15,1 0-15,0 1 0,0 12 16,-1-13-16,1 1 0,13-1 16,-13 0-16,13 0 0,0 0 15,0 1-15,0-1 0,0 0 16,13 0-16,0-13 16,1 0-1,12 0-15,-13-13 16,1 0-16,-14 0 15,13-1-15,0 1 0,-13 0 16,13 0-16,-13 0 16,14-1-1,-1 28 48,-13-1-48,0 0-15,0 0 16,0 0-16,13-13 16,-13 27-1,0-14 17,0 0-32,13-13 15,0-13 16,1 0 1,-1 13-32,-13-13 15,13 13-15,0 0 32,1 0-32,-1 0 15,0 13 1,0 0-1,1-13 1,-14 13 0,13-13-1,0 0 1,0 0 0,0 0-1,1 0 16,12 0-15,-26 14-16,13-14 16,14-14-1,-14 14 1,0 0-16,-13-13 0,13 13 0,-13-13 0</inkml:trace>
  <inkml:trace contextRef="#ctx0" brushRef="#br0" timeOffset="18086.05">13692 5993 0,'0'-40'0,"0"27"31,-13 26-15,0 0-1,13 1 1,13-1-16,0 0 31,0-13-15,1 13-16,-1 0 15,0 1-15,-13-1 16,13 27 0,-13-1-16,0-25 0,0-1 15,0 13-15,0-13 0,-13 27 16,0-13-16,13-14 0,-13 0 16,-1 0-16,14 1 0,-13-1 15,0 0-15,0-13 0,-1 0 16,1-13-1,13 0-15,0-1 16,0 1-16,13 0 0,-13 0 0,14-1 16,-14 1-16,13 0 15,-13 0-15,13-1 0,0 14 0</inkml:trace>
  <inkml:trace contextRef="#ctx0" brushRef="#br0" timeOffset="18653.18">14340 5874 0,'-39'0'0,"26"13"16,-1 0-16,14 0 0,-13 1 15,13-1-15,-13 13 16,13-12-16,0-1 0,0 0 16,13 0-1,0 0-15,14-26 16,-14 13 0,-13-13-16,13 13 0,-13-13 15,0 0-15,0-1 0,13 14 0,-13-13 16,0 0-16,0 0 0,14-1 31,-1 28-15,-13-1-16,13 0 0,0 14 15,1 12-15,-1-26 16,-13 14-16,13-14 0,0 40 16,-13-13-16,0-14 0,0-13 15,0 1-15,0-1 0,0 0 16,-13 14-16,13-14 15,-13-13-15,0-13 16,26-1 0,-13 1-16,13-27 15,-13 27-15,13 0 16,0 0-16,1 0 0,-1-1 16,0 1-16,0 0 15,1 0-15,-1 13 0,0-14 16,0 1-16</inkml:trace>
  <inkml:trace contextRef="#ctx0" brushRef="#br0" timeOffset="18963.77">15134 5464 0,'13'26'16,"-13"-13"-16,0 1 0,14 38 15,-14-25-15,0 13 0,13 13 16,-26 26-1,13-39-15,0-1 0,0-12 0,0-1 16,0-13-16,0 14 0,-14-14 16,14 27-16,0-27 0,0 0 15,0 0-15,0 1 0</inkml:trace>
  <inkml:trace contextRef="#ctx0" brushRef="#br0" timeOffset="20026.12">15068 5900 0,'0'0'16,"13"-13"0,27 13-1,-27-13-15,0 13 0,14-13 16,-14 13-16,14-14 0,-1 1 0,-13 0 15,0 0-15,14-1 0,-14 1 16,27-40-16,-27 27 0,0-1 16,1 1-16,-14 13 0,13-14 15,-13 1-15,0 12 0,0 1 16,0-26-16,0 25 16,-13 41-1,-1-14 1,1 13-16,13-12 0,-13 52 15,0-40-15,-1 14 0,14-14 0,-13 1 16,13-1-16,0 1 0,-13-14 16,13 14-16,0-14 0,0 13 0,0-13 15,0 1-15,0-1 0,0 0 16,0 0-16,13-39 31,0 26-31,1-13 16,-1 13-1,0 13 1,0 0 0,1 14-1,-1-27-15,0 0 16,-13 13-16,13-13 16,0 0-16,1 0 0,-1-13 15,0 13-15,0 0 0,1-14 0,-14 1 16,13 13-16,0-13 0,-13 0 0,0-1 15,13 1-15,-13 0 16,-26 13 31,13 13-31,13 0-16,13 1 31,0-14-16,0 0 1,1 0 0,-14 13-16,13-13 0,0 13 15,0-13 17,0 13-32,1 1 15,-1-14 1,0 0-1,0 0 1,1 0 0,-1 0-1,0 0 1,0 0 0,0 0-1,1 13 1,-1-13-16,0 0 15,0 0 1,14 0 0,-14 0-16,0 0 31,1-13-31,-1 13 16,0-14-16,-13 1 15,13 13-15,-13-26 16,0 12-16,0 1 0</inkml:trace>
  <inkml:trace contextRef="#ctx0" brushRef="#br0" timeOffset="20268.2">15822 5318 0,'53'27'16,"-27"-1"-16,1 1 15,13 12-15,-14-12 0,53 65 0,-52-52 16,26 53-16,-27-54 0,-13 1 16,1 0-16,-14-1 0,0 41 15,-14-41-15,1 1 0,0 0 16,-13-14-16,12 14 0,-52 26 16,27-40-16,-41 41 15,54-54-15,-1-13 16,14 13-16,0-13 0</inkml:trace>
  <inkml:trace contextRef="#ctx0" brushRef="#br0" timeOffset="21271.54">13361 6628 0,'27'53'0,"-27"-40"16,0 13-16,0-12 0,0-1 15,0 0-15,0 0 0,0 14 16,0-1-16</inkml:trace>
  <inkml:trace contextRef="#ctx0" brushRef="#br0" timeOffset="21596.79">13639 6734 0,'13'0'0,"1"26"15,-14-13 1,0 1-16,0 25 16,0-26-1,0 1-15,-14-1 16</inkml:trace>
  <inkml:trace contextRef="#ctx0" brushRef="#br0" timeOffset="22127.32">13904 6628 0,'26'26'16,"-39"1"0,13-14-16,-13 0 15,0 0-15,13 1 0,-14 12 0,14-13 16,-13-13-16,13 14 15,0-1-15,0 0 16,13-13-16,1 0 16,-14 13-16,13-13 0,0 0 15,0 0-15,1 0 16,12-13-16,-13 13 16,0-13-16,1 0 0,-1 13 15,0-14 1,0 14-1,1 14 1,-14-1 0,0 0-16,0 0 15,0 14-15,0-14 16,0 0-16,-14 0 16,14 1-16,0-1 15</inkml:trace>
  <inkml:trace contextRef="#ctx0" brushRef="#br0" timeOffset="22468">14314 6641 0,'0'13'0,"-13"14"31,0-14-31,13 0 0,0 0 16,0 1-16,0-1 0,0 0 16,0 0-1,13 1-15,-13-1 0,13 0 16,-13 0-16,0 0 15,0 1-15,-13-14 16,13 13-16,-13 0 16,-1 0-16,1 1 15</inkml:trace>
  <inkml:trace contextRef="#ctx0" brushRef="#br0" timeOffset="22632.1">14380 6826 0,'13'0'0,"-26"0"0,26 13 16,-13 1-16,14-1 15,-14 13-15,0-12 16,-14-1-16,14 0 16,0 14-16,-13-27 0,13 13 15</inkml:trace>
  <inkml:trace contextRef="#ctx0" brushRef="#br0" timeOffset="22927.02">14737 6720 0,'-13'27'16,"13"-14"-16,-13-13 0,13 13 0,-13 1 0,13-1 16,-14-13-16,14 13 0,0 0 15,-13 0-15,13 1 16,0-1-16,13-13 16,1 13-16,-1-13 15,0 0 1,0 0-16,1 0 15,-1 0-15,-13-13 16,13 0-16</inkml:trace>
  <inkml:trace contextRef="#ctx0" brushRef="#br0" timeOffset="23097.12">14817 6747 0,'-27'40'0,"27"-14"15,0-13-15,0 0 16,0 1-16,-13 12 16,13-13-16,13 1 0,-13-1 15,0 0-15,0 0 16</inkml:trace>
  <inkml:trace contextRef="#ctx0" brushRef="#br0" timeOffset="23283.08">14922 6879 0,'14'0'0,"-14"13"15,13-13-15,-13 14 16,0 12-16,-13 1 31,13-14-31,0 0 16,-14 0-16</inkml:trace>
  <inkml:trace contextRef="#ctx0" brushRef="#br0" timeOffset="23560.41">15187 6760 0,'-26'27'0,"39"-14"15,-13 0-15,0 0 0,13 0 16,-13 1-16,0-1 16,0 0-16,0 14 15,-13-1-15,0-26 16,-1 13-16,14 1 15,-13-14 1,0 13-16</inkml:trace>
  <inkml:trace contextRef="#ctx0" brushRef="#br0" timeOffset="23737.19">15227 6892 0,'13'53'16,"-13"-39"-16,-13-1 16,13 0-16,-13 0 15,13 0-15,0 1 16,-14-14-16,14 13 0</inkml:trace>
  <inkml:trace contextRef="#ctx0" brushRef="#br0" timeOffset="24064.95">15756 6681 0,'-27'13'15,"14"13"-15,0-12 16,13 25-16,0-25 0,0-1 16,13 40-1,-13-40-15,13 0 16,1 0-16,-41-13 47,14 0-47,0 0 15,-14 0-15,1 0 16,-14 14-16,14-14 0,-14 13 16</inkml:trace>
  <inkml:trace contextRef="#ctx0" brushRef="#br0" timeOffset="25548.11">17211 5768 0,'80'-27'15,"-41"27"-15,-12 0 16,-1 0-16,-13 0 0,14-13 15,-1 13-15,14 0 0,-27 0 16</inkml:trace>
  <inkml:trace contextRef="#ctx0" brushRef="#br0" timeOffset="25718.82">17277 5980 0,'27'0'15,"-14"0"1,0 0-16,0 0 0,1-14 16,12 14-16,1 0 15,-14 0-15,0-13 0,0 13 16</inkml:trace>
  <inkml:trace contextRef="#ctx0" brushRef="#br0" timeOffset="30536.03">19288 5318 0,'13'119'16,"-26"-13"-16,0-40 15,13 0-15,0-39 16,-13-1-16,13 1 0,0 12 16,0-25-16,-14 12 0,14-13 15,0 1-15,0-1 0,0 13 16,-13-26-16,13 13 15,0 14-15</inkml:trace>
  <inkml:trace contextRef="#ctx0" brushRef="#br0" timeOffset="30888.81">18653 6204 0,'66'0'16,"0"-13"-16,40 13 15,66 0 1,-92-13-16,52 13 15,-66 0-15,93-13 0,-93 13 16,0 0-16,40-13 16,0 13-16,-80-14 0,1 14 15,26 0-15,-27 0 16,-13 0-16,-13 14 16,-13-1-1,-27 0-15,14 13 16</inkml:trace>
  <inkml:trace contextRef="#ctx0" brushRef="#br0" timeOffset="31289.06">19248 6548 0,'-52'14'0,"38"12"15,1 1-15,-27 26 0,27-14 16,-13 41-16,12-14 16,14-13-16,0 0 15,27-14-15,-1-12 16,1-14-1,-14 0-15,0-13 0,14 13 0,-1-13 16,-13-13-16,14 13 16,-27-13-16,13 0 0,-26-14 15,0 14 1,-1 0-16,-12 0 16,0 13-16,-1 0 15,1-14-15,-1 14 16,14 0-16</inkml:trace>
  <inkml:trace contextRef="#ctx0" brushRef="#br0" timeOffset="31711.86">20333 6879 0,'66'0'0,"-39"0"0,26 0 16,-27-13-16,1 13 15,12 0-15,14 0 0,40 0 16,-53 0-1,-14 0-15,-13 0 16,0 0-16,1 0 0</inkml:trace>
  <inkml:trace contextRef="#ctx0" brushRef="#br0" timeOffset="32456.73">20413 6747 0,'-67'26'16,"54"-26"-16,-26 14 15,12 12-15,14-26 0,-14 26 16,14-12-16,-13 12 16,26-13-1,0 1-15,13 12 16,-13-13-16,13-13 16,-13 14-16,13-1 0,1-13 15,-1 13-15,0 0 0,0-13 16,1 13-16,12 1 0,0-1 15,-12-13 1,-1 13-16,0-13 16,0 13-16,1-13 31,-1 14-15,0-14 46,0 0 63,-13-14-109,14-12-16,-14-1 15</inkml:trace>
  <inkml:trace contextRef="#ctx0" brushRef="#br0" timeOffset="35148.07">13428 3307 0,'-40'14'16,"27"-14"-16,-1 0 0,1 13 16,-13-13-16,13 13 0,-1 0 0,1 14 15,-13-14-15,12 13 0,-12 1 16,13-1-16,-14 1 0,14-1 16,0 1-16,-14 26 0,14-14 15,0-12-15,0-1 0,-1 40 16,1-26-16,13-14 0,-13 1 0,13 13 15,-13 13-15,13-14 16,13 14-16,-13-26 16,13-1-16,-13-13 0,27 40 15,-14-26-15,27 39 16,-14-53-16,0 13 0,1 1 16,13-1-16,-1-12 0,41 25 15,-1 1-15,-39-27 16,-1 0-16,14 1 0,40 12 0,-53-13 15,13-13-15,-1 14 16,1-14-16,53 13 0,0 0 16,0-13-1,0 0-15,13 13 0,-66-13 16,66 0-16,40 0 16,-93 0-1,-13 0-15,52 0 0,14 0 16,-66 0-16,53 0 15,0 0-15,-53 0 16,0 0-16,40 0 16,65 14-16,-105-14 15,0 0-15,0 0 0,40 0 16,-40 0-16,39 0 16,1 0-16,-54 0 0,67 0 15,-66 0-15,53 0 16,-14-14-16,-13 14 15,0-13 1,-39 13-16,26 0 0,26-13 16,-53 13-16,27 0 0,27-13 15,-1-1-15,-26 14 16,-27-13-16,67 0 16,-66 13-16,-1 0 0,0-13 15,27-1-15,0 14 16,-26-13-16,-1 13 15,1-13-15,-1 13 0,14-26 16,13 12-16,-40 14 16,40-26-16,-40 13 0,27-14 15,13-13 1,-27 1-16,-13 12 16,14 14-16,-14-13 0,14-27 15,-1-13-15,-13 26 16,-13 27-16,13-1 15,1-52 1,-14 40-16,0-1 0,0 1 16,0-14-16,-14 14 15,1-40-15,-13-1 16,13 41-16,-1-14 0,-12 14 0,-14-27 16,14 26-16,-1 1 15,-26-27-15,27 40 0,-14-14 16,-13-12-16,-13-1 15,0 14-15,-27-14 16,1 0-16,-1 14 16,-52-27-1,39 26-15,-13 1 16,-133-14 0,107 14-1,92 13-15,-53-1 16,13 1-16,-39 0 15,53 0 1,52 13-16,-52 0 16,0 0-16,12 0 15,41-14-15,-53 14 16,52 0-16,-12 0 0,-1 0 16,-79 14-16,53-14 15,39 0-15,-39 0 0,13 13 16,-13-13-1,39 0-15,-78 13 16,12-13-16,53 0 16,-13 0-16,-39 13 15,39-13 1,-40 14 0,67-14-16,-1 0 0,-52 26 15,0-13 1,52-13-16,1 0 0,-1 13 15,1-13-15,-14 0 16,-13 14-16,-13-1 16,13-13-16,27 13 15,-27-13-15,26 13 0,14-13 16,-40 14-16,13-1 16,1-13-16,26 13 0,-14-13 15,1 13-15,-27 14 16,26-27-1,14 13-15,-13-13 0,12 0 0,-25 26 16,25-26-16,1 14 0,0-14 16,-40 26-16,27-13 15,12 1-15,-12-1 16,-1 0-16,1 0 16,0 14-16,12-14 15,1-13-15,0 13 16,0 0-16,-1 1 15,1-14-15,13 13 16,-13-13 0,0 13-1,-1 0 1,28 1 109,-1-14-109,0 13 15,0-13 0,1 0 0,-14-13 16,0-1-31,-14 1-16</inkml:trace>
  <inkml:trace contextRef="#ctx0" brushRef="#br0" timeOffset="40525.33">15862 2381 0,'-13'40'0,"-1"-14"0,1 1 15,0-1-15,0 14 0,-1 0 16,1-1-16,0-12 0,0 13 16,-1-1-16,1-12 0,-13 39 0,13-26 15,-1-14-15,14-13 0,-13 14 0,0-1 16,13-13-16,-13 1 0</inkml:trace>
  <inkml:trace contextRef="#ctx0" brushRef="#br0" timeOffset="40829.94">15518 2805 0,'-13'26'15,"13"-13"1,0 14-16,0-14 0,0 0 16,0 0-16,0 1 0,0 12 0,13-13 15,-13 1-15,13-14 0,14 26 16,-14-26-16,0 0 0,0 13 16,0-13-16,27 0 15,-27-13-15,14 13 0,-14 0 16,13-13-16,-12 13 0,25-13 15,-25 13-15,12-14 0,-13 1 16,1 13-16,-1-13 16,0 13-16,0 0 15</inkml:trace>
  <inkml:trace contextRef="#ctx0" brushRef="#br0" timeOffset="42136.02">19209 6085 0,'66'27'0,"-26"-27"16,-27 0-16,27 13 16,-14-13-16,14 0 0,-1-13 0,14 13 15,53-13-15,-13-14 16,-40 14-16,52-27 0,-52 14 16,40-27-16,-14-13 15,1-27-15,12-52 16,-65 92-1,-14 0-15,13-53 16,-39 66-16,-13-79 16,-1 80-16,-52-54 0,26 53 0,-53-13 15,40 27-15,-93-1 16,80 14-16,-80 13 16,-92 53-16,145-13 15,13-1-15,-65 67 16,25 13-16,27 0 15,54 0-15,12 67 16,40-147-16,0 28 16,26 25-1,1-39-15,92 66 0,-13-53 16,-14-39-16,-39-14 16,80 13-1,-107-26-15,14 0 0</inkml:trace>
  <inkml:trace contextRef="#ctx0" brushRef="#br0" timeOffset="47940.05">13560 8864 0,'-13'0'0,"26"-14"31,13 14-31,1-13 0,-14 13 16,27 0-16,-14 13 15,-13-13-15,27 0 16,-27 14 0</inkml:trace>
  <inkml:trace contextRef="#ctx0" brushRef="#br0" timeOffset="48122.8">13454 9049 0,'13'13'0,"1"-13"16,12 0-16,0 0 15,14 0-15,-27-13 0,1 13 16,12 0-16,0 0 16,27-13-16</inkml:trace>
  <inkml:trace contextRef="#ctx0" brushRef="#br0" timeOffset="52502.8">13150 8030 0,'-53'27'0,"53"-14"0,-13 13 16,-1-13-16,14 27 15,0-13-15,0-14 16,14 27-16,-1-14 16,0-26-16,-13 13 15,13 0-15,1-13 0,-1 0 16,0 0-16,0 0 0,0-13 15,-13 0 1,-13 0 0,13 0-16,-26 13 15,26-14-15,-27 14 0,14 0 16,-13 0-16,12 0 0,1 0 16,0 0-16</inkml:trace>
  <inkml:trace contextRef="#ctx0" brushRef="#br0" timeOffset="52712.79">13494 8070 0,'-27'13'0,"14"0"15,0-13-15,-27 27 16,-13 12-16,27-12 0,-27 13 16,26-14-16,1-13 15,-1 27-15,14-27 0</inkml:trace>
  <inkml:trace contextRef="#ctx0" brushRef="#br0" timeOffset="52893.26">13467 8255 0,'-79'53'0,"39"-27"16,27 1-16,-13-1 15,-1-12-15,14-1 0,-14 26 16</inkml:trace>
  <inkml:trace contextRef="#ctx0" brushRef="#br0" timeOffset="57051.47">21564 11893 0,'26'0'0,"-13"0"0,0 0 15,14 0-15,26 0 0,-13 0 16,39 13-16,-39-13 16,-1 0-16,54 0 0,-27 13 15,0 1-15,-26-14 16,-14 13-16,1-13 15,-1 0-15,-26 13 16,13-13-16</inkml:trace>
  <inkml:trace contextRef="#ctx0" brushRef="#br0" timeOffset="57239.48">22027 12025 0,'39'14'16,"-26"-14"-16,14 0 0,-14 0 16,14 0-16,12 0 15,-12 13-15,-14-13 0,27 0 16,-14 13-16,-13-13 16</inkml:trace>
  <inkml:trace contextRef="#ctx0" brushRef="#br0" timeOffset="57942.15">14433 8705 0,'0'26'15,"0"-13"-15,0 14 0,-13-14 16,13 0-16,0 1 15,-13 39-15,-1-14 16,14-12-16,0-14 16,0 0-16</inkml:trace>
  <inkml:trace contextRef="#ctx0" brushRef="#br0" timeOffset="58229.75">14909 8903 0,'-79'53'0,"39"-40"0,14 1 16,-14 12-16,-39 14 0,13-1 15,-1 1-15,1 13 16,27-40-16,12 14 16,-52 26-16,39-27 15,27-13-15,0 1 16,-14 12-16</inkml:trace>
  <inkml:trace contextRef="#ctx0" brushRef="#br0" timeOffset="58569.2">14777 9287 0,'-53'13'16,"40"0"-16,-14 27 15,-39 26-15,40-13 16,26-13-16,0-14 16,0-13-16,13 27 15,27-13-15,-27-14 16,13 0-16,1-13 16,-14 0-1,-13-13-15,-13 0 16,0 13-1,-1 0-15,-12-14 16,13 14-16,-14 0 0,1 0 0,-1 0 16,14 0-16</inkml:trace>
  <inkml:trace contextRef="#ctx0" brushRef="#br0" timeOffset="58909.11">14274 8665 0,'-145'397'15,"132"-251"-15,13-80 16,13 66-16,-13-66 16,39 53-16,14-26 15,-26-54-15,-1 1 0,1-13 16,-1-1-16,54 0 15,-54-26-15</inkml:trace>
  <inkml:trace contextRef="#ctx0" brushRef="#br0" timeOffset="59188.08">15042 8586 0,'105'185'16,"-78"13"0,-27-131-16,0 12 0,-27 80 15,14-93-15,-13 13 0,-1 14 16,1-27-16,-40 79 15,26-92-15,0 13 0,-39 40 16,-27 27 0</inkml:trace>
  <inkml:trace contextRef="#ctx0" brushRef="#br0" timeOffset="60706.29">7474 12634 0,'40'0'0,"-13"-13"16,-1 13-16,27 0 0,0 0 0,26 0 15,14 0-15,0 0 0,145 0 16,-106 0-16,13 0 0,-12 13 16,12-13-16,14 13 0,132 0 15,13 1-15,-171-1 16,-1-13-16,0 13 0,-13 0 0,80 0 15,52 27 1,-132-27-16,-79 1 16,-14-14-16,14 13 15</inkml:trace>
  <inkml:trace contextRef="#ctx0" brushRef="#br0" timeOffset="60938.97">8758 12991 0,'185'0'16,"-106"0"-16,1 0 0,12 0 16,279 13-16,-239 1 15,13-14-15,160 13 16,-14 13-16,-132-26 0,-14 13 15,159 14-15,-158-14 0,-1 0 16,1-13-16,-1 14 16</inkml:trace>
  <inkml:trace contextRef="#ctx0" brushRef="#br0" timeOffset="61406.17">16325 13533 0,'238'14'16,"0"-1"-16,-66-13 16,-79 0-16,105 0 15,0-13-15,1-1 16,-93 14-16,-14 0 16,94 0-16,-107 0 0,40 0 15,-79 0-15,-1 0 16,-12 14-16,-14-14 0</inkml:trace>
  <inkml:trace contextRef="#ctx0" brushRef="#br0" timeOffset="61535.07">17859 13600 0,'371'-67'15,"-252"41"-15</inkml:trace>
  <inkml:trace contextRef="#ctx0" brushRef="#br0" timeOffset="62191.81">11708 8996 0,'-27'66'15,"27"-53"-15,0 14 0,-13 12 16,13 1-16,-13 13 15,13-27-15,0-12 16,-13 52-16,13-40 16,0-13-16,0 1 0</inkml:trace>
  <inkml:trace contextRef="#ctx0" brushRef="#br0" timeOffset="62483.37">11655 8943 0,'40'-27'16,"-14"27"-16,-92 27 0,159-40 15,-80 13-15,0 13 16,-13 0-16,26 14 0,-26-1 15,0-13-15,0 1 16,0-1-16,-13 13 0,0-13 0,-13 27 16,12-27-16,-12 27 15,13-40-15,-14 27 0,14-14 16,-14 0-16</inkml:trace>
  <inkml:trace contextRef="#ctx0" brushRef="#br0" timeOffset="62731.71">11972 8877 0,'-39'53'15,"12"0"-15,1 0 16,13-14-16,-1 1 0,-12 26 15,26-26-15,-27 26 16,27-13 0,0-27-16,-13 14 0,26-14 15,-13-12-15,0 12 0,0-13 0,14-13 16,-14 14-16,26-1 0</inkml:trace>
  <inkml:trace contextRef="#ctx0" brushRef="#br0" timeOffset="63034.09">12184 9181 0,'-26'0'16,"12"13"-16,1 1 0,0 12 15,13-13-15,-13 0 0,13 14 16,0-1-16,0-12 15,13 12-15,0-13 16,0 0-16,1 1 16,-1-28-1,-13 1 17,-13 0-32,-1 13 15,1 0-15,0-13 0,0 0 16,13-1-16,-14 14 15</inkml:trace>
  <inkml:trace contextRef="#ctx0" brushRef="#br0" timeOffset="63256.87">12224 8877 0,'39'26'15,"-12"14"-15,-1 13 16,1 26-16,-27-52 16,13 39-16,-13 13 15,-13-13-15,0-26 16,-14 13-16,14-27 16,13-12-16,-27 25 0,14-25 15</inkml:trace>
  <inkml:trace contextRef="#ctx0" brushRef="#br0" timeOffset="65189.38">12224 9088 0,'0'-13'15,"-27"40"32,14-14-47,0 0 0,-14 40 16,14-40-16,13 14 0,-13-14 16,-14 40-16,27-27 15,-13 1-15,13-14 16,0 13-16,13 1 15,-13-14-15,14-13 16,-14 13-16,13-13 0,0 0 16,0 0-16,1 0 15,-1-13-15,0 0 16,-13 0 0,13-1-16,-26 1 15,13 0-15,-13 13 0,0-13 16,-1 13-1,-12 0-15,-1 0 16,14 13-16,0-13 16</inkml:trace>
  <inkml:trace contextRef="#ctx0" brushRef="#br0" timeOffset="66803.87">19024 8771 0,'-14'26'15,"14"-12"-15,0 12 0,-13 1 16,13-1-16,0 14 0,-13-14 16,13 14-16,-13 26 0,13-13 15,0-27-15,0 1 0,-14-1 0,14-12 16,0 38-1,0-25-15,0-14 0,0 0 16</inkml:trace>
  <inkml:trace contextRef="#ctx0" brushRef="#br0" timeOffset="67134.89">19010 8771 0,'93'-40'0,"-80"40"15,0 13-15,1-13 0,-1 14 16,0-1-16,0 13 0,-13 1 16,0 13-16,-13-14 15,0-13-15,-14 40 16,14-40-16,0 1 0,0-1 0,-1 0 16,-12 0-16,13 1 15,0-1-15</inkml:trace>
  <inkml:trace contextRef="#ctx0" brushRef="#br0" timeOffset="67403.83">19407 8678 0,'-39'40'15,"12"0"-15,1-14 16,-1 54-16,1-14 16,12-27-16,14 1 0,0-13 15,-13-1-15,13-13 0,0 14 16,0-14-16,13 13 0,-13 1 0,14-1 16,-1 1-16,0-14 15,0 0-15,1-13 16,-1 0-16,-13 13 0,13-13 0,0-13 15</inkml:trace>
  <inkml:trace contextRef="#ctx0" brushRef="#br0" timeOffset="67619.16">19579 8890 0,'0'-13'15,"0"66"1,0-27-16,-13-13 16,13 1-16,0 12 0,-13-13 0,13 1 15,-14 25-15,14-12 16,0-14-16,0 0 16</inkml:trace>
  <inkml:trace contextRef="#ctx0" brushRef="#br0" timeOffset="67815.78">19804 8811 0,'13'-14'15,"-13"1"-15,-13 40 32,0-14-32,13 0 0,0 14 15,-13-14-15,-1 26 16,14-12-16,0-14 0,-13 14 0,13-14 15,-13 27-15,13-14 16,0-13-16,0 0 0,-13 1 16</inkml:trace>
  <inkml:trace contextRef="#ctx0" brushRef="#br0" timeOffset="68001.13">19513 9009 0,'13'-13'0,"0"13"16,1 0-16,-1 0 0,0 0 15,14 0-15,12 0 0,1-13 16,-14 13-16,1 0 16,-14 0-16,27-14 0,-14 14 15,-12-13-15</inkml:trace>
  <inkml:trace contextRef="#ctx0" brushRef="#br0" timeOffset="68252.19">19857 8612 0,'13'-13'0,"-26"26"0,39-26 15,-12 26-15,-1-13 0,13 27 16,1 26-16,-14-27 15,0 0-15,0 14 0,1 26 16,-14-39-16,0 39 0,-27 0 16,14-39-16,0-1 15,-14 27-15,1-27 16,-1 1-16,1-1 16,26-12-16</inkml:trace>
  <inkml:trace contextRef="#ctx0" brushRef="#br0" timeOffset="68518.78">20452 8890 0,'66'-13'16,"-52"13"-16,-1 0 15,13 0-15,-12 0 0,-1 0 16</inkml:trace>
  <inkml:trace contextRef="#ctx0" brushRef="#br0" timeOffset="68693.16">20373 9062 0,'26'0'16,"1"0"-16,-1-13 15,1 13-15,-1-13 16,1 13-16,-14-14 16,0 14-16</inkml:trace>
  <inkml:trace contextRef="#ctx0" brushRef="#br0" timeOffset="69592.2">21034 8612 0,'0'-13'15,"-13"66"1,13-40-16,-13 14 0,-14-1 15,14 0-15,-13 1 0,-1-1 0,1 14 16,13-13-16,-14-1 0,1 0 0,-1 1 16,14-14-16,0 14 0,13-14 15,-13-13-15,13 13 0,0 0 0,-14-13 16</inkml:trace>
  <inkml:trace contextRef="#ctx0" brushRef="#br0" timeOffset="69793.21">21127 8890 0,'0'0'15,"-13"26"1,0-12-16,-1-1 16,1 0-16,0 0 0,-14 14 15,1-1-15,-27 14 0,27-14 0,-1-12 16,1 12-16,12-13 0,-12 14 15,26-14-15,-27 0 16</inkml:trace>
  <inkml:trace contextRef="#ctx0" brushRef="#br0" timeOffset="70098.78">21008 9168 0,'26'0'0,"-12"0"16,-14 13 0,0 0-1,-14 1-15,14-1 0,-13-13 16,13 13-16,-13 0 0,0 0 16,-1 14-16,1-14 15,13 0-15,-13-13 16,26 14-16,0-14 15,14-14 1,13 14-16,-27-13 16,13 13-16,-12-13 0,12 13 0,0-13 0,1 13 15,-14-14-15,40-12 16,-40 26-16</inkml:trace>
  <inkml:trace contextRef="#ctx0" brushRef="#br0" timeOffset="70799.28">19116 10120 0,'-13'27'15,"13"-14"-15,-13 13 16,13 1-16,-14 13 0,1-14 16,13 1-16,-13 25 15,0-12-15,0-27 0,13 14 16,0-14-16,0 0 0,0 1 0,0-1 15,0 0 1,0 0-16</inkml:trace>
  <inkml:trace contextRef="#ctx0" brushRef="#br0" timeOffset="71140.81">19076 10134 0,'93'-27'15,"-66"40"-15,-1 1 16,-13-1-16,0-13 16,1 26-16,-14 1 15,-14 12-15,14-25 16,-13-1-16,-13 27 0,-27-14 16,26-13-1,14 0-15,0-13 0</inkml:trace>
  <inkml:trace contextRef="#ctx0" brushRef="#br0" timeOffset="71422.89">19606 10041 0,'-106'53'0,"93"-27"16,-14 1-16,14-1 0,-27 27 15,14 0-15,13 0 16,-1-27-16,14-12 16,0 12-16,14-13 0,-14 14 15,13-1-15,0-12 16,0-1-16,0 0 15,1-13-15,-1 0 0,13 0 16</inkml:trace>
  <inkml:trace contextRef="#ctx0" brushRef="#br0" timeOffset="71805.17">19698 10226 0,'53'-13'0,"-40"0"0,27-1 15,0 1-15,-27 0 16,13 13-16,1-26 0,-14 26 15,0-14-15,1 14 16,-28 14 15,1-1-31,0 0 16,0 13-16,-1-12 0,1 12 16,-13 14-1,26-14-15,-13-12 16,13 12-16,0-13 15,0 0-15,0 1 16</inkml:trace>
  <inkml:trace contextRef="#ctx0" brushRef="#br0" timeOffset="72073.42">20002 9962 0,'27'26'16,"-14"0"-16,0 41 16,-13-54-16,14 13 15,-28 80-15,1-40 16,-27 14-16,27-54 0,-26 27 15,25-26-15,-12-1 16,26-13-16,-13-13 16</inkml:trace>
  <inkml:trace contextRef="#ctx0" brushRef="#br0" timeOffset="72298.5">20518 10186 0,'27'-26'15,"-1"26"-15,-12 0 0,-1 0 16,0 13-1,0-13-15,1 0 16</inkml:trace>
  <inkml:trace contextRef="#ctx0" brushRef="#br0" timeOffset="72469.21">20439 10358 0,'106'-26'16,"-66"26"0,-14-13-16,-13 13 15,53-27-15,-52 27 16</inkml:trace>
  <inkml:trace contextRef="#ctx0" brushRef="#br0" timeOffset="72793.94">21114 9803 0,'-40'132'16,"27"-53"0,-27 14-1,27-53 1,13-1-16,0-25 15,0-1 1</inkml:trace>
  <inkml:trace contextRef="#ctx0" brushRef="#br0" timeOffset="73009.12">21418 10041 0,'-159'106'16,"93"-53"0,-13 0-16,13 0 15,13-14-15,0 14 16,40-40-16,-14 14 16,14-14-16,13 0 15,-13-13-15,13 14 16</inkml:trace>
  <inkml:trace contextRef="#ctx0" brushRef="#br0" timeOffset="73354.97">21325 10345 0,'53'0'0,"-53"13"31,0 14-31,-26-1 16,-1 1-16,1-1 0,-27 1 16,13-1-1,14-13-15,13 1 16,13-1-16,13 0 15,0-13 1,14-13-16,-14 13 0,40 0 16,-27-13-16,27-14 15,-26 27-15,12-13 0,-12 0 16,12 13-16</inkml:trace>
  <inkml:trace contextRef="#ctx0" brushRef="#br0" timeOffset="156603.29">18283 12449 0</inkml:trace>
  <inkml:trace contextRef="#ctx0" brushRef="#br0" timeOffset="-162765.08">6773 12554 0,'172'-13'15,"-158"13"-15,25 0 16,-12 0-16,-1 0 0,14 0 16,-14 13-16,1-13 0,-1 0 0,1 0 15,-1 14-15,1-14 0,-14 0 0,13 13 16,1 0-16,-14-13 16</inkml:trace>
  <inkml:trace contextRef="#ctx0" brushRef="#br0" timeOffset="-162547.7">7197 12766 0,'92'0'15,"-65"0"-15,-1 0 0,1 0 16,-1-13-16,27 13 0,-27-13 16,14 13-16,-27-14 15</inkml:trace>
  <inkml:trace contextRef="#ctx0" brushRef="#br0" timeOffset="-160329.8">6839 741 0,'0'26'0,"0"-12"16,0-1-16,0 0 0,0 13 16,0-12-16,0 12 0,0-13 0,0 14 15,0 12-15,0-25 16,0-1-16,0 13 0,0-12 0,0 12 16,0 1-16,-13-14 15,13 13-15,0-13 0,0 1 16,0-1-16</inkml:trace>
  <inkml:trace contextRef="#ctx0" brushRef="#br0" timeOffset="-159913.77">6773 741 0,'27'-40'15,"-14"27"-15,0 13 0,0 0 0,-13-13 16,14 26-16,-1-13 16,13 13-16,-12-13 0,12 27 15,-13-14-15,1 0 0,-14 0 16,13 1-16,-13 12 16,0 0-16,0-12 0,-13-1 0,13 13 15,-14-12-15,1-1 16,13 0-16,-13 0 0,13 0 0,-13-13 15,-1 0-15,1 0 0,13 14 16,-13-14-16,0 0 16</inkml:trace>
  <inkml:trace contextRef="#ctx0" brushRef="#br0" timeOffset="-159470.21">7355 582 0,'-26'13'16,"13"-13"-16,-1 14 0,1 12 15,-26 27-15,25-27 16,-12 14-16,13-13 0,-1 12 0,-12 1 15,13 0-15,0-1 0,-14 14 16,27-26-16,-13 12 0,13-25 16,0 12-16,0 0 0,0-12 15,13 12-15,-13 1 0,13-14 16,-13 0-16,14 0 0,-1 1 16,0-14-16,0 0 15,0-14-15,1 14 0,25-13 16,-12 0-16,-14 0 0</inkml:trace>
  <inkml:trace contextRef="#ctx0" brushRef="#br0" timeOffset="-159112.62">7580 714 0,'-13'27'16,"13"-14"-16,0 0 0,0 53 15,0-52-15,0 12 16,0 1-16,-13-14 0,13 13 16,0-13-16,0 1 0,-13-1 0,13 0 15,0 14-15,0-14 0,0 0 16,-14-13-16,14 13 16</inkml:trace>
  <inkml:trace contextRef="#ctx0" brushRef="#br0" timeOffset="-158571.83">7594 741 0,'39'-13'15,"-39"26"-15,13-13 0,1 0 16,-14 13 0,13 0-16,-13 1 0,0-1 15,0 0-15,-13 0 0,13 0 16,-14 1-16,1-1 16,13 0-16,-13-13 15,39 13 1,-12-13-1,-1 0-15,0 0 16,0 14-16,1-14 0,-1 0 16,0 13-16,-13 0 0,13-13 15,-13 26-15,-13-26 0,13 14 16,-13-1-16,0 0 0,-14 14 16,1-14-16,12 0 0,-12 0 15,13 1-15,-27-1 16,27 0-16,-14-13 0,14 0 15,0 0-15,0 0 16</inkml:trace>
  <inkml:trace contextRef="#ctx0" brushRef="#br0" timeOffset="-157769.7">7885 648 0,'13'27'15,"0"-1"1,-13 1-16,0-14 0,0 13 16,0 14-16,0 13 0,0-27 15,0 1-15,0-14 0,0 13 16,13-12-16,-13 12 15,0-13-15,14 1 0,-14-1 16,13-13-16,0 13 16,0-13-16,0-13 15,1 13-15,-1-13 0,0-1 0,0 1 16,1 0-16,-14 0 16,13-1-16,0 14 15,0-13-15,-13 0 16,13 26 15,-13 0-15,0 1-1,14-1 1,-1 0-16,0-13 31,27-26-15,-27 12-16,0 14 15,1-13-15,-1 0 32,0 13-17,-13 13 1,0 0-16,13-13 16,-13 14-1,13-14-15,1 0 16,-1 0-16,0 0 0,0-14 15,1 14-15,25-26 16,-25 13-16,-1 0 0,-13-1 16,0 1-1,0 0-15,13 13 0,-39 13 32,26 0-32,-14-13 15,14 14-15,0-1 0,0 0 16,0 13-16,14-12 15,-1-14 1,0 0-16,0 13 16,0-13-16,1-13 0,-1 13 15,13 0-15,1-14 16,-14 14-16</inkml:trace>
  <inkml:trace contextRef="#ctx0" brushRef="#br0" timeOffset="-157260.05">8705 595 0,'-27'133'16,"14"-120"-16,13 106 16,0-106-1,0 0-15,0 1 0,0-1 0,0 0 16,27-26 15,-27 0-31,13-14 16,0 27-16,0-13 0,0 0 0,-13-1 15,14 14-15,-1-13 0,0 13 16,0 0-16,1 0 0,-1 0 0,0 13 16,14-13-16,-1 27 15,-13-14-15,0-13 16,-13 13-16,0 1 0,0-1 15,0 0-15,-13 0 0,0 0 16,-13-13-16,-1 14 16,1-14-16,12 13 15,1-13-15,0-13 0,0 13 16,-1 0-16</inkml:trace>
  <inkml:trace contextRef="#ctx0" brushRef="#br0" timeOffset="-156328.79">8797 701 0,'-13'27'16,"13"-14"-16,0 13 0,0-12 0,0 12 15,0-13-15,-13 14 0,13 39 16,0-27-16,0-25 15,0-1 1,0 13-16,0-12 16,0-1-16,0-53 31,13 0-15,0 40-1,1-39 1,-1 26-16,0 13 15,0 0-15,1 0 16,-1 13-16,0-13 0,0 13 16,-13 0-16,13-13 15,-13 13-15,14-13 0,-14 14 16,13-14-16,-13 13 16,13-13-1,0 0 1,-13-13-16,14-1 15,-1 14-15,0-13 0,0 0 16,1 0-16,-1 13 16,0-13-16,0 13 0,0 0 15,1 13-15,-1-13 0,0 13 16,0-13-16,-13 13 16,14 0-16,-1-13 15,0 14-15,0-14 0,1 13 16,-1-13-16,0 0 15,13 0-15,-12-13 0,-1 13 16</inkml:trace>
  <inkml:trace contextRef="#ctx0" brushRef="#br0" timeOffset="-155920.5">9432 847 0,'-13'-14'15,"0"14"-15,-14 0 16,14 0-16,0 0 0,13 14 15,-13-14-15,0 13 16,-1 0-16,1 0 0,13 1 16,0-1-1,13-13 1,106-53-16,-119 40 0,-105 92 0,118-79 0,0 0 16,0 0-16,0 0 15,1 0-15,-1 0 0,0 0 0,0 13 16,1-13-16,-1 0 0,-13 13 15,13-13-15,0 0 16,1 0-16,-14 14 16,13-14-1,-13-14 17,13 14-17,-13-13-15,13-13 16,-13 13-1,13-1-15,-13 1 0,14 13 0,-14-13 16,13 0-16,0-1 16,0 1-16,-13 0 0,14 0 0,-1 0 0</inkml:trace>
  <inkml:trace contextRef="#ctx0" brushRef="#br0" timeOffset="-155591.08">9737 648 0,'-14'27'15,"14"-14"-15,0 0 0,-13 0 16,13 1-16,0-1 16,0 0-16,-13 14 0,13-14 15,0 0-15,0 0 16,0 0 0,40-198-16,-67 370 15,40-185-15,1 0 16,-1 14-16,0-14 15,0 13-15,1-13 16,-14 13-16,13 0 16,-26 14-1,13-14-15,-27 0 16,14 0 0,-14-13-16,14 0 15,0 0-15,0 0 16</inkml:trace>
  <inkml:trace contextRef="#ctx0" brushRef="#br0" timeOffset="-155253.28">9909 595 0,'-14'106'31,"14"-79"-15,0-1-16,0-13 0,0 1 16,14 25-16,-14-26 15,13 1-15,0-1 0,0-13 0,1 13 16,-1-13 0,0-13-16,0 13 0,0 0 15,-13-13-15,14 13 0,-1 0 16,0 0-1,0 13 1,1 0-16,-14 0 16,0 1-16,13-14 0,0 13 15,0-13-15,1 0 0,-1 13 16,13-26-16,-13 0 16</inkml:trace>
  <inkml:trace contextRef="#ctx0" brushRef="#br0" timeOffset="-155028.79">10239 265 0,'0'0'0,"67"79"0,-28-39 16,-12-1-16,39 54 0,-40-53 15,14 52-15,-27-52 16,0 26-16,-13-39 0,-13 52 16,-40 13-1,27-65-15,-40 39 0,26-26 16</inkml:trace>
  <inkml:trace contextRef="#ctx0" brushRef="#br0" timeOffset="-153343.12">10967 648 0,'66'0'0,"0"0"15,-39 0-15,-1 0 16,1 0-16,12 0 0,-25 0 15</inkml:trace>
  <inkml:trace contextRef="#ctx0" brushRef="#br0" timeOffset="-153149.7">10980 820 0,'0'0'15,"40"0"1,-27 0-16,0 0 16,1 0-16,12 0 0,0 0 15,-12 0-15,12-13 0,-13 13 0,14 0 0,-14 0 16</inkml:trace>
  <inkml:trace contextRef="#ctx0" brushRef="#br0" timeOffset="-152366.15">12250 1085 0,'-13'0'0,"79"0"16,-13 0-16,66-13 15,40-1-15,-67 14 16,1-13-16,26 0 16,-13 0-16,13 13 0,0-14 0,146-12 15,-133 26-15,93-13 0,-80 13 16,-12 0-16,-1 0 16,212 13-16,-238-13 15,0 0-15,-1 0 0,1 0 0,79 13 16,-105-13-16,-1 0 15,1 13-15,25-13 0,-52 0 16,-13 0-16,-14 0 0,1 0 16,-14 0-16,0 0 0,1 0 0,12 0 15,-13 0-15,-13-13 16,-13 0 0,0 0-16,-14 13 15,-12-14-15,-1 14 0</inkml:trace>
  <inkml:trace contextRef="#ctx0" brushRef="#br0" timeOffset="-148687.09">13838 1270 0,'13'0'0,"27"0"15,-27-13-15,13 13 16,-12 0-16,-14-13 15,13 13-15,0 0 16,-53 13 0,1 0-1,25-13-15,-52 26 16,53-12 0,0-1-16,0-13 15,-1 13-15,28 0 31,-1 1-31,53 25 16,-13-12 0,-40-14-16,0-13 15,14 13-15,-27 0 0,13 1 16,-13-1 0,-13-13-16,-14 26 0,1-12 15,-1-1-15,1 13 0,-1-26 0,1 14 16,0-1-16,-27 0 0,26-13 15,14 0-15,-14 0 0,14 0 16,0 13-16,0-13 0</inkml:trace>
  <inkml:trace contextRef="#ctx0" brushRef="#br0" timeOffset="-144477.4">20227 11959 0,'27'13'47,"-14"-13"-47,0 0 16,1 0-16,25 0 15,-12 0-15,-14 0 16,0 0-16,0 0 0,14 0 0,-14-13 16,0 13-16,14 0 0,-14 0 15,0-13-15,27 0 0,-27 13 16,0-14-16,1 14 0,-1-13 0,0 0 16,-13 0-16,13 13 0,1-13 15,-1-1-15,-13 1 0,13 0 16,0-14-16,-13 14 0,13 0 15,-13 0-15,0 0 0,14-14 16,-14 14-16,0 0 0,13-27 16,-13 27-16,0-1 0,0 1 15,0 0-15,0-13 16,0-1-16,0 14 0,-13 0 16,13-14-16,0 14 15,0 0-15,-14-1 0,14 1 0,0 0 16,-13 0-16,13 0 0,-13-1 0,13 1 15,-13 0-15,0 0 0,13-1 0,-14 1 16,14 0-16,-13 0 16,0-1-16,13 1 0,-13 13 0,-1-13 15,1 0-15,0 13 0,0-13 16,-1 13-16,1-14 16,0 14-16,0 0 15,0-13-15,-1 13 0,1 0 16,0 0-16,0 0 0,-1 0 15,-25 13-15,25-13 16,1 0-16,0 0 0,0 0 16,0 14-16,-1-14 0,1 0 0,0 13 15,0-13-15,-1 13 0,1-13 16,-13 13 0,12 0-16,1-13 0,0 14 0,0-1 15,-14 0-15,14 14 16,0-14-16,0 0 15,-1 0-15,14 1 0,-13-1 16,0 13-16,0-13 0,13 1 0,-14-1 16,14 0-16,-13 0 15,13 1-15,-13-1 0,13 0 0,-13 0 16,13 1-16,0 12 0,-13 0 16,13-12-16,-14 12 0,14-13 15,0 1-15,0 25 0,0-12 16,0-14-16,0 13 0,0-12 15,0-1-15,14 13 0,-14-12 0,13 12 16,0 0-16,0-12 16,0-1-16,-13 0 0,14-13 0,-1 13 15,0 1-15,0-14 0,14 13 16,-14-13-16,0 0 16,14 0-16,-14-13 15,0-1-15,0 14 0,-13-13 16,14 0-16</inkml:trace>
  <inkml:trace contextRef="#ctx0" brushRef="#br0" timeOffset="-143243.56">19976 11311 0,'-13'-13'47,"13"-1"-47,-13 14 0,13-13 0,-14 13 16,1-13-16,0 13 0,0-13 15,-1 13-15,-12-13 0,-14-1 0,14 1 16,-14 0-16,0 0 0,1-1 15,-54-12-15,40 13 0,-13-1 16,-66-12-16,52 13 0,-65-14 16,66 14-16,-1 0 15,1 0-15,-1-1 0,1 1 16,-93-26-16,93 25 0,-107-25 16,-12-1-16,119 27 15,-14-14-15,14 14 0,-14 0 16,-172-40-16,173 40 15,13-1-15,-14-12 0,14 13 16,-1-1-16,-92-12 0,0 0 16,106 12-16,-27 1 0,-65-13 15,92 12-15,-14 14 16,1-13-16,-1 0 0,1 0 0,-66 0 16,65-1-16,-131 1 15,131 0-15,14 13 16,-66-13-16,13-1 15,-14 14-15,80 0 16,-66-13-16,53 13 16,13 0-16,-13 0 0,0 0 0,13 0 15,-13 0-15,-40 13 0,-39-13 16,92 0-16,-13 0 16,13 14-16,0-14 0,-66 13 15,66-13-15,0 0 0,-53 13 16,53 0-16,-53 1 15,14-1-15,39-13 0,0 13 16,13 0-16,-13-13 0,13 13 16,1 1-16,-1-1 0,0-13 15,1 13-15,-1 0 0,0 14 0,1-14 16,-1 0-16,-39 27 0,52-27 16,-13 14-16,14-14 0,-67 53 15,67-53-15,-1 27 16,-25 0-1,38-14-15,-25 14 0,-1 13 16,0-14-16,27-12 16,-27 26-16,14-27 0,-14 40 15,27-52 1,-13 12-16,-1 14 0,1-14 16,12 1-16,1-14 15,0 0-15,0 0 0,-1 1 16,14-1-16,-13-13 0,0 13 15,13 0-15,-13 0 16,0 1 0,-1-28 31,1 1-32</inkml:trace>
  <inkml:trace contextRef="#ctx0" brushRef="#br0" timeOffset="-142940.25">11986 11271 0,'-14'13'15,"1"1"-15,13-1 0,0 0 16,-13 14-16,0-14 16,13 0-16,0 0 0,0 14 15,0-14-15,0 0 0,13 0 16,0-13-16,-13 14 0,27-14 0,-14 13 16,0-13-16,14 13 0,25-13 15,-12 0-15,-13 0 0,12 0 16,54-13-16,-14 0 15,-26-1-15,-489-171 0,912 370 0,-423-198 16,39 13-16,-52-13 0</inkml:trace>
  <inkml:trace contextRef="#ctx0" brushRef="#br0" timeOffset="-140129.56">10398 12793 0,'66'-14'0,"-13"14"16,-40 0-16,14 0 0,26 0 15,-27 0-15,27-13 0,-26 13 16,-1 0-16,-13 0 0,14 0 16,-14 0-16,0 0 0</inkml:trace>
  <inkml:trace contextRef="#ctx0" brushRef="#br0" timeOffset="-139927.97">10702 12978 0,'106'0'0,"-93"0"15,1 0-15,-1 0 0,13 0 0,-12 0 16,12 0-16,-13 0 0,1 0 0,12 0 16,-13 0-16</inkml:trace>
  <inkml:trace contextRef="#ctx0" brushRef="#br0" timeOffset="-136948.81">20902 1005 0,'-13'93'16,"0"13"-16,13-53 0,-14 13 0,1 93 16,13-80-1,-13 80-15,0-14 16,-1-79-16,1 54 0,0-28 15,13-52-15,0-1 16,-13 1-16,13-13 0,0 12 16,13-12-16,-13-1 0,0-13 15,13 1-15,-13-1 16,13-13-16,1 0 0,-1 13 16,0-13-16,14 0 0,92-13 15,-66 13-15,0 0 0,26 0 16,0 0-16,14 0 0,92 13 15,106 0 1,-79 14-16,-120-14 0,1 0 16,79 14-16,66 26 15,-172-40 1,40 0-16,-13-13 0,-67 0 16,1 0-16,-1 0 0,1 0 15,-1 0-15,27-13 0,-13-14 16,-1 1-1,-12-27-15,-14 27 0,13-27 16,14-27-16,-13-12 16,-1-27-1,-13 53-15,27-80 16,-27 80-16,14-14 0,-14 14 0,27-66 16,-27 39-16,-13 14 15,0 39-15,-13-13 16,-14 27-16,-13-27 15,1 40-15,12-14 0,-26 14 16</inkml:trace>
  <inkml:trace contextRef="#ctx0" brushRef="#br0" timeOffset="-136401.48">21378 1296 0,'-39'40'15,"25"-40"-15,1 93 16,13-80-16,0 27 0,13-27 16,-13 13-16,14-12 0,-1-1 15,27 13-15,-27-26 16,0 0-16,0 0 0,0 0 0,1 0 16,-1-13-16,0 13 15,0-13-15,-13 0 0,0-1 16,0 1-16,0-13 15,0 12-15,-13 1 0,0 0 16,0 0 0,-1 13-16,1 0 0,0 0 15</inkml:trace>
  <inkml:trace contextRef="#ctx0" brushRef="#br0" timeOffset="-136109.83">21616 1402 0,'0'27'16,"14"-14"0,-14 0-16,13-13 0,13 13 15,-12-13-15,-1 0 16,0 0-16,0 0 0,1 0 15,-14-13 1,0 0-16,-14 13 16,14-13-16,-13 13 15,0-13-15,-14 13 0,27-14 0,-13 14 16,0 0-16,0 0 0,-1 0 16</inkml:trace>
  <inkml:trace contextRef="#ctx0" brushRef="#br0" timeOffset="-135811.72">22000 1336 0,'-13'13'15,"13"1"-15,13-1 16,0 0-1,1 0-15,-1-13 0,0 0 16,0 14-16,0-14 16,1-14-1,-1 1-15,-13 0 16,-13 0 0,13-1-16,-14 14 0,1-13 15,-13 0 1,-14 13-1,27 13 1</inkml:trace>
  <inkml:trace contextRef="#ctx0" brushRef="#br0" timeOffset="-135525.05">22318 1310 0,'0'26'16,"0"-13"-16,0 1 16,13-14-16,-13 13 15,13-13-15,0 0 16,1 0 0,-1-27-1,0 14 1,-13 0-16,0 0 0,0-1 31,-13 14-15,-14 14-16,14-1 15,0-13-15,13 13 0,-13-13 16,-1 13-16</inkml:trace>
  <inkml:trace contextRef="#ctx0" brushRef="#br0" timeOffset="-133998.99">21630 1707 0,'92'13'15,"-65"-13"-15,-1 0 16,67-13-16,-1-1 16,-39 1-16,13 0 0,-13 13 0,14-27 15,52 1-15,-80 13 16,14 13-16,-13-13 0,0-14 15,26 1-15,-40 12 0,1 1 16,-1 0-16,1-14 0,-1 14 16,-13-13-16,14-14 15,-1 0-15,-13 14 0,-13 13 16,14-27-16,-14 27 16,13-14-16,-13 14 0,-13-27 15,13 14-15,0 13 0,-14-1 16,1-25-16,0 12 0,0 14 15,-1-13-15,-25-1 16,-41-13-16,14 14 16,40 26-16,-14-13 0,14 13 15,-14 0-15,0 0 0,-66 0 16,54 0-16,-1 13 0,-14-13 16,15 13-16,-1-13 0,0 13 0,0-13 15,-13 0-15,13 14 0,13-1 16,-13 0-16,13 0 0,-39 14 15,39-14-15,1 0 0,12 1 0,-39 25 16,40-12 0,-27 12-16,26-25 0,14 12 15,-13 14-15,12-27 0,1 13 16,0 14-16,13-13 16,-13-14-16,13 0 0,0 14 0,0-14 15,0 13-15,0 1 16,0-14-16,0 0 0,13 0 15,-13 1-15,13 25 0,0-25 0,1-1 16,-14 0-16,13-13 16,-13 13-16,13-13 0,-13 13 15,13 1-15,0-1 16,1-13 0,-14 13-1,13-13-15,0 13 31,-13 1 32,13-14 124,-13 13-171,14-26 31,-14-14-31,0 1-16,0 12 0,0 1 15</inkml:trace>
  <inkml:trace contextRef="#ctx0" brushRef="#br0" timeOffset="-131045.72">13983 410 0,'-26'13'15,"-1"14"1,1 12 0,13-25-16,-1 12 0,1-13 15,0 1-15,0 12 0,-1-13 16,14 1-16,-13-1 0,13 0 0,-13 0 15,13 0-15,-13 1 16,26-1 0,27-13-1,-14 0-15,-13 0 16,14-13-16,13 13 0,-1-14 0,1 1 16,0 13-16,-1-13 0,1 0 15,0 0-15,39-1 0,-52 14 16,-1-13-16,-13 13 0,0-13 15,14 13-15,-14 0 0,0 0 16,1-13-16</inkml:trace>
  <inkml:trace contextRef="#ctx0" brushRef="#br0" timeOffset="-130609.62">14010 450 0,'26'39'0,"-26"-12"0,27 92 16,-14-66-16,-13-13 0,13-1 0,-13 14 15,13 40-15,-13-54 16</inkml:trace>
  <inkml:trace contextRef="#ctx0" brushRef="#br0" timeOffset="-117373.7">15637 8956 0,'79'-13'0,"-66"13"0,1 0 16,-1 0-16,0 13 0</inkml:trace>
  <inkml:trace contextRef="#ctx0" brushRef="#br0" timeOffset="-117188.12">15584 9168 0,'40'0'16,"-27"0"-1,13-13-15,1 13 0,-14 0 16,0-14-16,0 14 0,14 0 0</inkml:trace>
  <inkml:trace contextRef="#ctx0" brushRef="#br0" timeOffset="-116780.97">16153 8784 0,'13'27'16,"-13"-14"-1,0 0-15,0 0 0,0 1 0,0 25 16,-13-26-16,13 14 0,0-14 16,0 14-16,0-14 0,0 0 15,-13 0-15,26 1 0,-13-1 16</inkml:trace>
  <inkml:trace contextRef="#ctx0" brushRef="#br0" timeOffset="-116561.86">16417 8943 0,'0'13'0,"-13"0"16,0 14-16,0-1 0,-1-12 16,-38 38-16,38-38 0,-12 12 15,-1 1-15,14-1 0,-27 14 16,27-27-16,0 0 15,-13 14-15,12-14 16,1-13-16,13 13 0,0 0 0</inkml:trace>
  <inkml:trace contextRef="#ctx0" brushRef="#br0" timeOffset="-116266.14">16338 9274 0,'-40'66'16,"27"-53"0,0 0-16,13 14 0,-13-14 0,13 13 15,0 1-15,0-1 16,0-12-16,13-1 0,0 0 0,14 0 16,-27 0-16,26-13 15,-13 0-15,0 0 0,1 0 16,-1 0-16,-13-13 0,0 0 15,0 0 1,0 0-16,-13-1 16,-1 1-16,1 13 15,0-13 1,0 13 0</inkml:trace>
  <inkml:trace contextRef="#ctx0" brushRef="#br0" timeOffset="-115745.98">16100 8692 0,'-13'211'16,"-1"-171"-16,14 13 0,0 0 0,0 13 16,0 53-16,0-66 15,0 39-15,0-39 16,14-13-16,-1 0 0,0-14 0,0 14 16,14 0-16,-27-27 0,13 0 15</inkml:trace>
  <inkml:trace contextRef="#ctx0" brushRef="#br0" timeOffset="-115449.73">16457 8744 0,'53'80'15,"-40"-1"-15,0-39 0,1 13 16,-14 0-16,0 66 16,-14 13-16,1-79 0,-13 66 15,-14-26 1,27-54-16,0 1 0,-14-13 0,1 39 15,12-40-15</inkml:trace>
  <inkml:trace contextRef="#ctx0" brushRef="#br0" timeOffset="-113722.8">16404 8718 0,'0'-13'16,"0"0"-16,13-1 0,-13 1 15,-13 0 1,13 0-16,-13-1 0,13-12 16,-13 13-16,-1-1 15,1-12-15,0 13 16,-27-14-16,27 14 0,0 0 15,-14-14-15,1 14 0,-27-13 16,27-1-16,-14 14 16,13 0-16,-12-14 0,-27 1 0,-14-1 15,41 1-15,-1 13 16,0 0-16,0-1 0,-52-12 16,-14-14-16,40 27 0,13-14 15,-13 14-15,13 0 0,-66-27 16,0 1-16,53 25 15,-40-25-15,-13 12 16,53 1-16,13 13 16,-13-1-16,13 1 0,-14-13 15,15 12-15,-54-12 0,40 0 0,-53-1 16,52 14-16,1-14 16,-53 1-16,-66-27 15,119 40-15,0 0 16,-67-14-16,67 1 0,-66-1 15,66 14-15,-66-27 16,65 27-16,-65-13 16,0-14-16,66 27 15,-1-1-15,-65-12 0,0-1 16,66 14-16,0 0 0,-53-13 16,52 12-16,1 14 15,-106-39 1,119 25-16,-66 1 0,66 0 15,-13 0-15,-26-14 0,39 27 16,13-13-16,-13 0 0,13 0 0,-65-1 16,12-12-16,0 13 15,40-1-15,-52 1 16,12 0 0,-39 0-16,13 0 15,92 13-15,-12 0 16,-41-14-16,14 14 15,40 0-15,-1 0 0,-39-13 16,53 13 0,-14 0-16,-26 0 0,14 0 15,25 13-15,1-13 0,-13 0 16,12 0-16,-12 0 16,13 0-16,0 0 0,-1-13 15,1 13 1</inkml:trace>
  <inkml:trace contextRef="#ctx0" brushRef="#br0" timeOffset="-113344.02">9816 6760 0,'-26'79'16,"26"-65"-16,-27 25 0,27-12 15,-13 13-15,13-27 16,0 26-16,0 1 15,0-13-15,13-1 16,0 1-16,1-14 16,-1 0-16,40 13 15,-40-26-15,13 0 0,1 14 16,-14-14 0,0 0-16,1 0 0,-1 0 15,0 0 16</inkml:trace>
  <inkml:trace contextRef="#ctx0" brushRef="#br0" timeOffset="-108209.97">21881 4128 0,'-13'92'16,"0"-52"-16,13 13 0,-14 0 0,1 0 15,0-1-15,-14 15 0,14-14 0,0-1 16,0 1-16,13 0 0,-13-13 15,-1 0-15,14-1 0,-13 1 0,13 13 16,0-40-16,-13 14 16,13-14-16,0 0 0,0 0 0,0 1 15,13-1-15,-13 0 16,13 0-16,1-13 0,-1 0 0,0 0 16,13 0-16,1 0 15,-1 13-15,14-13 0,13 0 0,53 14 16,-40-14-16,13 13 0,1-13 15,-1 13-15,-13 0 0,14-13 16,-1 14-16,-13-1 0,13-13 0,67 26 16,-80-26-16,-13 14 0,0-14 15,0 13-15,0-13 0,-13 0 16,-14 0-16,0 0 0,1 0 16,52-13-16,-66 13 0,14-14 15,-1 1-15,-12 0 0,12-14 16,-13 14-16,14-27 0,-14 14 15,13-53-15,-12 39 0,-14 0 16,13-26-16,0 13 0,-13-13 0,0 0 16,13 0-16,-13 0 0,0 13 15,0-13-15,0 13 0,0 0 0,0 0 16,0 13-16,0 0 0,0 1 16,-13 12-16,13 1 0,0-1 0,0 14 15,-13 0-15,13-14 0,-13 14 0,13 0 16,0 0-16,-14 0 15,14-1-15</inkml:trace>
</inkml:ink>
</file>

<file path=ppt/ink/ink18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15:41.902"/>
    </inkml:context>
    <inkml:brush xml:id="br0">
      <inkml:brushProperty name="width" value="0.05292" units="cm"/>
      <inkml:brushProperty name="height" value="0.05292" units="cm"/>
      <inkml:brushProperty name="color" value="#0070C0"/>
    </inkml:brush>
    <inkml:brush xml:id="br1">
      <inkml:brushProperty name="width" value="0.05292" units="cm"/>
      <inkml:brushProperty name="height" value="0.05292" units="cm"/>
      <inkml:brushProperty name="color" value="#FF0000"/>
    </inkml:brush>
  </inkml:definitions>
  <inkml:trace contextRef="#ctx0" brushRef="#br0">2924 2487 0,'39'0'78,"438"40"-47,-41-14-31,67-26 0,105 0 16,1 0-16,39 0 15,-39 0-15,568 0 32,-277 0-17,-398 0 1,-184 0-1,-292 0-15,14 0 16</inkml:trace>
  <inkml:trace contextRef="#ctx0" brushRef="#br0" timeOffset="1787.12">11549 2765 0,'-13'26'0,"13"-12"0,0-1 15,-13 0-15,13 0 0,-14 40 16,-12 13-16,13-39 16,13 12-16,-14-12 0,1-1 0,0 1 15,0-1-15,0 1 0,13-14 0,-14 13 16,1 1-16,13-14 0,-13 0 16,13 1-16,-13-1 0,13 0 15</inkml:trace>
  <inkml:trace contextRef="#ctx0" brushRef="#br0" timeOffset="2039.79">11933 3043 0,'-14'26'16,"1"-13"-16,-13 14 0,-1-14 15,1 14-15,-1-1 0,1 0 16,0 14-16,-14 0 0,13 0 0,-12-14 16,12 14-16,1-14 0,-1 14 15,1-14-15,-27 27 0,26-26 16,14-1-16,0-13 0,-13 27 16,-1-14-16,27-12 15,-13-14-15</inkml:trace>
  <inkml:trace contextRef="#ctx0" brushRef="#br0" timeOffset="2546.53">12078 3347 0,'-13'0'15,"0"0"-15,0 13 0,-1 0 0,-12 14 16,-1-1-16,14 1 0,-13-1 16,12 1-16,-12-1 0,13 14 0,0-27 15,13 14-15,0-14 0,0 0 0,0 0 16,0 0-16,0 1 0,13-1 15,13 0 1,-13 0-16,1-13 0,-1 0 0,0 0 16,-13-13-16,13 0 15,-26 13-15,13-13 16,-13-1-16,0 14 0,-14 0 16,14 0-16,0-13 15,-14 13-15,1 0 0</inkml:trace>
  <inkml:trace contextRef="#ctx0" brushRef="#br0" timeOffset="2943.89">10160 3426 0,'79'-13'0,"-65"13"0,25 0 0,-25 0 16,25 13-16,-26-13 0</inkml:trace>
  <inkml:trace contextRef="#ctx0" brushRef="#br0" timeOffset="3099.17">10239 3612 0,'27'0'16,"-14"-14"-16,0 14 15,14 0-15,-14-13 0,0 13 0,14 0 0,-1-13 16,-13 13-16,14-13 0</inkml:trace>
  <inkml:trace contextRef="#ctx0" brushRef="#br0" timeOffset="3535.17">8758 3440 0,'-14'39'15,"14"-26"-15,-13 14 16,13-1-16,0 1 0,0-1 16,0-12-16,0 12 0,0-13 15,0 14-15,0 12 0,0-25 16,0 12-16,0-13 0,0 1 0,13-1 16,-13 0-16,0 0 15</inkml:trace>
  <inkml:trace contextRef="#ctx0" brushRef="#br0" timeOffset="3835.78">8744 3506 0,'53'-40'0,"-39"40"16,12 13-16,-13-13 15,1 27-15,-14-1 16,0-13-16,0 1 16,0-1-16,-14 0 0,14 0 15,-26 14-15,26-14 0,-27 0 0,27 0 16,-13 1-16,-13-1 15,26 0-15,-14-13 0</inkml:trace>
  <inkml:trace contextRef="#ctx0" brushRef="#br0" timeOffset="4085.23">9022 3426 0,'-39'93'0,"-1"0"15,40-54-15,-13-12 16,13-14-16,0 27 16,0-1-16,0-12 0,0-14 15,0 0-15,13 14 16,0-27-16,14 13 0,-14-13 15,0 0-15,0 0 16</inkml:trace>
  <inkml:trace contextRef="#ctx0" brushRef="#br0" timeOffset="4394.87">9406 3545 0,'-40'14'0,"27"-1"16,13 0-16,-13 0 0,0 1 0,-1-1 15,1 0-15,0 0 0,0 0 16,-1 1-16,1-1 0,13 0 16,-13 0-16,13 1 0,0-1 15,0 0 1,13 0-16,0-13 0,14 0 15,-1 14 1,-12-14-16,-1 0 0,13 0 16,-13-14-16,1 14 0,12 0 0,-13 0 15,1 0-15,-1-13 0,0 13 0,0 0 16</inkml:trace>
  <inkml:trace contextRef="#ctx0" brushRef="#br0" timeOffset="4596.91">9393 3585 0,'-14'27'16,"28"12"-16,-14-26 0,0 14 15,0-14-15,0 0 0,0 27 16,0-27-1,0 1-15,0 12 0,0-13 16,0 0-16</inkml:trace>
  <inkml:trace contextRef="#ctx0" brushRef="#br0" timeOffset="4881.26">9287 3334 0,'225'145'0,"-199"-118"16,54 65-16,-67-65 0,0 12 15,-13-12-15,13-1 0,-26 14 16,0 39-16,-27 14 16,14-40-16,-27 13 0,26-39 15,1-1-15,-1 1 0,1-14 16</inkml:trace>
  <inkml:trace contextRef="#ctx0" brushRef="#br0" timeOffset="9940.82">9763 6138 0,'-13'27'0,"0"-14"15,13 13-15,0-12 0,-14 25 0,14 1 16,0 13-16,-13 0 0,13 0 0,0 13 15,-13 0-15,13 0 0,0 14 16,-13-14-16,13 13 0,-13 1 0,13-14 16,-14 13-16,14 0 0,-13 1 0,0-1 15,13-13-15,-13 0 0,13 14 16,-14-14-16,14 0 0,0-13 0,-13 13 16,13-26-16,-13 0 0,13-1 0,0 1 15,-13-14-15,13 1 16,0-1-16,-14-12 0,14-1 0,0 13 0,-13-13 15,13 1-15,13-1 16,1-13 0,52 0-1,-26 0 1,-1 0-16,27-13 0,0 13 0,186-14 16,-146 14-1,26-13-15,0 13 0,1-13 0,12 13 16,14 0-16,0 0 0,13 0 0,0 0 15,185 13-15,-185-13 0,13 13 16,-13 1-16,13-1 0,-13 0 16,-13 0-16,13 1 0,-27-1 0,1 0 15,132 14-15,-159-14 16,-27 0-16,1 0 0,0-13 0,-14 0 16,0 13-16,-26-13 0,0 0 0,0 0 15,-26 0-15,52-13 16,-66 13-16,0-13 0,1 13 15,-14-13-15,13 0 0,-13-1 16,13 1-16,-13 0 0,0 0 0,0-14 16,0 1-16,0-27 0,-13 13 0,13-13 15,-13 0-15,-1-13 0,14 0 16,-13-13-16,0-1 0,0 14 0,-27-119 16,27 92-16,0 14 15,13 0-15,-14-1 0,1 1 0,0 13 16,13-14-16,-13 14 0,13 13 15,-14-53-15,1 53 16,13 14-16,0-1 0,0 14 0,-13-1 0,13 1 16,0 12-16,0-12 0,0 13 15,0-27-15,0 27 0,-13 0 16,13-1-16,0 1 0,0 0 0,0 0 16,0-1-1,0 1-15,0 0 16,-14 26 15,1-13 0,0 0-31,0 0 16,0 0 0</inkml:trace>
  <inkml:trace contextRef="#ctx0" brushRef="#br0" timeOffset="10948.92">10226 6337 0,'-13'-13'0,"0"39"0,13-13 16,0 0-16,0 1 0,0-1 15,0 0-15,0 14 0,13-14 0,-13 0 16,13 0-16,-13 1 0,13-1 0,1 0 16,-1 0-16,0 0 0,14-13 15,-14 14-15,0-14 0,0 0 0,0 0 16,1-14-16,-1 14 0,0 0 15,0-13-15,1 13 0,-14-13 0,13-13 16,-13-1 0,-13-13-16,-1 27 0,1 0 15,13 0-15,-13-1 0,0 1 16,-1 0-16,-12 0 0,13 13 16,0 0-16,13-13 0,-14 13 0,1 13 15,0-13 1,13 13-16,0 0 0,0 0 15</inkml:trace>
  <inkml:trace contextRef="#ctx0" brushRef="#br0" timeOffset="11327.27">10755 6324 0,'-13'0'0,"26"0"0,-39 13 16,13-13-16,13 13 0,-14 0 16,14 0-16,0 1 15,0 12-15,0-13 0,14 1 16,-14 12-16,13-13 0,13 1 16,-12-1-16,-1-13 0,13 13 15,-13-13-15,1 0 0,-1 0 16,13 0-16,-12 0 0,-1 0 15,0-13-15,0 0 0,-13-1 16,14-25-16,-14 25 16,-14 1-16,14 0 0,-13 0 15,13-1-15,-13 1 0,0 0 16,-14-13-16,14 12 0,0 14 16,-1-13-16,1 26 0,0-13 15,0 0-15,0 0 0,-1 14 0,1-1 16,13 0-16,-13 0 15</inkml:trace>
  <inkml:trace contextRef="#ctx0" brushRef="#br0" timeOffset="12044.2">11364 6337 0,'0'-13'16,"-27"26"-16,27 0 15,-13 0-15,13 0 0,-13 27 16,13-13-16,0-14 16,0 0-16,13 0 0,-13 1 15,13-1-15,1 0 0,-14 0 0,13 0 16,13-13-16,1 14 0,-14-14 16,0 0-16,0 0 0,1 0 15,-1-14-15,0 14 0,0-13 16,1 0-16,-14 0 0,0 0 0,13-1 15,-13 1-15,0 0 0,-13-14 16,-1 1-16,14 13 0,-13-1 16,13 1-16,-13 13 0,0-13 0,-1 13 15,1 0-15,0 0 16,0 13-16,-14 0 0,14-13 16,0 14-16,0-1 15</inkml:trace>
  <inkml:trace contextRef="#ctx0" brushRef="#br0" timeOffset="12456.82">11972 6310 0,'-79'53'16,"66"-26"-16,0-14 15,-1 0-15,14 0 0,0 1 16,-13 12-16,26-13 0,-13 1 16,14-14-16,12 13 15,-13 0-15,0-13 0,1 0 0,12 0 16,14-13-16,-14 13 0,1-13 15,-14 13-15,13-14 0,-12 14 16,-1-13-16,0 0 0,0 0 16,-13-1-16,14 1 0,-14 0 0,0-14 15,0 14-15,0 0 0,-14 0 16,1-14-16,0 14 0,13 0 16,-13 13-16,-1 0 0,1-13 15,0 13-15,-13 13 0,12-13 0,1 0 16,0 13-16,0-13 0,-14 0 0,14 13 15,0-13-15,-1 14 0</inkml:trace>
  <inkml:trace contextRef="#ctx0" brushRef="#br1" timeOffset="19460.64">11060 6853 0,'-27'0'0,"1"0"16,12 0 0,14 13-16,-13 0 0,0 0 15,0 27 1,0 0-16,13-27 16,0 13-16,0-12 0,0 12 15,0-13-15,0 1 0,0 12 0,13-13 16,0 1-16,-13-1 0,13 0 0,0 0 0,1-13 15,-1 13-15,0-13 16,0 0-16,1 0 0,-1 0 0,13-13 16,-13 13-16,14-13 0,-14 0 0,14 0 0,-14-1 15,0 1-15,0-13 16,-13 12-16,14 1 0,-14 0 0,0 0 16,0-1-16,-14-12 0,1 13 0,0 0 15,0-1-15,-1 1 0,-12 13 16,13-13-16,-14 13 0,14 0 0,-13 0 15,-1 0-15,14 0 0,-40 0 16</inkml:trace>
  <inkml:trace contextRef="#ctx0" brushRef="#br0" timeOffset="33088.55">15253 8652 0,'53'0'16,"-26"0"-16,-14 0 15,0 0-15,14 0 0,-14 0 0,0 0 16,27 0-16,-1-13 15,-25 13-15,-1 13 0,0-13 16</inkml:trace>
  <inkml:trace contextRef="#ctx0" brushRef="#br0" timeOffset="33284.85">15253 8837 0,'13'13'16,"1"-13"-16,-1 0 0,0 0 16,0 0-16,1 0 15,25 0-15,-25 0 0,-1 0 16,0 0-16,0-13 0,14 13 16,-14 0-16</inkml:trace>
  <inkml:trace contextRef="#ctx0" brushRef="#br0" timeOffset="36313.01">17449 6310 0,'66'-26'16,"-52"26"-1,-14-13-15,-27 26 31,1-13-15,12 13-16,1-13 0,-13 13 16,-1-13-16,14 14 0,-13-14 0,12 13 15,1-13-15,-13 13 0,13 0 16,13 0-16,0 1 16,13-14-16,-13 13 15,26 0-15,-13-13 0,1 13 16,-1-13-16,0 0 0,0 14 0,1-14 15,-1 13-15,0 0 16,0-13-16,-13 13 0,0 1 16,0-1-16,-13-13 15,13 13-15,-13-13 16,-14 13-16,1 0 0,13 1 16,-1-14-16,1 0 15,0 13 1</inkml:trace>
  <inkml:trace contextRef="#ctx0" brushRef="#br0" timeOffset="36601.08">17661 6522 0,'-13'-13'0,"-1"26"15,1-13-15,0 0 0,-13 26 16,-1-12-16,14-1 16,0 13-16,13-12 0,-14-1 0,-12 13 15,13 1 1,13-14-16,0 0 16,0 0-16,13 1 15,0-14 1,0 13-16,1-13 0,-1 0 15,0 0-15,0 0 0,1 0 0,-1 0 0,0 0 16,0 0-16,0 0 16,1 0-16</inkml:trace>
  <inkml:trace contextRef="#ctx0" brushRef="#br0" timeOffset="36809.07">17846 6734 0,'13'53'15,"-26"-27"-15,13 0 16,0-12-16,0 25 16,0-25-16,-13 12 15,13 1 1</inkml:trace>
  <inkml:trace contextRef="#ctx0" brushRef="#br0" timeOffset="37291.82">18680 6456 0,'-67'92'15,"54"-65"-15,-13 13 16,-1-14-16,-12 27 0,25-27 16,-12 1-1,13-14-15</inkml:trace>
  <inkml:trace contextRef="#ctx0" brushRef="#br0" timeOffset="37495.1">18402 6522 0,'13'13'15,"0"0"-15,0 14 16,1-14-16,-1 0 15,0 27-15,0-27 0,1 1 16,-1-1-16,0 26 0,0-25 16,1-1-16,12 0 15,-13-13-15</inkml:trace>
  <inkml:trace contextRef="#ctx0" brushRef="#br0" timeOffset="38042.17">19394 6350 0,'13'0'0,"-52"0"16,12 13-1,-13 0-15,14 1 16,13-1-16,-1-13 16,-12 13-16,0 0 15,26 1-15,13-1 32,13 0-32,1 0 15,-14 1-15,13-1 0,-12 0 16,-1-13-16,-13 13 15,13 0-15,-26 14 16,0-14 0,-27 14-16,13-14 15,1 0-15,13-13 0,0 13 16,-14-13-16,14 14 0,0-14 16,-1 0-16</inkml:trace>
  <inkml:trace contextRef="#ctx0" brushRef="#br0" timeOffset="38315.57">19526 6562 0,'-39'13'16,"39"0"-16,-14 0 0,-12 1 15,13-1-15,-1 27 16,1-27-16,13 0 16,0 0-16,0 0 15,0 1-15,13 12 0,1-13 16,-1-13-16,0 14 16,0-14-16,1 0 0,-1 0 15,0 0-15,0 0 16,14 0-16</inkml:trace>
  <inkml:trace contextRef="#ctx0" brushRef="#br0" timeOffset="38604.28">19751 6668 0,'0'-14'15,"0"41"1,0-14-16,0 0 16,0 14-16,-13 12 15,0-12 1,-1-1-16,14-13 15,0 1-15,-13-1 0,26 0 16,-13 0 0</inkml:trace>
  <inkml:trace contextRef="#ctx0" brushRef="#br0" timeOffset="40134.98">17859 6760 0,'14'0'16,"-14"-13"-16,-14 26 31,-12 0-15,13 14-16,-1-27 16,-12 26-16,13-13 15,0 1-15,-1-14 0,1 26 16,0-13-16,26 1 15,0-1-15,1-13 16,-1 0-16,0 0 0,40 0 16,0 0-16,0 0 15,13-13 1,-40 13-16</inkml:trace>
  <inkml:trace contextRef="#ctx0" brushRef="#br0" timeOffset="41701.6">17119 6204 0,'-27'27'16,"14"-14"-16,0 14 0,-40 52 15,0 14-15,26-40 0,1-14 16,-14 54-16,1-14 15,25-13-15,14-39 16,-13-1-16,13 14 16,0-14-16,0-12 15,-13-1-15,13 0 16,13-26 15,0 0-31,-13-1 16,14 1-16,-14-13 0,13-1 15,0 1-15,13-54 0,1 1 16,-14 26-16,-13 13 0,13-12 16,14-41-16,-14 0 15,0 54-15,0-28 16,14 1-16,39 0 16,-39 40-1,-1 12-15,14 1 0,-1 0 0,14 0 16,80-14-16,39 14 15,39 0-15,-78 13 16,12 0-16,-13 0 0,146 0 16,13 0-16,-53 0 15,-105 13-15,-28-13 0,1 0 16,79 13-16,-105-13 16,-1 0-16,40 14 0,-39-14 15,-54 0-15,1 0 0,12 13 16,-12-13-16,-14 0 15,0 0-15,-13 13 0,13-13 16,1 26-16,-14-12 16,0 12-16,0 1 0,0-14 15,0 13-15,0 40 0,13 1 16,-13-28-16,13 1 16,-13 0-16,13-1 0,1 1 0,-1-13 15,0 52-15,0-39 0,14 26 16,-14-40-16,0 1 15,0 26-15,1-14 16,-14-12-16,0 12 0,0-12 16,0-1-16,-14-12 15,14-1-15,-53 40 16,1-27-16,-28 1 16,27-14-16,-13 0 15,-79 14-15,-27-27 16,66 13-16,-40-13 0,14 0 0,-159 0 15,132 0 1,0 0-16,-171 0 0,171 13 16,-172-13-16,-132 0 15,331 0-15,0 0 0,26 0 16,-79-13-16,39 0 16,40-1-16,67 1 15,25 0-15,-25 0 0,65-14 16,1 27-16,12-13 15</inkml:trace>
  <inkml:trace contextRef="#ctx0" brushRef="#br0" timeOffset="42172.85">21048 6601 0,'119'-13'15,"-53"13"1,-27 0-16,-12 0 0,13 0 0,-14 0 0,1 0 16,-1 0-16,0 13 0,1 14 15</inkml:trace>
  <inkml:trace contextRef="#ctx0" brushRef="#br0" timeOffset="42291.33">21299 6800 0,'-40'39'0,"53"-25"15,1-14-15,-1 0 0,13 0 16,54 0-16,-27 0 16,26 0-16,-13-14 0,14 14 0,12-13 15</inkml:trace>
  <inkml:trace contextRef="#ctx0" brushRef="#br0" timeOffset="56327.76">15399 6456 0,'13'13'15,"-13"0"-15,13 1 0,-13-1 16,0 0-16,0 13 0,13 41 16,-13-41-16,0 14 15,0-14-15,0-13 16,0 14-16,0-14 0,0 0 0,0 14 16,0-14-16,0 0 0,0 0 15,0 1-15,0-1 16</inkml:trace>
  <inkml:trace contextRef="#ctx0" brushRef="#br0" timeOffset="56619.27">15346 6456 0,'40'-53'16,"-14"53"-16,-13-13 0,0 13 15,1 0-15,12 0 0,-13 0 16,14 0-16,-14 13 0,14 0 16,-14 0-16,0 1 0,-13-1 0,13 13 15,-13-12-15,0-1 0,-26 40 16,26-27-16,-13-13 15,-1 14-15,1-14 0,0 0 0,0 1 16,-1-1-16,1 0 0,0 0 16,0-13-16,13 13 0</inkml:trace>
  <inkml:trace contextRef="#ctx0" brushRef="#br0" timeOffset="56871.76">15703 6429 0,'-26'14'15,"26"-1"-15,-14 13 0,1 1 16,0-1-16,0 14 0,-1-14 0,14 1 16,-13-14-16,13 14 15,0-1-15,0-13 0,0 14 0,0-14 0,0 13 16,13 1-16,1-14 15,-14 0-15,13 0 0,0 1 0,14-1 16,-27 0-16,26-13 16,0 0-16,1 0 15</inkml:trace>
  <inkml:trace contextRef="#ctx0" brushRef="#br0" timeOffset="57085.42">15928 6615 0,'0'-14'15,"0"1"-15,-13 40 32,13-14-17,-14 0-15,14 0 16,0 14-16,-13-14 0,13 13 16,0-12-16,-13 25 15,13-25-15,0-1 0,0 0 16,0 0-16,0 0 15,13 1-15</inkml:trace>
  <inkml:trace contextRef="#ctx0" brushRef="#br0" timeOffset="57485.93">15915 6575 0,'26'-13'16,"-13"13"-16,-52 13 0,92-26 15,-40 13-15,0 0 16,0 13-16,-13 0 15,0 0 1,0 1-16,0-1 0,0 0 16,14 0-16,-14 1 0,13-1 15,0 0 1,-13 13-16,13-12 16,-13-1-16,-13 0 0,13 0 15,-13 1-15,13-1 0,-13-13 16,-14 26-16,14-26 0,-14 13 15,-12 1 1,25-14-16,-12 0 0,0-14 16,12 14-16,1-13 0</inkml:trace>
  <inkml:trace contextRef="#ctx0" brushRef="#br0" timeOffset="57716.15">15928 6204 0,'119'53'0,"-93"-39"16,1 12-16,13 14 0,-14-1 15,67 94-15,-67-94 0,-13 14 16,14 14-16,-27-28 16,0 1-16,0 0 0,-13-1 0,-1 1 15,1 0-15,0-1 0,-14-12 16,-26 39-16,27-40 15,0 1-15,12-1 0,-25 1 16,-1-14-16</inkml:trace>
  <inkml:trace contextRef="#ctx0" brushRef="#br0" timeOffset="60979.3">15478 8811 0,'-13'0'0,"26"26"31,0-26 0,1 13-15,-1-26-16,0 13 0,0 0 16</inkml:trace>
  <inkml:trace contextRef="#ctx0" brushRef="#br0" timeOffset="67671.06">9168 5450 0,'-13'0'0,"52"0"16,-12 0-16,12 0 15,41 0-15,-27 0 0,0 14 16,105-14-1,41 0 1,-160 13-16,-12-13 0,-1 0 0,1 0 16,-1 0-16,-12 0 0,-1 0 15,0 0-15,0 0 0,0 0 16,1 0-16</inkml:trace>
  <inkml:trace contextRef="#ctx0" brushRef="#br0" timeOffset="68715.1">12263 5556 0,'358'-26'31,"-292"26"-31,317-13 0,-316-1 16,-15 14-16,15 0 0,-14 0 0,-1 0 15,-25 0-15,13 14 0,-14-14 16,1 0-16,-1 0 0</inkml:trace>
  <inkml:trace contextRef="#ctx0" brushRef="#br0" timeOffset="72007.17">16351 9168 0,'-13'-13'16,"53"26"15,39-13-31,-26 0 16,0 0-16,13 0 0,0-13 0,172 13 31,-158 0-31,-1 0 0,67 0 16,-93 0-16,26 0 0,-26 0 0,13 0 15,-13 0-15,0-14 0,0 14 16,0 0-16,-14 0 0,27 0 16,-39 0-16,-1 0 0,1 0 0,-14 0 15,0 0-15,1 0 16,-1 0-16,0 0 0,0 0 15,0 0-15,1 0 0,-1 0 16</inkml:trace>
  <inkml:trace contextRef="#ctx0" brushRef="#br0" timeOffset="99513.29">17185 9472 0,'26'13'94,"-13"-13"-94,1 0 0,-1-13 16,0 13-16,0 0 0,27 0 15,-27 0 1,14 0-16,-14 0 0,-13-13 15,13 13-15,0 0 0,1 0 16,-1 0 0,0-13-1,-39 13 17,-1 13-17,14-13-15,0 0 0,-14 0 16,1 0-16,13 13 15,-1-13-15,1 0 0,0 0 16,0 0-16,-1 0 16,1 0-16,0 13 0,0-13 15,-1 0-15,1 0 16,0 0-16,0 0 16,13 14-1,-13-14 1,-1 13-16,14 0 15,-13 13 1,13-12-16,0-1 16,-13-13-16,13 13 0,0 0 0,0 1 15,0-1-15,-13 0 16,13 0-16,0 14 16,0-14-1,0 0 1,0 0 15,13-13 0,27-13-15,-27 13-16,13-13 16,-13 13-16,1 0 15,-1 0-15,0 0 0,0 13 0,1-13 16,-1 13-16,0-13 0,0 14 15,1-1-15,-1-13 0,0 13 0,-13 0 16,13 1-16,-13-1 0,13 0 16,-13 0-16,0 0 0,0 1 0,0-1 15,-13 13 1,0-12-16,0-1 0,-14 0 16,14 0-16,-27 1 0,14-14 15,-1 13-15,14-13 0,-13 0 16,-14 13-16,14-13 15,-14 0-15,27 0 16,-1 13-16,1-13 0,0 0 0,0 0 16,0 0-1</inkml:trace>
  <inkml:trace contextRef="#ctx0" brushRef="#br0" timeOffset="100380.94">18336 9763 0,'13'-13'31,"0"13"-31,0 0 16,27 0-16,-14 0 0,14 0 15,-13 0-15,-14-13 16,27 13-16,-27 0 0,0 0 15,0 0-15,0 0 0,1 0 0,12 0 16,-26-14 15</inkml:trace>
  <inkml:trace contextRef="#ctx0" brushRef="#br0" timeOffset="100667.09">18481 9631 0,'-92'13'16,"78"0"-16,1 1 15,-27 12-15,27-13 0,-13 0 16,-1 27-16,1-27 15,26 1-15,-13-1 16,13 0-16,0 0 0,-14-13 0,14 27 16,14-14-16,-1 0 15,0-13 1,13 0-16,-12 13 0,-1-13 16,27 0-16,-1-13 0</inkml:trace>
  <inkml:trace contextRef="#ctx0" brushRef="#br0" timeOffset="101416.41">19354 9565 0,'40'0'31,"-27"-14"-31,40-12 15,-26 13 1,-1 0-16,-13-1 0,0 1 16,-13 0-1,14 0-15,-41 26 32,14 0-17,0 14-15,0-14 0,-1 13 16,-25 27-16,39-26 15,-14 12-15,1-25 16,13-1-16,0 0 0,0 13 16,0-12-16,0-1 0,0 0 15,27 0 1,-14-13-16,0 0 0,0 0 16,14-13-16,-14 0 15,13 0-15,-12 13 16,-1-14-16,0 14 15,0-13-15,1 13 16,-28 27 15,14-14-15,14-13-16,-14 13 16,13 0-16,0-13 15,14 0-15,-14 0 16,0 0-16,-13-13 15,13 13-15,0-13 0,-13 0 16,0-1-16,0 1 16,-13 13-16,0-13 15,13 0-15,-13 13 0,0-13 16,13-1-16,-14 1 16,28 0-1,-14 0-15</inkml:trace>
  <inkml:trace contextRef="#ctx0" brushRef="#br0" timeOffset="101607.98">19817 9485 0,'0'-13'15,"27"53"1,-27-14 0,0 14-16,13-14 15,-13 41 1,13-54-16,-13 13 0,0 14 15,13-27-15,-13 14 16,0-14-16,14 0 16</inkml:trace>
  <inkml:trace contextRef="#ctx0" brushRef="#br0" timeOffset="102013.14">19778 9710 0,'-14'-13'16,"41"13"-16,-1-13 15,1 13-15,-1-13 16,-13 13-16,1 0 16,12-14-16,-13 14 15,1 0-15,-1 0 16,0 14-1,-26-1 1,13 0-16,13 0 16,-13 0-1,13 1-15,0-14 16,1 0-16,12 0 16,-26-14-16,27 1 15,-27 0-15,13 0 16,-13-14-16,-304 80 0,608-132 15,-317 79 1,13 13 15</inkml:trace>
  <inkml:trace contextRef="#ctx0" brushRef="#br0" timeOffset="102749.72">20254 9419 0,'0'27'15,"-13"26"1,-1-14-1,14 27-15,-13-39 16,26 26 0,1-14-16,12-12 15</inkml:trace>
  <inkml:trace contextRef="#ctx0" brushRef="#br0" timeOffset="103167.92">20743 9551 0,'-13'27'15,"13"-14"-15,-13 0 16,13 1-16,0-1 16,0 0-1,13-39 17,-13 12-17,13 14-15,1-13 16,-1 13-1,0 13 1,0 1-16,0-1 16,-13 0-16,14-13 15,-1 13 1,13-13-16,1 0 16,-1-13-1</inkml:trace>
  <inkml:trace contextRef="#ctx0" brushRef="#br0" timeOffset="103468.15">21074 9499 0,'13'-27'31,"-39"40"-15,13 14-16,13-14 16,-14 0-1,1 27-15,26-27 16,-13 0-16,14 1 15,12-133-15,-39 238 16,26-119-16,0-14 16,1 1-16,-1 0 15,-13 0-15,0-1 0,0 1 16,0 0-16,0 0 0,0 0 16,0-1-16,-13 1 0,-1 13 15,1-13 1,0 26-16,0-13 0,13 13 15,-14-13-15,1 14 16</inkml:trace>
  <inkml:trace contextRef="#ctx0" brushRef="#br0" timeOffset="103731.72">21246 9472 0,'13'0'15,"-13"13"1,0 1-16,0-1 16,-13 0-16,13 0 0,0-79 0,-13 159 0,-27-14 15,27-52-15,0-1 16,-14 14-16,14-14 0,-27 40 16,27-53-16,0 14 0,0 13 15,-1-27-15,1 0 0,13 0 16,-13 1-16,13-1 0,-13 0 15</inkml:trace>
  <inkml:trace contextRef="#ctx0" brushRef="#br0" timeOffset="103900.74">21246 9869 0,'13'-13'0,"-13"-1"16</inkml:trace>
  <inkml:trace contextRef="#ctx0" brushRef="#br0" timeOffset="104015.32">21312 9829 0,'-13'13'16,"26"-39"-16,-13 39 15,13-39-15,-13 13 16,14 13-16</inkml:trace>
  <inkml:trace contextRef="#ctx0" brushRef="#br0" timeOffset="106546.71">12978 8784 0,'0'27'16,"0"-14"-16,0 0 0,0 27 0,0-14 16,-13 27-16,13-26 0,0 26 15,-14-27-15,14 0 16,0 1-16,-13-1 16,13-12-16,0 12 0,0-13 15,-13 1-15</inkml:trace>
  <inkml:trace contextRef="#ctx0" brushRef="#br0" timeOffset="106820.13">12965 8744 0,'39'-26'0,"-25"26"0,12 0 16,-13 0-16,0 13 16,1 0-16,-1 1 15,0 12-15,-13-13 0,0 1 16,-13-1-16,0 27 0,-1-1 16,1-26-16,0 14 0,0-14 15,0 0-15,-14 14 16,14-1-16</inkml:trace>
  <inkml:trace contextRef="#ctx0" brushRef="#br0" timeOffset="107056.23">13309 8784 0,'-14'13'31,"1"1"-31,13-1 0,-13 13 16,0 14-16,-1-14 0,14 1 16,-13-1-16,13 1 0,0-1 0,-13 1 15,13-14-15,13 53 16,0-53-16,-13 1 0,14-1 16,-14 0-16,26 14 15,1-27-15,-14 0 0,0 0 16,0 0-16</inkml:trace>
  <inkml:trace contextRef="#ctx0" brushRef="#br0" timeOffset="107279.81">13613 8877 0,'0'-13'0,"-27"39"16,27-13-16,-13 0 0,13 1 15,-13 25-15,13-25 16,0 25-16,-13-25 0,13-1 16,0 13-16,0-13 0,0 1 15,0-1-15,0 0 0,0 0 16,0 1-16</inkml:trace>
  <inkml:trace contextRef="#ctx0" brushRef="#br0" timeOffset="107752.43">13507 8916 0,'13'0'0,"14"-13"16,-14 13-16,0 13 15,-13 1-15,0-1 16,-13 0-16,13 0 16,-13-13-16,13 14 0,0-1 15,0 0-15,0 0 0,13 14 16,0-14-16,-13 0 16,13 0-16,1 1 15,-1-1-15,-13 0 0,13 0 0,0 1 16,-13 12-16,-13-13 15,0 1-15,13-1 16,-13-13-16,-27 26 0,27-26 16,-14 13-16,14-13 15,0 0-15,-14-13 0</inkml:trace>
  <inkml:trace contextRef="#ctx0" brushRef="#br0" timeOffset="107972.09">13639 8652 0,'93'40'15,"-40"12"-15,26 54 16,-66-66-16,-13 0 16,0 39-16,0-26 0,-13 0 15,-13 0-15,-1 0 0,-26 39 16,0 1-16,14-27 15,-14-13-15,40-40 16,-1 0-16</inkml:trace>
  <inkml:trace contextRef="#ctx0" brushRef="#br0" timeOffset="118335.81">17357 8599 0,'0'-13'15,"-27"26"17,-12 0-17,25 0-15,1 1 16,-13-1-16,-1-13 0,-13 26 16,14-12-16,13-1 0,0-13 15,-1 13-15,1 0 0,0 0 16,0 1-16,-1-14 0,14 13 15,14 0 1,-1-13 0,0 13-16,14-13 0,-14 0 0,13 0 15,-13 14-15,14-14 0,-1 0 0,1 0 16,-1 13-16,-12-13 0,52 0 16,-53 0-1,0 0-15,0 0 0,1 0 0,-1 0 0,0 0 16,0 0-1,0 0 1</inkml:trace>
  <inkml:trace contextRef="#ctx0" brushRef="#br0" timeOffset="118536.98">17357 8586 0,'-40'92'15,"27"-65"-15,-14 39 16,14-40-16,0 14 0,0-13 0,-1 12 16,-12 14-16,13-26 15</inkml:trace>
  <inkml:trace contextRef="#ctx0" brushRef="#br0" timeOffset="125924.09">13137 11893 0,'-14'119'0,"14"-92"0,-13 12 16,13 27-16,-13-39 16,13 13-16,-13-27 0,13 13 0,0 1 15,-14-1-15,1 14 16,13-27-16,0 0 0,-13 0 16,13 1-16,-13 12 15</inkml:trace>
  <inkml:trace contextRef="#ctx0" brushRef="#br0" timeOffset="126270.93">13057 11853 0,'0'0'0,"13"-13"0,1 13 15,25-13-15,-25 13 16,-1 0-16,26 26 16,-12-12-16,-14-1 0,0 0 0,1 0 15,12 27 1,-26-27-16,0 27 0,0-27 0,0 14 15,-26 25 1,-1-38-16,14-1 0,-14 13 16,-12-12-16,26-1 0,-27 0 15,27-13 1</inkml:trace>
  <inkml:trace contextRef="#ctx0" brushRef="#br0" timeOffset="126523.82">13467 11933 0,'-26'26'16,"13"27"-1,-1-40-15,-12 67 16,26-54-16,0 14 15,-13-14-15,13-12 0,13 52 16,-13-40-16,13-13 16,0 14-16,-13-14 0,40 13 15,-27-12-15,14-14 16,-14 0-16,0 0 16</inkml:trace>
  <inkml:trace contextRef="#ctx0" brushRef="#br0" timeOffset="126775.73">13732 12039 0,'0'-14'15,"-13"28"17,13 25-17,-14-26-15,14 1 0,-13 25 16,13-12-16,-13 26 15,13-27-15,-13-13 16,13 1-16,0-1 0,0 0 0,-14 27 16,14-27-1,-13 0 1</inkml:trace>
  <inkml:trace contextRef="#ctx0" brushRef="#br0" timeOffset="127143.2">13705 12039 0,'53'-14'16,"-39"14"-16,-1 14 15,0-14-15,0 26 16,-26-13-16,13 0 0,-13 1 16,0-1-16,-1 0 0,1 0 15,-27 27-15,27-27 16,0 1-16,0-14 0,13 13 16,-14-13-16,14 13 0,0 0 15,-13-13-15,40 27 16,-27-14-1,13-13-15,-13 13 0,40 0 16,-27-13 0,0 0-16,0 0 15,1-13 1,-14 0-16</inkml:trace>
  <inkml:trace contextRef="#ctx0" brushRef="#br0" timeOffset="127404.13">13838 11814 0,'79'66'0,"-66"-40"15,1-13-15,25 93 16,-39-79-16,13-1 15,-13 1-15,-13-1 0,13 1 0,-13 12 16,0-12-16,0 12 0,-14-12 16,14-1-16,-14 1 0,14-1 15,0-13-15,-14 1 0,27-1 0,-13 13 16</inkml:trace>
  <inkml:trace contextRef="#ctx0" brushRef="#br0" timeOffset="127786.73">15227 12078 0,'13'-13'0,"13"13"0,-12 0 0,-1 0 16,27 0-1,-27 13-15,0-13 16,0 0-16,-13 13 0,0 1 16,0-1-16</inkml:trace>
  <inkml:trace contextRef="#ctx0" brushRef="#br0" timeOffset="127955.76">15253 12250 0,'0'0'15,"13"0"-15,27 13 32,-27-13-32,1 0 0,-1 0 0,0 0 15,0 0-15,1 0 16,12 0-1,-13 0-15</inkml:trace>
  <inkml:trace contextRef="#ctx0" brushRef="#br0" timeOffset="131990.75">16179 11919 0,'-13'27'16,"13"-14"-16,0 0 0,0 1 15,-13-1-15,0 27 16,13-27-16,0 0 15,-14 0-15,1 0 0,13 1 0,-13 12 16,0-13-16,13 1 16,-14-14-16,14 13 0</inkml:trace>
  <inkml:trace contextRef="#ctx0" brushRef="#br0" timeOffset="132295.07">16576 12184 0,'-172'106'15,"132"-80"-15,1 1 0,-1 12 0,0-12 16,1-1-16,-1 1 16,0-1-16,1 1 0,12-1 0,-12 1 15,12-14-15,14 13 0,0-12 0,-14-14 16,14 13-16,13 0 0,-13-13 16,13 13-16,-14-13 0</inkml:trace>
  <inkml:trace contextRef="#ctx0" brushRef="#br0" timeOffset="132773.6">16629 12660 0,'13'-13'15,"-52"26"1,12 1-1,14-1 1,0-13-16,13 13 16,0 13-1,26 1 1,-13-14-16,-13 0 0,14-13 16,-1 14-16,-13-1 0,13 0 15,-13 0-15,13 1 0,-26-1 16,13 0-16,-53 27 15,0-1 1,14-25-16,12-1 0,-13 0 16,14-13-16,-1 0 0,1 13 0,0-13 15,-1 0-15,27-13 0,-13 13 16,13-13 0</inkml:trace>
  <inkml:trace contextRef="#ctx0" brushRef="#br0" timeOffset="133341.84">19738 11919 0,'-13'14'16,"13"-1"-16,-14 27 15,14-27-15,0 13 0,-13 1 0,13 12 16,-13-12-16,13 13 0,-13-1 0,13 1 16,-13-14-16,13 1 0,-14-1 15,14-12-15,0-1 0,0 13 16,-13 1-16,13-14 0,0 0 15</inkml:trace>
  <inkml:trace contextRef="#ctx0" brushRef="#br0" timeOffset="133640.26">19659 11933 0,'26'-14'0,"-13"14"0,0-13 15,1 13 1,-1 0-16,0 13 0,14-13 0,-14 14 16,0-14-16,14 26 0,-14 1 15,-13-14-15,13 0 16,-26 0-16,13 1 0,-13 25 15,-1-26-15,1 1 0,-13 12 0,12-13 16,1 1-16,0-14 0,0 13 16,-1-13-16,1 0 0,0 13 15,0-13-15</inkml:trace>
  <inkml:trace contextRef="#ctx0" brushRef="#br0" timeOffset="133944.7">20294 11761 0,'-53'39'0,"39"-12"0,81-93 0,-147 158 16,67-65-16,-14-1 0,14 14 0,-13 0 15,13-1-15,-27 67 16,27-66-16,13 0 0,-14-1 0,14 1 16,14 26-16,-1 0 15,13-13-15,1-13 16,-1-27-16,-13 0 16,27 0-16,-13 1 0,-14-14 15,13 0-15,40-14 0,-26 14 16,0-13-16,0 0 0,-1 0 15</inkml:trace>
  <inkml:trace contextRef="#ctx0" brushRef="#br0" timeOffset="135643.28">20558 11959 0,'-13'-13'0,"0"13"15,-1 0 1,1 13-16,0 0 0,0 1 16,0 12-16,-1-13 0,1 14 15,0-14-15,0 13 0,-1-12 16,14 12-16,-13-13 0,13 14 0,-13-14 15,13 0-15,0 1 0,0-1 0,0 0 16,0 0-16,0 0 16,13-13-16,0 0 0,1 0 15,-1 0-15,0-13 16,0 13-16,1 0 0,-1 0 0,0 0 16,-13-13-16,13 13 15,0 13-15,1-13 0,-14 13 16,13 1-16,-13-1 15,13 0-15,-13 0 0,0 1 16,0-1-16,13 0 16,-13 0-1,14-13-15,-1-13 16</inkml:trace>
  <inkml:trace contextRef="#ctx0" brushRef="#br0" timeOffset="136083.47">20823 11615 0,'0'0'0,"66"80"15,-40-41-15,-12-12 0,-1 12 0,0-12 16,0 13-16,14-1 0,-27 1 16,13 0-16,0 13 0,-13-14 15,0 1-15,0 13 0,0-13 0,-26 52 16,12-52-16,1-14 16,0 14-16,0 0 0,-14-14 0,14 1 15,-27 12-15,27-12 0,0-14 16,13 0-1</inkml:trace>
  <inkml:trace contextRef="#ctx0" brushRef="#br0" timeOffset="136437.07">21722 12052 0,'27'0'16,"-14"0"0,0-13-16,80 13 15,-80 0 1,27 0-16,-14 0 0,-13 0 0,1 0 16,-1 13-1,0-13-15,-13 13 0</inkml:trace>
  <inkml:trace contextRef="#ctx0" brushRef="#br0" timeOffset="136639.16">21855 12131 0,'-14'13'16,"41"1"0,-14-1-16,14 0 15,-14-13-15,13 13 16,1-13-16,-14 14 0,0-14 15,0 0-15,1 13 0,-1-13 16,13 0-16,-13 0 16,1 13-16,-1-13 15,0 0-15</inkml:trace>
  <inkml:trace contextRef="#ctx0" brushRef="#br0" timeOffset="143734.78">22754 11893 0,'0'-13'0,"-13"13"15,-14 13 1,14 0-16,-13 27 16,13-27-16,-1 27 15,14-27-15,0 0 0,0 1 16,0-1-16,0 0 0,0 0 15,0 0-15,14 1 0,-1-1 0,0 0 16,0-13-16,0 0 16,14 0-16,-14 0 0,0-13 0,14 13 15,-1-27-15,-12 14 0,12 0 16,-26 0-16,13 0 0,0-14 0,-13 14 16,0 0-16,0-1 0,0 1 15,0 0-15,0 0 0,-13-1 0,13 1 16,-13 0-16,0 0 0,0 13 0,-1-13 15,1 13 1,0 0-16,0 13 0,-1-13 0,1 0 16,0 13-16,0-13 0</inkml:trace>
  <inkml:trace contextRef="#ctx0" brushRef="#br0" timeOffset="143987.69">23138 12025 0,'-53'53'0,"26"-40"0,1 14 16,0-14-16,-1 14 0,1-1 0,-1 1 15,-13 12-15,14-12 0,-40 26 16,39-27-16,1-13 0,-1 14 15,1-14-15,0 13 0,12-12 0,1-1 16,0 0-16,0-13 16,13 13-16,-14-13 0,1 14 0</inkml:trace>
  <inkml:trace contextRef="#ctx0" brushRef="#br0" timeOffset="144395.57">22953 12475 0,'-14'0'0,"1"0"15,-27 0 1,27 13-16,13 1 31,13 12-15,1-13 0,-14 0-16,0 27 31,-14-27-31,1 1 0,0-1 15,-13 0-15,12 0 0,-12 1 16,-27-1-16,40 0 16,-14-13-16,14 0 0,0 13 0,0-13 15,-1 0-15,1-13 0,13 0 16,0 0-16,13-1 0</inkml:trace>
  <inkml:trace contextRef="#ctx0" brushRef="#br0" timeOffset="144724">23495 12025 0,'53'-13'0,"-40"13"15,0 13-15,1-13 16,-14 14 0</inkml:trace>
  <inkml:trace contextRef="#ctx0" brushRef="#br0" timeOffset="144878.88">23376 12197 0,'0'14'16,"26"-28"-1,-12 14 1,25 0 0,1-13-16,-14 13 0,41-26 15,-28 12-15</inkml:trace>
  <inkml:trace contextRef="#ctx0" brushRef="#br0" timeOffset="145176.38">23932 12025 0,'-14'-13'15,"-12"13"1,13 13-16,-1 1 16,14-1-16,-13 13 15,13 1-15,0-14 16,80-106-16,-147 199 16,81-93-16,-1 1 0,0-14 15,0 0-15,1 13 0,-1-13 16,0-13-16,13-1 15,-12 1-15,-1-13 16,-13-1-16,-13 14 16,13 0-16,-14 0 15,1-1 1,0 1-16,0 13 0,0 0 16</inkml:trace>
  <inkml:trace contextRef="#ctx0" brushRef="#br0" timeOffset="145361">24276 11999 0,'13'0'16,"-40"53"15,14-53-31,13 13 0,-26 13 0,-14 14 15,27-27 1,-14 14-16,14-14 0,-13 14 16</inkml:trace>
  <inkml:trace contextRef="#ctx0" brushRef="#br0" timeOffset="145492.73">24117 12105 0,'-13'-27'16</inkml:trace>
  <inkml:trace contextRef="#ctx0" brushRef="#br0" timeOffset="145591.78">24355 12211 0</inkml:trace>
  <inkml:trace contextRef="#ctx0" brushRef="#br0" timeOffset="154010.7">16603 12687 0,'13'0'47,"13"0"-31,-12 0-1,12 0-15,-13 0 16</inkml:trace>
  <inkml:trace contextRef="#ctx0" brushRef="#br0" timeOffset="155013.66">12475 6099 0,'13'13'0</inkml:trace>
  <inkml:trace contextRef="#ctx0" brushRef="#br0" timeOffset="156615.03">12290 5980 0,'26'0'0,"-12"0"0,-1 13 16</inkml:trace>
  <inkml:trace contextRef="#ctx0" brushRef="#br0" timeOffset="-186192.49">6773 7131 0,'212'-93'15,"-66"53"-15,-67 27 0,66-40 16,107 0 0,-107 13-16,-79 27 15,1 0-15,52-13 0,-80 12 16,41 1-16,-54 13 0,1-13 16,-14 13-16,0 0 0,0 0 15,14-13-15,-14 13 16</inkml:trace>
  <inkml:trace contextRef="#ctx0" brushRef="#br0" timeOffset="-185899.68">7898 6522 0,'119'-13'16,"-106"13"-16,53 13 0,-26 0 16,-14 0-16,14 1 0,39 12 15,1 40-15,-54-52 16,1 12-16,-27-13 16,13 14-16,-13-14 0,0 13 0,-13 27 15,0-13-15,-14-14 0,1 14 16,-14 13-1,13-27-15,1 1 0,-27 26 0,27-40 16,12 0-16,-12 1 0</inkml:trace>
  <inkml:trace contextRef="#ctx0" brushRef="#br0" timeOffset="-184373.88">8705 8731 0,'66'-53'0,"-40"27"15,1-1-15,26-12 0,-14 12 0,14-12 16,0-1-16,66-39 0,-66 39 16,66-40-16,-66 41 15,-13-1-15,13 14 0,-13-1 16,12-13-16,1 1 15,-39 26-15,-1-1 0,0 14 0,0-13 16,-13 0-16,0 0 16,0-1-16</inkml:trace>
  <inkml:trace contextRef="#ctx0" brushRef="#br0" timeOffset="-184088.96">9419 7911 0,'199'13'16,"-120"14"-16,-39-14 15,-1 13-15,41 1 0,-54-1 16,27 14-16,-40-27 16,1 0-16,-1 27 15,-26 13-15,-14 0 16,-13 0 0,27-27-16,-13 1 0,12-14 0</inkml:trace>
  <inkml:trace contextRef="#ctx0" brushRef="#br0" timeOffset="-182814.02">21246 8731 0,'53'-13'0,"-40"13"0,27-13 0,-14 13 15,1 0-15,-14 0 0,13 0 0,-12-13 0,12 13 16</inkml:trace>
  <inkml:trace contextRef="#ctx0" brushRef="#br0" timeOffset="-182628.76">21339 8864 0,'39'-14'15,"1"14"-15,-27-13 0,14 13 16,-1 0-16,-13-13 16,27 13-16,-13-13 0,-1 13 15</inkml:trace>
  <inkml:trace contextRef="#ctx0" brushRef="#br0" timeOffset="-182217.46">21299 8718 0,'13'0'0,"0"0"0,1-13 0,-1 13 15,0 0-15,14-13 16,-1 13 0</inkml:trace>
  <inkml:trace contextRef="#ctx0" brushRef="#br0" timeOffset="-173585.76">22053 8599 0,'-26'26'0,"26"-12"0,0 12 16,-14-26-16,14 27 16,0-14-16,14 0 0,-14 0 0,0 0 15,0 1-15,13-1 16,0 0-16,-13 0 0,13-13 0,0 14 15,1-14-15,-1 0 0,0 13 0,0-13 16,14-13-16,-1 13 16,1 0-16,-14-14 0,0 14 15,14-13-15,-14 13 0,0-13 0,14-14 16,-27 14-16,0 0 16,13 0-16,-26-27 15,13 27-15,-14 13 0,14-27 16,-13 27-16,0-13 0,0 0 0,-1 0 15,14-1-15,-39 1 16,12 0-16,14 0 16,0 13-16,0 0 15,-14 13 1,27 0-16,-13 0 16,13 1-16</inkml:trace>
  <inkml:trace contextRef="#ctx0" brushRef="#br0" timeOffset="-173320.82">22556 8678 0</inkml:trace>
  <inkml:trace contextRef="#ctx0" brushRef="#br0" timeOffset="-172581.15">22886 8401 0,'-52'-14'0,"25"41"15,27 12 1,0-12 0,0-14-16,13 40 15,-13-27-15,0 14 16,0-13-16,0-14 0,0 0 0,0 0 16,0 1-16,-13-1 15,13 0-15,-13 0 0,0 0 0,-1 1 16,1-14-1,0-14 1,26 1 0,-13 0-16,13 0 15,1 0-15,12-14 16,-13 14-16,1 0 0,-1-1 16,0 1-16,-13 0 0,13 0 0,0-1 15,-13 1-15,0 0 0,0 0 16,0 0-16,0-1 0,0 1 15,0 0-15,-13 0 0,13-1 0,-13 1 16,0 0-16,0 0 0,13 0 16,-14 13-16,1-14 15,0 14-15,0 0 0,-1 0 0,1 0 16,0 14-16,0-14 16,13 13-16,-14-13 0,14 13 0,0 0 15</inkml:trace>
  <inkml:trace contextRef="#ctx0" brushRef="#br0" timeOffset="-172268.7">23204 8586 0,'-26'26'0,"12"-26"15,1 13-15,0 1 0,0-1 0,-14 13 0,1 1 16,-1-1-16,1-13 15,-1 14-15,14-1 0,-13-12 0,12-1 16,-12 0-16,13 0 0,-1 1 16</inkml:trace>
  <inkml:trace contextRef="#ctx0" brushRef="#br0" timeOffset="-172078.07">23138 8718 0,'-27'40'0,"-26"-1"15,40-25-15,0-1 16,0 0-16,0 0 0,-1 1 0,1-14 16,0 13-16,0 0 15</inkml:trace>
  <inkml:trace contextRef="#ctx0" brushRef="#br0" timeOffset="-171826.1">23416 8506 0,'39'-13'16,"-25"13"-16,12 0 0,-13 0 0,0 0 16,1 0-16,-1 0 0,0 0 0,0 0 15</inkml:trace>
  <inkml:trace contextRef="#ctx0" brushRef="#br0" timeOffset="-171668.14">23416 8639 0,'53'-14'31,"-40"14"-15,0 0-16,0 0 0,14-13 15,-1 13-15,-13 0 0</inkml:trace>
  <inkml:trace contextRef="#ctx0" brushRef="#br0" timeOffset="-171189.51">23971 8348 0,'0'26'16,"13"-13"0,-13 1-16,0-1 0,14 0 0,-14 0 15,0 27-15,0-27 0,0 14 16,-14-14-16,14 0 15,-13 0-15,0 0 0,13 1 0,-13-14 16,0 13-16,-1-13 0,14 13 0,-13-13 16,0 0-16,0 0 15,13-13-15,13 0 16,-13-1-16,13 14 16,0-13-16,1 0 0,-1 13 15,13-26-15,-13 12 16,14-12-16,-14 13 0,0-1 15,1 1-15,-14 0 0,0 0 16,13-14-16,-13 14 0,0 0 16,0 0-16,-13-1 0,-1 1 15,14 0-15,-13 13 16,0 0-16,0 0 0,-14 0 16,14 13-1</inkml:trace>
  <inkml:trace contextRef="#ctx0" brushRef="#br0" timeOffset="-170869.88">24143 8334 0,'-39'80'0,"25"-41"31,14-25-31,0-1 0,14-13 16,-14 13-16,26 0 0,-13 1 16,0-14-16,14 0 15,-1-14-15,-12 14 16,-1-26-16,0 13 0,-13-1 16,13-12-16,-13 13 15,0 0-15,-13-1 16,13-12-16,-13 26 0,13-13 15,-13 13-15,-1 0 0,1 0 16,0 0-16,-14 13 16,14-13-16,0 0 0,0 13 0,13 0 15,-13-13-15</inkml:trace>
  <inkml:trace contextRef="#ctx0" brushRef="#br0" timeOffset="-170606.64">24500 8321 0,'14'13'16,"-28"14"-16,1-1 15,13-12-15,-13-1 0,-13 26 16,12-25-16,1 12 0,0-13 15,-27 27-15,27-27 16,0 0-16,-1 1 0,1-1 0,0 0 16,0 0-16,0 1 15,-1-1-15,14 0 16,-13 0-16</inkml:trace>
  <inkml:trace contextRef="#ctx0" brushRef="#br0" timeOffset="-170381.79">24381 8427 0,'0'-13'0,"0"39"32</inkml:trace>
  <inkml:trace contextRef="#ctx0" brushRef="#br0" timeOffset="-170233.63">24500 8625 0</inkml:trace>
  <inkml:trace contextRef="#ctx0" brushRef="#br0" timeOffset="-165696.36">17185 12039 0,'53'0'0,"-40"-14"15,0 14-15,0 0 0,1 0 0</inkml:trace>
  <inkml:trace contextRef="#ctx0" brushRef="#br0" timeOffset="-165506.91">17277 12171 0,'27'13'15,"-14"-13"-15,0 0 0,0 0 16,1 0-16,-1 0 0,13 0 16,-12 0-16,25 0 0</inkml:trace>
  <inkml:trace contextRef="#ctx0" brushRef="#br0" timeOffset="-165032.91">17806 11906 0,'14'-13'0,"12"13"15,-13 0-15,1 0 0,12 0 16,-13 13-16,1-13 0,-1 0 16,-13 13-16,13-13 0,0 14 0,-13-1 15,0 0-15,0 0 0,-13 1 16,13-1-16,-13 0 0,0 0 15,-1 1-15,1-1 0,13 0 0,-26 0 16,26 0-16,-14-13 0,14 14 16,-13-14-16,0 13 15,26 0 1,14-13 0,-14 0-1,0 0-15,0-13 0,14 13 0,-14 0 16,0-13-16,14-1 0,-1 14 0,-13-13 15,14 0-15,13-13 16</inkml:trace>
  <inkml:trace contextRef="#ctx0" brushRef="#br0" timeOffset="-164732.62">18217 11919 0,'-40'14'15,"27"-14"-15,-1 26 16,14-13-1,-13 1-15,26 12 16,-13-13 0,14 1-16,-1-14 0,27 13 15,-14-13 1,-13-13-16,0-1 31,-13 1-31,0 0 0,-13-14 16,-13 14 15,13 0-31,-1 13 16,1 0-16,0 0 15</inkml:trace>
  <inkml:trace contextRef="#ctx0" brushRef="#br0" timeOffset="-164500.3">18600 11840 0,'13'13'32,"-26"1"-32,0 25 15,0-26-15,13 1 16,-13-1-16,-1 0 0,14 14 0,-26-1 15,13-13-15,-1 14 16,1-1-16,0-13 0,0 1 16,13-1-16</inkml:trace>
  <inkml:trace contextRef="#ctx0" brushRef="#br0" timeOffset="-164331.81">18402 11906 0,'-13'-13'16,"26"39"0</inkml:trace>
  <inkml:trace contextRef="#ctx0" brushRef="#br0" timeOffset="-164165.87">18759 12091 0,'13'0'0,"-13"-13"31</inkml:trace>
  <inkml:trace contextRef="#ctx0" brushRef="#br0" timeOffset="-163144.73">17939 12369 0,'39'13'0,"-25"1"15,-1-14-15,0 0 0,0 0 0,14 13 16,-14-13-16,14 0 15,25 13-15,-12-13 0,-13 0 16,12 0-16,-12 0 0,26 0 0,-14 0 16,41-13-16,-41 13 15,28-13-15,-15 13 0,-25-14 16,-1 14-16,1-13 0,-1 13 16,1-13-16,-1 13 0,1-13 0,-14 13 15,13-13-15,-12 13 0,-1-14 0,0 14 0,13-13 16,-12 13-16,-1-13 15,0 13-15,0-13 0,1-1 16,-1 14-16,0-13 0,0 0 16,1 0-16,-1 0 15,-13-1-15,0 1 0,13 0 16,-13-27-16,0 27 16,0 0-16,-13-14 0,13 14 15,-13-13-15,-1 12 0,1-12 0,-40-67 16,27 67-1,12-1-15,1 1 0,-13-1 0,-14-39 16,27 40-16,-27-27 16,14 26-16,-1 1 0,-12-14 15,12 27-15,1 0 0,-1 0 16,-52-1-16,39 1 0,-52 13 16,52 0-1,0 0-15,-13 0 0,14 13 0,-14-13 16,0 14-16,-66 12 0,66 1 15,0-14-15,0 13 0,0 1 16,-26 39-16,39-26 0,0-1 16,-26 41-16,40-41 0,-1 1 15,14-14-15,-14 14 0,14 39 16,0 1-16,26-40 16,-13-1-16,27 27 0,-1-26 15,1-14-15,-1 1 0,53 39 16,-39-39-1,26-1-15,-26-13 0,-14 0 16,1-13-16,-1 0 0,1 14 16,13-14-16</inkml:trace>
  <inkml:trace contextRef="#ctx0" brushRef="#br1" timeOffset="-154621.28">11562 6972 0,'-13'13'0,"13"0"16,0 0-1,0 1-15,0-1 0,0 13 0,13-26 16,-13 14-16,0-1 0,14 0 15,-14 0-15,13-13 0,0 14 16,0-14-16,0 13 0,1-13 16,-1 0-16,0 0 0,0 0 0,-13-13 15,14 13-15,-1 0 0,-13-14 16,13 14-16,-13-13 0,0 0 0,0 0 16,0-1-16,0 1 0,-13 13 15,13-13-15,-13 0 0,-1-1 16,1 1-16,0 13 15,0 0-15,-1 0 0,1 0 16,0 13-16,0-13 16,0 14-16</inkml:trace>
  <inkml:trace contextRef="#ctx0" brushRef="#br1" timeOffset="-154274.77">11814 6972 0,'13'26'16,"0"1"-16,0-14 0,1 13 16,-1-26-16,0 14 15,0-1-15,0-13 0,1 0 0,12 13 16,1-13-16,-14 0 15,13-13-15,-12 13 16,-1 0-16,-13-13 0,13 13 0,-13-14 16,13 14-16,-13-13 15,0 0-15,-13 0 0,13-1 16,-13 14-16,0-13 0,-1 0 16,1 13-16,0-13 0,0 13 15,-1 0-15,1 0 16,0 0-16,0 0 15,-1 13-15</inkml:trace>
  <inkml:trace contextRef="#ctx0" brushRef="#br1" timeOffset="-153913.61">12250 6919 0,'0'13'0,"-13"27"15,13-27 1,13 0-16,-13 0 16,0 1-16,13-1 0,1-13 15,-1 13-15,0-13 0,0 0 16,1 0-16,-1 0 15,0-13-15,0 13 16,-13-13-16,13 13 0,-13-14 16,0 1-16,0 0 15,-13 0-15,13 0 0,-13-1 16,13 1-16,-13 13 0,13-13 0,-13 13 16,-1-13-16,1 13 15,-13 13 1,26 0-1</inkml:trace>
  <inkml:trace contextRef="#ctx0" brushRef="#br1" timeOffset="-153576.89">12515 6892 0,'0'53'0,"0"-39"16,0-1-16,0 0 0,13-13 0,-13 13 15,13-13-15,-13 13 16,13-13-16,14 14 0,-14-14 16,0 0-16,14-14 0,-14 1 15,0 13-15,-13-13 16,14 13-16,-14-26 15,-14 12-15,14 1 16,-13 0-16,0 0 16,0-1-16,-1 14 15,1 0 1,0 0-16,0 0 0,13 14 16,-14-14-16,14 13 15</inkml:trace>
  <inkml:trace contextRef="#ctx0" brushRef="#br1" timeOffset="-153240.98">12872 6839 0,'-40'27'0,"40"-14"0,0 0 16,0 1-16,0-1 15,40-93-15,-66 186 0,39-79 16,13-14-16,-13-13 16,1 0-16,-1 0 15,40 0-15,-53-13 16,26 0 0,-12-1-16,-14 1 15,0 0-15,-14-14 16,1 14-16,13 0 15,-13 13-15,0-13 0,-1 13 16,1 0-16,0 0 16,0 0-16,-1 13 0,14 0 15</inkml:trace>
  <inkml:trace contextRef="#ctx0" brushRef="#br1" timeOffset="-152928.7">13150 6853 0,'26'79'16,"-13"-79"-16,14 13 0,-14 1 15,0-14-15,1 0 0,-1 0 16,27 0-16,-27-14 0,0 14 15,0-13-15,0 13 0,14-40 16,-14 27-16,-13 0 16,0-27-16,0 27 0,0-27 15,0 27-15,-13 0 16,13 0-16,0-1 0,-13 1 16,-1 13-16,-25 13 15,26-13-15,-14 27 0,-13-14 16,14 14-16,-14-1 0</inkml:trace>
  <inkml:trace contextRef="#ctx0" brushRef="#br1" timeOffset="-152524.75">12382 7488 0,'-26'39'0,"26"-25"0,0-1 15,13 0-15,0 0 16,-13 1-16,27-1 0,-1-13 15,-12 0-15,12 0 0,14-13 16,-27 13-16,0-14 16,14 1-16,-14 0 0,0-14 15,-13 14-15,0-13 16,-13 26-16,0-27 16,-1 14-16,1 0 0,0 13 15,0 0-15,0 0 0,-14 0 16,14 13-1,0-13-15</inkml:trace>
  <inkml:trace contextRef="#ctx0" brushRef="#br1" timeOffset="-152213.3">12674 7448 0,'-14'66'16,"28"-53"-16,-1 1 0,0-14 15,0 13-15,27-13 16,0-13 0,-27 13-16,0 0 0,14-14 0,-14 14 15,0-13-15,0 13 0,0-13 0,-13 0 16,14-14-16,-14 14 15,0-13-15,-14 12 16,14 1-16,-13 0 0,0 0 16,-13-1-1,26 1-15,-14 13 16,1 13-16,0-13 16</inkml:trace>
  <inkml:trace contextRef="#ctx0" brushRef="#br1" timeOffset="-151906.03">13031 7289 0,'0'40'16,"0"-27"-16,0 0 0,0 1 15,13 12-15,0-13 16,-13 1-16,13-1 0,14 0 0,-14-13 15,27 13 1,-27-13-16,0-13 0,14 13 0,-14-13 16,27 0-16,-27-1 0,13-12 15,-26 13-15,14-1 16,-28-12-16,14 13 16,-26-14-16,13 27 15,-1-13-15,-25 13 16,25 0-16,-25 13 15,12 0-15,14-13 16,-13 0-16</inkml:trace>
  <inkml:trace contextRef="#ctx0" brushRef="#br1" timeOffset="-149608.89">13084 7025 0</inkml:trace>
  <inkml:trace contextRef="#ctx0" brushRef="#br1" timeOffset="-146909.54">9565 9750 0,'0'13'0,"0"0"0,0 1 16,0-1-16,0 0 0,0 0 16,-14 0-16,14 14 0,0 13 15,-13-1-15,13-25 16,0 12-16,0-13 0,0 0 15,0 1-15,0-1 0,0 0 0,0 0 16</inkml:trace>
  <inkml:trace contextRef="#ctx0" brushRef="#br1" timeOffset="-146549.18">9723 9842 0,'0'-13'0,"0"40"31,0-14-31,0 0 16,0 14-16,14-14 0,-14 0 0,13 27 16,0-27-16,0 0 0,1-13 15,-1 13-15,13 1 0,-13-14 16,1 0-16,12 13 0,-13-26 0,1 13 15,-1 0-15,0 0 0,0-14 16,1 14-16,-14-13 0,13 0 0,-13 0 16,0 0-16,0-1 0,-13 1 15,13 0-15,0 0 0,-14-1 16,1 1-16,13 0 16,-13 0-16,0 13 0,-1-14 15,1 14-15,13 14 16,-13-14-16,13 13 15</inkml:trace>
  <inkml:trace contextRef="#ctx0" brushRef="#br1" timeOffset="-146356.95">10345 9842 0,'40'0'16,"-27"-13"-16,0 13 0,1 0 15,-1 0-15,0 0 0,0 0 16</inkml:trace>
  <inkml:trace contextRef="#ctx0" brushRef="#br1" timeOffset="-146184.8">10345 9948 0,'27'0'16,"-1"0"-16,14-13 16,0 13-1,-27-13-15,13 13 16,1-13-16</inkml:trace>
  <inkml:trace contextRef="#ctx0" brushRef="#br1" timeOffset="-145930.08">11020 9671 0,'0'0'0,"0"-14"0,-13 41 47,13-14-47,0 27 15,0-27-15,0 0 16,-14 0-16,14 1 16,0 12-16,0 0 0,0-12 15,-13-1-15,26 0 16</inkml:trace>
  <inkml:trace contextRef="#ctx0" brushRef="#br1" timeOffset="-145573.08">11033 9604 0,'13'-13'0,"27"0"16,-27 13-16,0 0 16,1 0-16,-1 13 0,0 0 15,-13 1-15,0-1 16,0 0-16,0 0 0,-13 1 0,-14 25 16,14-26-16,-13 14 15,13-14-15,-1 0 0,-12 14 16,13-14-16,-1 0 15,1 0-15,13 1 0,13-1 32,1-13-32,-1 13 15,0-13-15,0 0 0,1 0 0,-1 0 16,0 0-16,0 0 0,0 0 16,14-13-16,-14 13 0,0 0 15,1 0-15</inkml:trace>
  <inkml:trace contextRef="#ctx0" brushRef="#br1" timeOffset="-144557.1">10835 10279 0,'13'0'15,"-26"27"-15,13-14 16,0 13-16,-14-13 0,14 1 16,-13 52-1,13-53-15,-13 0 0,13 14 16,-13-1-16,13 1 0,-13-1 16,13-13-16,-14 1 15,14-1-15</inkml:trace>
  <inkml:trace contextRef="#ctx0" brushRef="#br1" timeOffset="-144033.71">10755 10332 0,'40'0'16,"-27"0"-16,0 0 0,1 0 16,-14 13-1,13-13-15,-13 13 16,0 1-16,13-1 0,0 13 15,-13-12 1,14-1-16,-14 0 16,13-13-16,-13 27 15,0-14 1,0 0-16,-13 0 0,-1 0 16,1 1-16,0-14 0,0 13 15,-14 0-15,-26 0 16,40-13-16,-13 0 15,12 14-15,-12-14 16</inkml:trace>
  <inkml:trace contextRef="#ctx0" brushRef="#br1" timeOffset="-143811.52">10319 10517 0,'66'-26'0,"-40"26"16,-12 0-16,12 0 15,-13 0-15,1 0 16</inkml:trace>
  <inkml:trace contextRef="#ctx0" brushRef="#br1" timeOffset="-143651.9">10332 10623 0,'66'-13'0,"-53"13"16,1 0-16,-1-13 0,13 13 15,-12 0-15,-14-14 0,13 14 16</inkml:trace>
  <inkml:trace contextRef="#ctx0" brushRef="#br1" timeOffset="-143227.62">9750 10517 0,'-27'40'32,"14"-40"-32,13 13 15,-26 14-15,26-1 0,-27 0 16,27-12-16,-13-1 16,13 0-16,-13 0 15,13 1-15,0-1 0,13 0 16,14 0-1,-14-13 1,0 0-16,13 0 0,14 0 16,-27 0-16,14-13 0,-1 0 15,-13 13-15,1-13 16,-1-1-16</inkml:trace>
  <inkml:trace contextRef="#ctx0" brushRef="#br1" timeOffset="-143033.86">9723 10544 0,'-13'119'16,"26"-80"-16,-13-25 0,0 25 15,14 1-15,-14-14 16,13-12-16,-13-1 0,13 0 15,14 0-15,-1-13 16,-119-330-16</inkml:trace>
  <inkml:trace contextRef="#ctx0" brushRef="#br1" timeOffset="-142420.99">10808 10279 0,'27'-53'0,"-27"40"15,26 0-15,-13 13 0,1 0 16,-1 0-16,0 0 16,14 26-1,-27-13 1,0 1-16,0-1 16,-14 0-1,1 0-15,0 1 0,0-1 16,-1-13-16,1 0 15</inkml:trace>
  <inkml:trace contextRef="#ctx0" brushRef="#br1" timeOffset="-139247.67">9538 12713 0,'133'-13'16,"38"0"0,-104 0-16,91-1 15,-65 1-15,92 0 0,-79 13 16,-13 0-16,92-13 0,-93 13 16,-12 0-16,-1 0 15,27 0-15,-53-14 0,0 14 16,13 0-16,-53 0 15,0 0 1</inkml:trace>
  <inkml:trace contextRef="#ctx0" brushRef="#br1" timeOffset="-137648.06">8559 12753 0,'172'-40'0,"-145"40"16,-14-13-16,27 13 0</inkml:trace>
  <inkml:trace contextRef="#ctx0" brushRef="#br1" timeOffset="-137460.83">8625 12978 0,'53'0'0,"-26"0"16,12 0-16,-12 0 16,-14 0-16,0 0 0,14-13 15</inkml:trace>
  <inkml:trace contextRef="#ctx0" brushRef="#br1" timeOffset="-136331.31">7144 12819 0,'-13'13'0,"-1"1"16,14 12-16,0 14 16,14 13-16,-14-14 0,0 27 15,0-39-15,0-1 16,13 27-16,-13-26 16,0-1-16,0-13 0,0 1 0,0-1 15</inkml:trace>
  <inkml:trace contextRef="#ctx0" brushRef="#br1" timeOffset="-136036.24">7064 12793 0,'40'-40'0,"-27"40"16,14-13-16,12 13 16,14 0-16,-26 13 15,-1 13-15,-13 1 16,1-1-16,-28 1 16,14-14-16,-13 13 0,13-12 15,-13-1-15,0 13 0,-27 1 16,14-1-16,12-26 15,1 14-15,0-1 0,-13-13 16</inkml:trace>
  <inkml:trace contextRef="#ctx0" brushRef="#br1" timeOffset="-135779.93">7382 12766 0,'-13'93'15,"13"-67"-15,13-13 0,-13 14 16,0-1-16,13 27 16,0 0-16,1-26 0,-14-14 15,13 13-15,13 14 16,-13-14-16,14-12 0,-27-1 15,13-13-15,-13 13 16</inkml:trace>
  <inkml:trace contextRef="#ctx0" brushRef="#br1" timeOffset="-135556.84">7567 12898 0,'0'27'16,"0"-14"-1,0 0-15,0 14 16,0 13-16,0-27 16,13 13-16,-13-13 0,0 27 15,0-27-15,0 1 0,0-1 16,14 0-16,-14 0 0</inkml:trace>
  <inkml:trace contextRef="#ctx0" brushRef="#br1" timeOffset="-135171.66">7594 12819 0,'26'-13'15,"-52"26"-15,78-26 16,-38 13-16,-1 0 0,0 13 16,-13 0-16,0 1 15,0-1-15,-13 26 16,0-12-16,-14 13 15,27-27-15,-13 0 0,0-13 16,0 27-16,13-14 16,-14 0-16,28 0 15,-1 0 1,0-13-16,0 0 16,14 14-16,-14-14 15,0 0-15,0 0 16,1-14-16</inkml:trace>
  <inkml:trace contextRef="#ctx0" brushRef="#br1" timeOffset="-134913.75">7699 12475 0,'172'106'0,"-132"-66"15,0-14-15,52 106 0,-65-92 16,-14 0-16,0 39 0,-13-26 16,0-13-16,-39 105 15,-1-65-15,27-41 16,-27 14-16,14-26 15,-1-1-15</inkml:trace>
  <inkml:trace contextRef="#ctx0" brushRef="#br1" timeOffset="-131477.1">10279 13004 0,'13'80'15,"-13"-54"-15,0-13 16,-13 14-16,13-14 0,0 13 0,0 1 0,0-14 16,-13 27-16,13-27 15,0 0-15,0 1 0,0-1 16,0 0-16</inkml:trace>
  <inkml:trace contextRef="#ctx0" brushRef="#br1" timeOffset="-131109.14">10755 13004 0,'0'0'16,"14"0"-16,-41 27 31,14-14-16,-14 0-15,1 0 16,-1 14-16,14-14 0,-13 0 16,26 1-16,-27-1 15,27 0-15,-13 0 16,26 0 0,1-13-16,-1 0 0,13 0 15,27 14 1,0-14-16,-40 0 0,14 0 15,12 0-15,1 0 16,-27 0-16,1 0 0,-1 0 16,0 0-1,0-14-15</inkml:trace>
  <inkml:trace contextRef="#ctx0" brushRef="#br1" timeOffset="-130908.14">10782 13018 0,'-27'13'16,"54"-26"-16,-54 52 0,14 1 16,13-14-16,0 1 15,0-14-15,0 40 16,0 0-16,0 13 15,0-13-15,13-27 16,-13 1-16</inkml:trace>
  <inkml:trace contextRef="#ctx0" brushRef="#br1" timeOffset="-127830.65">10213 12158 0,'0'26'0,"-13"-26"15,13 13-15,0 14 0,-14-14 16,14 0-16,0 0 0,0 14 16,-13-1-16,13-12 15,0 12-15,-13-13 16,13 14-16,0-14 16,0 0-16</inkml:trace>
  <inkml:trace contextRef="#ctx0" brushRef="#br1" timeOffset="-127425.14">10372 12158 0,'0'26'16,"13"-13"-16,-13 1 0,13 12 16,0-13-16,14 14 15,-14-14-15,14 13 16,-14-12-16,0-14 0,13 13 15,-12-13-15,-1 0 0,0 0 16,0-13-16,1 13 16,-1-40-16,-26 27 15,13-1-15,-14 1 16,1 0-16,-27-13 0,1 12 16,-1 1-16,0 13 15,1 0 1,25 0-16</inkml:trace>
  <inkml:trace contextRef="#ctx0" brushRef="#br1" timeOffset="-126917.12">11298 12409 0,'92'0'15,"-78"0"1,25 0-16,-12 0 15,-14 0-15</inkml:trace>
  <inkml:trace contextRef="#ctx0" brushRef="#br1" timeOffset="-126744.54">11404 12554 0,'13'14'16,"13"-14"-16,-13 0 16,1 0-16,12 13 15</inkml:trace>
  <inkml:trace contextRef="#ctx0" brushRef="#br1" timeOffset="-115179.66">11972 12144 0,'67'0'16,"-54"0"-16,0 14 15,-13-1-15,13 0 0,-13 0 16,0 1-16,0-1 0,13 0 16,-13 13-16,0-12 0,0 12 15,0-13-15,0 14 0,0-14 0,0 13 16,0-12-16,0-1 0,0 13 0,0-12 16,0-1-16,0 27 0,0-27 15,0 0-15,0 0 0,-13 0 16,13 1-16</inkml:trace>
  <inkml:trace contextRef="#ctx0" brushRef="#br1" timeOffset="-114987.14">11853 12435 0,'40'0'31,"-14"-13"-31,-12 13 0,52-13 16,-40 0-16,14-14 15,13-12 1,-27 25-16</inkml:trace>
  <inkml:trace contextRef="#ctx0" brushRef="#br1" timeOffset="-114800.74">12330 12131 0,'0'-13'0,"0"26"16,13 0-16,-13 1 0,0-1 15,0 13-15,0-12 0,0-1 16,0 0-16,13 13 0,-13-12 16,0 12-16,0-13 0,0 1 0,13-1 15,-13 0-15,0 0 0,0 0 0,0 1 16,0 12-16</inkml:trace>
  <inkml:trace contextRef="#ctx0" brushRef="#br1" timeOffset="-114515.36">12713 12091 0,'-26'14'16,"26"-1"-16,-13 0 0,13 14 15,-14-14-15,14 0 0,-13 14 0,-13 12 16,12 1-16,1-27 15,0 27-15,-14-14 0,14 1 16,-13 12-16,13-39 16</inkml:trace>
  <inkml:trace contextRef="#ctx0" brushRef="#br1" timeOffset="-114360.92">12488 12290 0,'-13'-13'15,"13"-1"1,13 41 15,-13-27-31,14 0 16</inkml:trace>
  <inkml:trace contextRef="#ctx0" brushRef="#br1" timeOffset="-114258.7">12766 12409 0,'13'13'15</inkml:trace>
  <inkml:trace contextRef="#ctx0" brushRef="#br1" timeOffset="-112902.75">16986 1852 0,'106'-53'0,"-40"27"16,-39 26-16,26-14 0,-27 1 15,1 13-15,-14 0 16,13 0-16</inkml:trace>
  <inkml:trace contextRef="#ctx0" brushRef="#br1" timeOffset="-112716.18">16999 2051 0,'27'13'0,"-14"-13"16,53-13-16,-13-1 15,0 1-15,-13 0 16,-14 13-16,40-27 16,-52 14-16</inkml:trace>
  <inkml:trace contextRef="#ctx0" brushRef="#br1" timeOffset="-112036.17">18164 1442 0,'-27'53'32,"14"-40"-32,-13 14 0,12-1 15,-52 67 1,40-67-16,-14 27 15,14-13-15,12-14 16,14 1-16,14-1 16,-1-26-1,26 13-15,1-13 0,0-13 16,26 0-16,-26 13 16,52-27-16,-52 14 15,0 0-15,-14 0 0,1 13 0,52-40 16,-53 14-1,-12 26-15,-14-14 16</inkml:trace>
  <inkml:trace contextRef="#ctx0" brushRef="#br1" timeOffset="-111809.68">18243 1376 0,'-53'185'32,"53"-145"-32,0-1 0,0 54 15,0-40-15,0-13 16,0 26-16,0-27 16,13 14-1,-13-26 1,14-14-16</inkml:trace>
  <inkml:trace contextRef="#ctx0" brushRef="#br1" timeOffset="-111472.33">17568 2408 0,'186'-80'15,"-1"14"1,119-26-16,-145 52 15,-80 13-15,1 14 16,-1073 331-16,2052-662 0,-993 331 0,53-14 16,-79 14-16,39 13 15,-66 0-15,0 13 16,-39 0 0</inkml:trace>
  <inkml:trace contextRef="#ctx0" brushRef="#br1" timeOffset="-111226.87">18150 2461 0,'0'26'15,"0"40"1,0-13-16,0-13 16,0 0-16,-13 65 15,26-435-15,-26 687 0,13-331 16,0 14-16</inkml:trace>
  <inkml:trace contextRef="#ctx0" brushRef="#br1" timeOffset="-110927.09">18666 2500 0,'-53'40'15,"27"-27"-15,-14 27 16,1-14-16,12 1 15,27-14-15,-13 0 0,0 1 16,13 25 0,0-26-16,26 1 15,-13-14 1,27 0-16,0-14 16,-14 14-16,-13-13 0,14 0 15,-1-13-15,1 12 16,-1-25-16</inkml:trace>
  <inkml:trace contextRef="#ctx0" brushRef="#br1" timeOffset="-110726.45">18719 2447 0,'-39'212'63,"39"-185"-48,0 25-15,0-25 0,13 13 16,-13-1-16,13-12 16,0-27-1,0 0-15,1-13 16,-1-1-16</inkml:trace>
  <inkml:trace contextRef="#ctx0" brushRef="#br1" timeOffset="-110483.79">19513 1773 0,'26'-27'16,"-12"27"-16,25-13 16,14 0-16,0 0 15,-40 13-15,14 0 0,-1 0 16,-12 0-16</inkml:trace>
  <inkml:trace contextRef="#ctx0" brushRef="#br1" timeOffset="-110286.9">19526 1931 0,'13'14'16,"1"-14"0,-1 0-16,40-14 0,-159-144 15,238 316-15,-92-158 16,-14 0-16,14 0 15,-27-13 1</inkml:trace>
  <inkml:trace contextRef="#ctx0" brushRef="#br1" timeOffset="-109264.47">19434 1826 0,'39'-27'0,"1"14"15,13 0-15,-27 13 16,-12-14-16,12 14 15,53-26-15,-65 26 16,12 0-16,-13 0 0,14 0 16</inkml:trace>
  <inkml:trace contextRef="#ctx0" brushRef="#br1" timeOffset="-109059.14">19487 1984 0,'0'14'0,"26"-14"31,0 0-31,27-14 16,-13 14-16,13-13 16,-27 13-16,1 0 0,-1 0 15,14-13-15,-27 13 0,14 0 16,-14 0-16</inkml:trace>
  <inkml:trace contextRef="#ctx0" brushRef="#br1" timeOffset="-103380.68">20227 1601 0,'27'-27'0,"-14"41"0,0-14 16,1 0-16,-1 13 0,0 0 0,0 0 16,0 0-16,-13 1 0,14-1 15,-1 0-15,-13 14 0,0-14 0,0 0 16,0 13-16,-27 27 15,14-26-15,13-14 0,-13 14 16,-13-14-16,12 0 0,14 0 0,-13 0 16,0 14-16,0-14 15,-1-13-15,14 13 16,-13 1-16,26-14 16,1 0-1,-1 0-15,0 0 0,0 0 16,1 0-16,38 0 15,-25-14-15,-1 14 0,1 0 0,13-13 16,-14 13-16,0-13 0,27 0 16,-39 13-1</inkml:trace>
  <inkml:trace contextRef="#ctx0" brushRef="#br1" timeOffset="-102099.78">21048 1640 0,'13'-13'0,"-26"13"32,-1-13-17,1 13-15,0 0 16,0 13 0,-1-13-1,14 13-15,-13-13 0,0 14 16,13-1-16,0 0 15,0 0-15,0 1 16,0-1-16,13 0 0,-13 0 0,13 14 16,-13-14-16,14 0 15,-14 0-15,0 1 0,13 12 16,-13-13-16,0 1 16,0-1-16,-13-13 15,13 13-15,-27 0 0,14-13 16,0 0-16,0 0 15,-1 0 1,14-13-16,0 0 16,0 0-1,14-1-15,-1 1 16,-13 0-16,13 0 0,13-14 16,-12 14-16,-14 0 0,13-1 15,-13 1-15,13 0 16,-13-13-16,0 12 15,0 1-15,-13 13 0,13-13 0,-13 0 16,-1-1-16,1 14 16,13-13-16,-26 13 0,13 0 15,-1 13-15,1-13 16</inkml:trace>
  <inkml:trace contextRef="#ctx0" brushRef="#br1" timeOffset="-101832.89">21471 1627 0,'0'13'15,"0"1"-15,-13-1 0,-1 27 16,14-14-16,-13-13 0,0 14 16,-13 52-16,12-66 15,1 14-15,0-14 0,0 27 16,-14-1 0,14-25-16,0-14 15</inkml:trace>
  <inkml:trace contextRef="#ctx0" brushRef="#br1" timeOffset="-101653.77">21101 1799 0,'26'-13'15,"-13"13"1</inkml:trace>
  <inkml:trace contextRef="#ctx0" brushRef="#br1" timeOffset="-101491.95">21603 1931 0,'13'0'0,"1"-13"31</inkml:trace>
  <inkml:trace contextRef="#ctx0" brushRef="#br1" timeOffset="-89357.68">11946 12713 0,'225'-92'15,"-185"78"-15,26-12 16,-27 13-16,-12 13 0,-1-14 15,54-12-15,-67 26 16,13-13-16,1 0 0,-1 13 16,-13-14-16,1 14 0,-1 0 15,0 0 1</inkml:trace>
  <inkml:trace contextRef="#ctx0" brushRef="#br1" timeOffset="-89155.87">12211 12819 0,'-14'0'16,"41"13"-16,26-26 16,-40 13-1,13 0-15,14-26 16,-14 26-16,14-14 0,-13 1 0,-1 0 15,14-14-15,-14 14 0,27-26 16,-26 12-16</inkml:trace>
  <inkml:trace contextRef="#ctx0" brushRef="#br1" timeOffset="-88161.16">20532 2315 0,'26'-13'16,"-13"13"-16,1 0 0,12-13 0,1 13 16,-1 0-16,27-14 0,39 1 15,-39 13-15,0-13 0,0 13 16,0 0-16,0-13 0,0-1 0,0 14 15,26 0-15,-52 0 16</inkml:trace>
  <inkml:trace contextRef="#ctx0" brushRef="#br1" timeOffset="-87937.1">20704 2408 0,'92'13'15,"-79"-26"-15,40 13 0,-26 0 16,-1 0-16,1 0 0,-1 0 0,1 0 16,-14 0-16,13 0 15,-12 0-15,12 0 0,1 0 16,-14 0-16,0 0 0</inkml:trace>
  <inkml:trace contextRef="#ctx0" brushRef="#br1" timeOffset="-86632.17">12978 1032 0,'26'-13'16,"-12"-1"-16,12 14 0,0-13 0,-12 13 0,39-13 15,-27 0-15,14 13 16,-1-14-16,-12 14 15,-14 0-15,27 0 0,-27 0 16,0 0-16,0-13 0,1 26 16,-1-13-1,-13 14-15,13 12 16,-13-13-16,13 1 0,-13 12 0,0 14 16,14 13-16,-14-40 15,0 13-15,0 1 0,13-1 16,-13 1-16,0-1 15,13-13-15,-13 1 16,13-1-16</inkml:trace>
  <inkml:trace contextRef="#ctx0" brushRef="#br1" timeOffset="-86432.72">13163 1257 0,'93'-40'47,"-80"40"-47,13-13 16,1 13-16,-14-13 0,40-1 15,-27 14-15,14-13 0,0 0 16,-27 0-16</inkml:trace>
  <inkml:trace contextRef="#ctx0" brushRef="#br1" timeOffset="-86222.66">13666 939 0,'-503'318'15,"992"-623"1,-489 319-16,0-1 15,0 27 1,0-14-16,14 14 16,-14-14-16,0-13 15,13 14-15,-13-14 0,0 0 16,0 1-16,13-1 0,-13 0 16</inkml:trace>
  <inkml:trace contextRef="#ctx0" brushRef="#br1" timeOffset="-85681.06">13348 1707 0,'66'-14'0,"-39"14"16,13 14-1,-27-14-15,-13 13 16,13 0-16,-13 0 0,0 0 0,0 1 16,-13-1-16,13 13 0,-13 1 15,-14 13-15,14-27 0,0 13 16,-1-13-16,1 1 15,0-1 1,13 0-16,13-13 31,0 0-31,14-13 16,-14 13-16,27-27 0,-14 14 16,1 0-16,-1-13 15,1 12-15,25-12 0,-25 13 0,-1-14 16,-12 14-1</inkml:trace>
  <inkml:trace contextRef="#ctx0" brushRef="#br1" timeOffset="-84977.73">13864 1535 0,'-26'0'0,"12"0"0,1 0 15,0 0 17,26 26-32,0-13 15,-13 1-15,14-14 0,-14 13 16,13 0-16,0 0 0,-13 0 16,0 1-16,0-1 0,0 13 15,-13 1-15,13-14 16,-13 0-16,13 0 0,-14 1 15,1-1-15,0-13 16,13-27 0,13 27-16,0-26 15,1 13-15,12-14 16,1 1-16,12-27 16,-25 40-16,-14 0 15,13-14-15,-13 14 0,0 0 0,0-1 16,0 1-16,-13 0 15,-1 0-15,1-14 16,-13 27-16,26-13 16,-27 26-16,14-13 0,0 13 15,-1 1-15,1-1 0,0 13 16,0 1-16</inkml:trace>
  <inkml:trace contextRef="#ctx0" brushRef="#br1" timeOffset="-84695.84">13070 2302 0,'199'-80'15,"-133"67"-15,-13-13 0,0 13 0,13-14 16,0 14-16,53-40 16,0 13-16,-66 14 0,0-1 15,0 1-15,13-14 16,0-13-16,-26 27 16,-14-1-16,-12 14 15</inkml:trace>
  <inkml:trace contextRef="#ctx0" brushRef="#br1" timeOffset="-84173.91">13626 2394 0,'-13'0'0,"0"0"0,13 14 16,-14-14-16,14 13 0,-13 0 0,13 14 15,-13-14-15,13 0 16,0 0-16,0 1 0,0-1 16,0 0-16,13-13 0,0 13 15,1-26-15,-1 13 0,0 0 16,13-26-16,-12 26 15,-1-27-15,0 27 16,-13-13-16,13 13 0,1-13 16,-1 26-1,0-13 1,-13 13-16,0 0 0,0 1 16,13 12-16,-13-13 0,0 0 15,0 1-15,14-1 16,-1 0-16,0-13 15,0 0-15</inkml:trace>
  <inkml:trace contextRef="#ctx0" brushRef="#br1" timeOffset="-83889.66">14076 2342 0,'-66'0'0,"52"13"0,-12 0 15,13-13-15,0 13 0,-1 0 16,1-13-16,13 14 0,0-1 16,13 0-1,1-13-15,118-92 0,-264 197 0,145-105 16,0 0-16,-13 14 0,13-14 16,0 13-16,1-13 0,-1 0 15,-13 13-15,13-13 0,0 0 16,1 13-16,-1-13 15,-13 14-15,13-14 0,0 13 16,-13 0 0,0 0-16</inkml:trace>
  <inkml:trace contextRef="#ctx0" brushRef="#br1" timeOffset="-83673.41">13626 2924 0,'13'-14'0,"0"1"15,54-26 1,-41 12-16,14 14 0,-1-14 0,28 1 16,-28-1-16,1 14 0,-14 0 15,1 13-15,-14-13 0,27 13 16,-14 0-16,-12 0 15,-1 0-15</inkml:trace>
  <inkml:trace contextRef="#ctx0" brushRef="#br1" timeOffset="-83437.22">14116 3016 0,'0'40'0,"0"-80"16,13 106-16,-13-52 0,0-1 15,0 0-15,13 27 0,-13-27 16,13 0-16,-13 0 0,13 1 16,-13-1-16,14 0 0,-14 14 15,0-14 1</inkml:trace>
  <inkml:trace contextRef="#ctx0" brushRef="#br1" timeOffset="-83083.8">14592 2950 0,'-27'53'16,"14"-40"-16,13 14 15,-13-14-15,0 0 0,13 14 0,-14-14 16,1 0-16,-13 14 0,26-1 0,-14-13 16,1 0-16,13 1 0,-13-14 15</inkml:trace>
  <inkml:trace contextRef="#ctx0" brushRef="#br1" timeOffset="-82958.87">14314 3082 0,'13'-13'0,"14"0"16</inkml:trace>
  <inkml:trace contextRef="#ctx0" brushRef="#br1" timeOffset="-82868.02">14592 3109 0</inkml:trace>
  <inkml:trace contextRef="#ctx0" brushRef="#br1" timeOffset="-82365.82">14301 3545 0,'158'-105'16,"-118"78"-16,0 14 16,0-27-16,-14 27 0,80-93 15,-80 66-15,27-52 16,-13-1-16,-40 54 16,0-14-16,0 0 0,-27-40 15,14 40-15,0 14 0,-27-1 0,-26-13 16,-13 26-1,26 14-15,0 13 0,0 0 16,0 13-16,-79 27 0,52-13 16,14-1-16,0 14 0,13-1 15,-66 41-15,66-27 0,0-14 16,-26 67-16,52-53 16,1 40-16,26-54 0,13 41 15,27 12-15,0-52 16,-1-13-16,54 39 0,-40-53 15,39 13-15,-39-12 16,-13-14-16,0 0 0,13 0 0,-14-14 16,1 1-16,53-13 15,-54-1-15,1 14 0</inkml:trace>
  <inkml:trace contextRef="#ctx0" brushRef="#br1" timeOffset="-82057">14922 2672 0,'40'-26'0,"0"39"32,-14-13-32,-12 13 0,12 14 15,14-1-15,-27-13 16,-13 1-16,26 78 16,-26-65-16,0-1 15,-13 40-15,13-39 0,-13 39 16,13-40-16</inkml:trace>
  <inkml:trace contextRef="#ctx0" brushRef="#br1" timeOffset="-81933.03">15134 3453 0,'0'13'16,"0"-26"15</inkml:trace>
  <inkml:trace contextRef="#ctx0" brushRef="#br1" timeOffset="-80456.81">21365 1336 0,'-13'0'0,"26"-13"47</inkml:trace>
  <inkml:trace contextRef="#ctx0" brushRef="#br1" timeOffset="-80291.89">21894 1217 0</inkml:trace>
  <inkml:trace contextRef="#ctx0" brushRef="#br1" timeOffset="-79059.89">12369 12091 0,'13'-13'47,"1"0"-31</inkml:trace>
  <inkml:trace contextRef="#ctx0" brushRef="#br1" timeOffset="-57188.88">16523 6482 0,'27'0'78,"-14"0"-62,13-13 0,-12 13-1,12 0 1</inkml:trace>
  <inkml:trace contextRef="#ctx0" brushRef="#br1" timeOffset="-56422.84">16589 6641 0,'14'0'78,"-1"0"-63,13 0 1,-12 0-16</inkml:trace>
  <inkml:trace contextRef="#ctx0" brushRef="#br1" timeOffset="-50113.23">15465 6787 0,'-27'0'0,"41"-14"0,-1 1 16,119-53-1,-66 26-15,27 1 0,0-14 0,105-53 16,-79 53-16,0 0 0,0-13 16,13 13-16,-12-13 15,12 13-15,-13 13 0,0 0 0,-13 1 16,-27 26-16,-13-14 0,0 14 0,-26 13 15,0 0-15,-14 0 0,-13 13 16,-26 14-16,0-1 0,-27 27 16,-26 13-16,-13 0 0,-1 0 0,1 14 15,-14-1-15,1 1 0,-1-1 16,14-13-16,13 0 0,0 0 0,-53 67 16,105-107-1,1 1-15,13-1 0,0-13 0,0 0 16,13-13-16,27 14 0,-14-14 0,41-14 15,-1-12-15,40 0 0,13-14 16,-14-13-16,15 0 0,-1 0 0,0-13 0,0 13 16,13-13-16,-26 0 15,13 13-15,0 0 0,93-40 16,-120 54-16,-26 12 0,1 1 0,-28 12 16,1 14-16,-14-13 0,-12 13 15,-14 13-15,-27 14 16,-13-1-16,-12 14 0,-1 0 0,-14 13 15,-12 0-15,0 0 0,13 13 16,13-27-16,0 1 0,13 13 16,-26 13-16,39-39 0,1-1 15,13-13-15,13 14 0,0-14 16,13-13-16,0 13 0,14-26 16,92-14-16,-27 1 15,14-14-15,13 1 0,-13-14 0,13 0 0,0 0 16,0 0-16,0 0 15,0-13-15,-26 13 0,66-26 0,-93 52 16,-13 1-16,-13-1 0,-1 14 0,-12 0 16,-14 13-1,-26 13-15,-14 13 0,-26 14 16,-13 13-16,-13 0 0,-1 13 0,1 0 16,0 0-16,-1 1 15,14-1-15,0 0 0,-27 13 16,67-39-16,-1 0 0,1-14 0,13 1 15,13-1-15,0-13 0,0 0 16,13 1-16,0-1 0,14-13 0,-1 0 16,27 0-16,26-27 0,1 14 0,211-93 15,-185 67 1,0-14-16,-1 13 0,-12-13 16,79-13-16,-93 40 0,-13-1 15,-13 14-15,0 0 0,-26-1 0,-1 14 0,-13 0 16,1 14-1,-41 25-15,-13-12 0,-12 13 16,-1 12-16,-27 1 0,27-13 0,0 13 16,1-13-16,12-1 0,-13-12 15,26-1-15,1 14 16,13-14-16,13-12 0,13-1 0,0-13 16,14 0-16,12 0 0,28 0 15,-1-13-15,119-40 16,40 0-16,-14-27 15,-105 54-15,66-27 0,-92 40 16,-14 0-16,-27-1 0,1 14 16,-13 0-16,-14 0 0,0 14 0,0-1 15,-26 13-15,-40 27 0,13-13 16,14-14-16,0 1 16,-1-1-16,1 1 0,12 12 15,14-25-15,14-1 16,12 0-16,186-26 15,-133 13-15,14-13 0,26-14 16,79-13-16,-26 14 16,-106 13-16,1 13 0,-28-13 15,14 13-15,-40-14 16</inkml:trace>
  <inkml:trace contextRef="#ctx0" brushRef="#br1" timeOffset="-43550.13">22781 6191 0,'-14'-39'0,"1"39"0,-13 13 16,-1 26 0,27-12-16,-13-14 15,0 14-15,13-14 0,0 13 16,0 1-16,-13-14 0,26 13 16,-13-12-16,0-1 0,13 13 0,0-12 15,-13-1-15,13 0 0,14-13 0,-14 0 16,0 0-16,1 0 0,12 0 15,-13-13-15,14 0 0,-14-14 16,0 14-16,0 0 0,-13-14 0,14 14 16,-14-13-16,0 12 15,0-12-15,-14 13 0,14-1 0,-13 1 16,0-13-16,0 12 0,0 1 16,-1 13-16,1 0 0,0 0 15,0 0-15,-1 0 0,14 13 16,-13-13-16,13 14 0,0-1 15</inkml:trace>
  <inkml:trace contextRef="#ctx0" brushRef="#br1" timeOffset="-43374.05">23164 6218 0,'-66'92'31,"40"-52"-31,-1-14 0,1 14 16,-14 0-16,14 0 0,-14-1 0,0 14 16,14-26-16,13-1 0,-1 1 15,1-14-15</inkml:trace>
  <inkml:trace contextRef="#ctx0" brushRef="#br1" timeOffset="-43178.11">23336 6363 0,'-66'66'16,"26"-39"-16,1-1 0,-1 14 0,0 0 16,1 13-16,-1-14 0,-26 54 15,26-53-15,14-1 0,-14 14 16,0 13-16</inkml:trace>
  <inkml:trace contextRef="#ctx0" brushRef="#br1" timeOffset="-41950.36">23164 6892 0,'93'-79'0,"-53"53"16,-14-14-16,14 0 0,-1 1 15,1-14-15,-13 13 0,39-79 16,-40 53-16,14-67 0,-40 67 16,0-132-1,-13 145-15,-14 0 0,1 13 0,-54-26 16,14 53-16,13 0 16,-13 13-16,0 0 0,-13 13 15,-1 13-15,-12 14 0,-80 66 16,92-40-16,1 13 0,-1 1 0,28-1 15,-1 1-15,13-14 16,14-13-16,-1 79 0,27-92 0,0 26 16,13-13-16,14-14 0,-1 14 15,14-13-15,26 26 0,-26-39 16,-1-1-16,1-13 0,-13 0 16,12-13-16,-12 14 0,-1-14 0,1 0 15,-1 0-15</inkml:trace>
  <inkml:trace contextRef="#ctx0" brushRef="#br1" timeOffset="-40523.72">22582 6178 0,'66'40'0,"-52"-1"16,-1-12-16,-13 26 0,13-14 15,-13 14-15,0-13 0,13 66 16,-13-66-16,0 13 0,0-14 16,0 1-16,0 0 0,13 26 15,-13-53-15,0 13 0,14-12 16,-14-1-16,13-40 15,-13 1 1,0-14-16,13-13 0,-13-13 16,13 0-16,-13 0 0,14-80 15,-1 14-15,-13 66 16,13 26-16,-13 14 0,0-1 0,13 14 16,-13 0-16,-13 53 15,13-1 1,-13 27-16,0-13 0,-1 27 0,14-14 15,-13 13-15,0-13 0,13 14 16,-13-27-16,13 13 0,-14-13 0</inkml:trace>
  <inkml:trace contextRef="#ctx0" brushRef="#br1" timeOffset="-39659.86">21564 6271 0,'-80'119'16,"80"-93"-16,0 14 15,0-27-15,13 0 0,1 14 0,-1-14 16,53 0 0,-53-13-16,14 0 0,-14-13 15,13 13-15,14-40 0,-27 27 16,1 0-16,-1-14 0,-13 1 16,0 13-16,0-14 0,-27-26 15,-12 0-15,12 27 0,1 13 16,-14-1-16,0 1 0,1 0 15,-1 0-15,-53 13 0,40-13 16</inkml:trace>
  <inkml:trace contextRef="#ctx0" brushRef="#br1" timeOffset="-39413.82">20981 6138 0,'-39'27'0,"12"-14"0,1 0 0,-1 14 16,-12-14-16,12 13 0,-26 27 16,27-39-16,-1 12 0,14-13 15,13 14-15,0-14 16,0 13-16,13-12 0,14-1 16,-14 0-16,27 0 0,-1-13 15,1 14-15,13-14 0,0 0 0,0 13 0,-80-384 0,133 742 16,-26-371-16,-1 0 15,14-13-15,-1 13 0,1-14 0,13 1 16</inkml:trace>
  <inkml:trace contextRef="#ctx0" brushRef="#br1" timeOffset="-39009.93">22093 6152 0,'79'0'15,"-39"0"-15,66 0 0,-53 0 16,13 0-16,0 0 0,13 0 15,67 0-15,-67 0 16,0 0-16,-26 13 0,14-13 0,-15 13 0,1-13 16,0 13-16</inkml:trace>
</inkml:ink>
</file>

<file path=ppt/ink/ink18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22:18.641"/>
    </inkml:context>
    <inkml:brush xml:id="br0">
      <inkml:brushProperty name="width" value="0.05292" units="cm"/>
      <inkml:brushProperty name="height" value="0.05292" units="cm"/>
      <inkml:brushProperty name="color" value="#FF0000"/>
    </inkml:brush>
  </inkml:definitions>
  <inkml:trace contextRef="#ctx0" brushRef="#br0">17317 10530 0,'26'0'16,"27"14"15,-39-14-31,25 0 0,-12 0 16,26 0-1,-27 0-15,1 13 0,-14-13 32,0 0-32,0 0 15,14 0 1,12-40-1,14-26 1,-39 40 0,-1-27-16,13 26 0,-26-12 15,13-1-15,-13 0 16,0 0-16,0 14 16,0-14-1,0 1 1,0 12-1,0-26 1,-13 0 0,0 14-1,0-1 1,-14 0 0,27 27-1,-13 0 16,13-14-31,-13 14 16,0 0 0,-1 0-1,1-1 1,0 14-16,0 0 16,-14-13-1,27 0 1,-13 13 15,0 0-31,0 0 16,-1 0-16,1 0 15,0 0-15,0 0 16,-14 0-16,14 0 16,-14 0-16,14 0 15,-13 0-15,13 0 16,-14 0-16,14 0 15,-53 0 1,39 0-16,14 0 16,-13 0-1,12 0-15,-12 0 32,13 0-17,13 13 16,-14-13 1,-12 27-17,13-14 17,0 13-17,-1-12 1,14-1-1,-13 13 1,13 1 0,0-14-1,0 13 1,0-12-16,0 12 16,0-13 15,0 14-31,0-14 0,0 13 15,0 14 17,0-27-32,0 14 15,0-14-15,0 0 16,0 27 0,0-14-16,0-12 15,0 12 1,13-13-1,-13 1 1,0-1 0,14 0-1,12 40 1,-13-27 0,0 14-16,14-13 15,-14-1 1,0 1-1,1-14-15,-1 0 16,-13 0 62,13-13-47,0 0 1</inkml:trace>
  <inkml:trace contextRef="#ctx0" brushRef="#br0" timeOffset="2080.84">4538 10517 0,'26'0'16,"-13"0"15,14 0-31,-1 13 15,27 1-15,40 12 16,13-13-16,26 1 16,0-14-16,14 0 15,-27 0-15,0 0 16,-13 0-16,-14 0 16,-65 0-16,12 0 15,-12-14 1,-1 14-1,-26-13-15,27-13 16,-14-1 0,-13-26-1,0 40 1,0-13-16,0-1 16,0 1-16,0-14 15,0-26 1,0 26-16,0-13 15,0 27 1,0-1-16,0-12 0,0 25 16,0-12-1,0-14-15,-13 14 0,0-14 16,13 27 0,-27-14-1,14 1 1,0-1-1,-1 14 1,-12 13 0,-1-39-16,1 39 0,-27-14 15,0-12-15,27 13 16,-14 13-16,-39 0 16,26-14-1,13 14-15,-13 0 16,-79 0-1,52 0-15,14 0 16,-13 0-16,26 0 16,0 0-16,13 0 15,14 0-15,13 0 16,-1 0 15,1 0 0,-26 14-31,12-1 16,-26 27-16,27-27 16,-40 0-16,39 13 15,14-26-15,-27 40 16,27-40 0,0 27-1,0-14-15,-1 0 16,1 14-1,0-14 1,13 13 0,0 14-1,0-27-15,0 14 16,0-1-16,0 1 16,0-14-16,0 13 15,0-13-15,0 27 16,0-13-16,13-1 15,-13-13-15,13 14 16,-13-14-16,14 13 16,-1 1 15,0-1-31,0-12 16,27 25 15,-14-12-31,-12-1 0,25-13 31,1 14-15,-14-1-16,-12-26 15,39 27 1,-40-14-16,13-13 16,1 0-16,-1 0 15,-13 0 1,1 0-1,-1 0 32,0 0-31,0 13-16</inkml:trace>
  <inkml:trace contextRef="#ctx0" brushRef="#br0" timeOffset="3776.49">20294 3638 0,'0'-13'31,"-14"52"-15,1-12-16,13 13 0,-13 26 15,0 66-15,-1-53 16,1 27-16,0 0 0,0 0 0,13 13 16,-14-13-16,-25 225 15,26-226-15,-1-25 0,14 12 16,-13-12-16,13-1 0,0 1 0,-13-14 15,13 13-15,0-26 0,0 92 16,0-105 0,0-13-16,0-14 0,0 13 0,0-12 0,13-1 15</inkml:trace>
  <inkml:trace contextRef="#ctx0" brushRef="#br0" timeOffset="4141.45">19381 5411 0,'53'-27'0,"39"14"15,-26 0-15,14 13 0,-1-13 16,14-1-16,26 1 0,13 0 16,0 13-16,14-13 0,-1-1 0,160-12 15,-133 26-15,-14-13 0,14 13 16,0-13-16,-13 13 0,13 0 16,-13 0-16,0 0 0,-14 0 0,1 0 15,-14 13-15,0-13 0,-26 0 0,0 0 16,-13 0-16,-14 0 0,0 0 0,-26 0 15,0 0-15,-13 0 0,-1 0 16,-25 0-16,25 0 16,-25-13-16,-1 13 0</inkml:trace>
  <inkml:trace contextRef="#ctx0" brushRef="#br0" timeOffset="5703.53">23310 3625 0,'-27'53'0,"1"39"16,13-26-16,-14 14 0,1 12 15,-1 14-15,14 0 0,-40 119 16,40-119-16,-14 0 0,14-1 16,0 1-16,13-26 0,-13-1 0,13 0 15,-13 1-15,13-1 16,0-13-16,-14 14 0,1 39 0,13-53 16,0-26-16,-13 13 0,13-14 0,-13 1 15,-1 0-15,14-14 16,0 1-16,-13-14 0,13 13 0,0-13 15</inkml:trace>
  <inkml:trace contextRef="#ctx0" brushRef="#br0" timeOffset="10970.38">847 8599 0</inkml:trace>
  <inkml:trace contextRef="#ctx0" brushRef="#br0" timeOffset="16399.68">7885 2580 0,'39'0'78,"67"0"-62,66 0 0,0 0-16,106 0 0,79 0 15,40 0-15,-80 0 16,517 0-1,-583 0-15,1 0 16,-107 0-16,-39 0 16,-53 0-1,-40 0-15</inkml:trace>
  <inkml:trace contextRef="#ctx0" brushRef="#br0" timeOffset="18992.47">13150 2593 0,'13'0'31,"27"0"-15,-1 0-16,14 0 16,146 0-1,-107 0 1,41 0-16,12 0 0,14 0 16,13 0-1,0 0-15,13 0 16,0 0-16,27 0 15,53 0 1,131 0-16,28 0 0,12 0 16,-12 0-16,515 0 15,-542 0 1,66 0-16,-27 0 16,-39 0-16,0 0 15,-106 0-15,-79 0 16,-40 0-16,92 0 15,-145 0 1</inkml:trace>
  <inkml:trace contextRef="#ctx0" brushRef="#br0" timeOffset="33688.66">17661 10676 0,'0'-13'0,"13"39"31,-13 1-31,0-14 0,0 27 0,13-1 16,-13 1-16,14 13 0,-14-13 16,0 12-16,13-12 0,-13 66 15,13-66-15,-13-1 0,0 1 0,13 0 16,-13-1-16,0-25 0,0 12 16,14-13-16,-14 1 0,0 12 0,0-13 15,0 0-15</inkml:trace>
  <inkml:trace contextRef="#ctx0" brushRef="#br0" timeOffset="34078.55">17701 10702 0,'-27'0'32,"27"14"-17,-13-1-15,13 0 0,-13 14 0,-1-14 0,1 13 16,13-13-16,-13 14 0,0-1 16,0-12-16,-1 39 15,14-40-15,-13 0 0,13 0 0,-13 14 16,13-14-16,0 0 0</inkml:trace>
  <inkml:trace contextRef="#ctx0" brushRef="#br0" timeOffset="34273.79">17595 10795 0,'53'-13'0,"-106"26"0,132-13 0,-66 0 16,1 0-16,12 0 0,-13 13 16,14 0-16,-1-13 0,-13 14 15,14-1-15,-1 0 0,-12 0 0,-1-13 0,13 14 16</inkml:trace>
  <inkml:trace contextRef="#ctx0" brushRef="#br0" timeOffset="40367.64">20532 8572 0,'13'-13'16,"-13"0"0,-13 0-1,-14 13 1,14-13 0,0 26-16,0-13 0,-1 0 0,-25 13 15,25-13-15,-12 13 0,-1 0 16,1 1-16,13-1 0,-14 0 15,14 0-15,-13 1 0,12-1 0,1 0 16,0 0-16,13 1 0,-13-1 0,13 13 16,0-13-16,0 14 15,13-14-15,-13 0 16,13 1-16,14-1 0,-14 0 0,40 0 16,-27 1-16,14-14 0,-14 0 15,14 0-15,-13 0 0,52 0 16,-39-14-16,-1 1 0,1 13 0,0-13 15,-1 0-15,-12-1 16,12 1-16,-12 0 0,-1 0 0,14-14 16,-27 1-16,1 13 15,-1 13-15,-13-14 0,0 1 16,0 0-16,0 0 0,-13-1 0,-1-12 16,1 13-16,-13-1 15,12 1-15,-12 0 0,-1 13 0,1-13 16,0 0-16,-1 13 0,1 0 15,-14-14-15,14 14 0,-1 0 16,14 0-16,-14 14 0,14-14 16,0 0-16,0 0 0</inkml:trace>
  <inkml:trace contextRef="#ctx0" brushRef="#br0" timeOffset="41089.47">20492 8665 0,'13'27'31,"-13"-1"-15,0-13-1,0 0 1,0 1-16,0-1 0,-13 0 15</inkml:trace>
  <inkml:trace contextRef="#ctx0" brushRef="#br0" timeOffset="41303.85">20638 8665 0,'0'0'15,"13"13"17,-13 27-17,0-27 1,0 0-16,0 1 16,0-1-1</inkml:trace>
  <inkml:trace contextRef="#ctx0" brushRef="#br0" timeOffset="41458.43">20492 8758 0,'0'-14'16,"0"28"-16,13-28 31,0 14-31,14-13 0,-14 13 16,0 0-16,40 0 0,-39 0 15</inkml:trace>
  <inkml:trace contextRef="#ctx0" brushRef="#br0" timeOffset="42051.11">21696 8414 0,'-13'-13'16,"-14"52"0,14-26-16,13 1 0,0-1 15,-13 40-15,-1-40 16,14 13-16,0-12 0,0-1 15,0 13-15,14 1 0,-1-1 16,0-12-16,0-1 0,14 0 16,-14-13-16,14 13 0,-1-13 0,0 0 15,1 0-15,-1 0 0,1 0 0,-1 0 16,1-13-16,-1 0 0,1 13 16,-14-13-16,13-1 0,-12 1 0,-1 0 15,-13 0-15,13-1 0,-13 1 16,13-27-16,-13 27 0,-13 0 15,13-13-15,-13-1 0,0 1 16,-1 12-16,1 1 0,13 0 0,-13 0 16,0 0-16,-1-1 15,1 14-15,0-13 0,-13 13 16,12 0-16,1 0 0,0 0 0,-14 0 16,14 13-16,0-13 15</inkml:trace>
  <inkml:trace contextRef="#ctx0" brushRef="#br0" timeOffset="42276.71">21749 8467 0,'-13'53'16,"13"-40"-16,-14-13 0,14 13 0,0 0 16,0 0-16,-13 1 0,13-1 15,0 0-15,0 0 0,-13 14 16</inkml:trace>
  <inkml:trace contextRef="#ctx0" brushRef="#br0" timeOffset="42456.73">21881 8506 0,'0'-13'0,"13"40"47,-13-14-47,0 0 0,0 0 15,0 0-15,0 1 16,0-1-16,0 0 0,0 0 0</inkml:trace>
  <inkml:trace contextRef="#ctx0" brushRef="#br0" timeOffset="42625.71">21749 8586 0,'79'-14'0,"-52"14"16,39-13-16</inkml:trace>
  <inkml:trace contextRef="#ctx0" brushRef="#br0" timeOffset="43262.77">20386 10425 0,'-13'0'16,"53"0"-16,-1 0 0,-12-14 15,-1 14-15,1 0 0,39-13 16,13 0-16,-52 13 15,-1-13-15,1 13 0,-1 0 0,14-14 16,-14 14 0,-13 0-16,1 0 0,-1 14 0,0-1 15</inkml:trace>
  <inkml:trace contextRef="#ctx0" brushRef="#br0" timeOffset="43472.73">20638 10636 0,'39'-13'0,"-26"13"0,54-13 31,-54 0-31,13 13 0,14-14 16,-27 14-1,0 0-15,1 0 0</inkml:trace>
  <inkml:trace contextRef="#ctx0" brushRef="#br0" timeOffset="44178.52">20796 10200 0,'53'13'16,"-26"0"0,-1-13-1,-13 13-15,40 1 0,0-1 16,-26 0-16,26 0 16,-27-13-16,0 14 0,1-14 15,-1 26-15,-12-26 16,-1 13-16,0 0 0,-13 27 0,0-27 15,-13 27-15,-27 26 16,14-26-16,-1 0 0,-12 12 0,12-12 16,-52 53-16,-1-14 15,14 1-15,26-14 16,14-13 0,0-14-16,26-26 15</inkml:trace>
  <inkml:trace contextRef="#ctx0" brushRef="#br0" timeOffset="46584.57">21908 10319 0,'-14'66'16,"14"-53"-16,-13 27 0,13 0 16,0-1-1,0-12-15,-13 26 16,13-27-16,0-13 15</inkml:trace>
  <inkml:trace contextRef="#ctx0" brushRef="#br0" timeOffset="46961.76">22013 10425 0,'0'0'0,"-13"-14"0,13 41 32,0-14-17,0 0-15,13 27 0,1-27 16,-1 0-16,13-13 16,1 14-16,-1-28 15,-13 14 1,1-13-16,-1 0 15,0 13-15,-13-13 0,0-14 16,0 14-16,-13 0 16,0 0-16,-1-1 15,1 1-15,-27 0 16,27 13-16,0 0 16,0 0-16,0 13 15,13 0 1,13-13-16,0 0 15</inkml:trace>
  <inkml:trace contextRef="#ctx0" brushRef="#br0" timeOffset="47267.9">22371 10345 0,'-14'27'0,"1"-14"16,13 13-16,0-12 15,0-1-15,13 0 0,1 14 16,-14-14 0,26-13-16,-13 0 15,0 0-15,1-13 16,-1 13-16,-13-14 16,13-12-16,-26 13 15,0-14 1,-14 1-16,14 12 15,-13 1 1,12 13-16,1 0 16,0 0-1</inkml:trace>
  <inkml:trace contextRef="#ctx0" brushRef="#br0" timeOffset="47458.49">22767 10200 0,'0'-14'0,"0"54"31,0-27-15,-13 14-16,0 39 16,-14-26-16,27-14 15,-13 1-15,0-1 0,-13 1 16,26-14-16,-27 13 15</inkml:trace>
  <inkml:trace contextRef="#ctx0" brushRef="#br0" timeOffset="47611.72">22595 10306 0,'0'-14'0</inkml:trace>
  <inkml:trace contextRef="#ctx0" brushRef="#br0" timeOffset="47749.68">23006 10425 0,'0'-14'15,"-239"-197"1,464 409 0,-251-198-16</inkml:trace>
  <inkml:trace contextRef="#ctx0" brushRef="#br0" timeOffset="52786.38">5662 11972 0,'27'0'15,"12"0"-15,1 0 0,0-13 16,13 13-16,13 0 0,-13 0 0,92 0 16,-66 0-16,80 0 15,-66 0-15,-14-13 0,80 13 16,-80 0-16,-13 0 0,14 0 15,39 0-15,-53 0 16,-26 0-16,-1 0 0,1 0 0,-13 0 16,-1 0-16,0 0 0,-12 0 15,-1 0-15,0-13 0,0 13 0,1 0 16,-1 0 0</inkml:trace>
  <inkml:trace contextRef="#ctx0" brushRef="#br0" timeOffset="54442.41">7091 7250 0,'0'-14'0,"13"41"16,-13-14-16,13 27 16,1-1-1,-14-25-15,13 12 0,-13-13 0,0 14 16,13-14-16,-13 13 0,0-12 0,0 12 16,-13-13-16,13 1 0,0-1 15,0 0-15,0 0 16</inkml:trace>
  <inkml:trace contextRef="#ctx0" brushRef="#br0" timeOffset="54672.03">6879 7078 0,'-40'79'15,"27"-53"-15,13 1 0,0 13 16,-13-1-16,13 14 0,0-13 0,13 39 16,-13-52-16,13 12 0,-13 1 15,14-13-15,-1-14 0,0 13 16,0-13-16,1 1 0,-1-1 0,0-13 16,0 13-16,1-13 0</inkml:trace>
  <inkml:trace contextRef="#ctx0" brushRef="#br0" timeOffset="55337.9">7223 6985 0,'53'0'0,"-40"13"0,14-13 0,26 53 15,-27-40-15,1 27 16,-1-13-16,-13-1 0,14 53 0,-14-39 16,-13 0-16,0-1 15,0 1-15,0 0 0,-27 39 0,-12 14 16,12-54-16,1-12 15,13-1-15</inkml:trace>
  <inkml:trace contextRef="#ctx0" brushRef="#br0" timeOffset="58904.43">6337 12793 0,'13'26'31,"-13"14"-16,0-27-15,0 0 0,-13 27 16,13-27-16,0 14 16,0-14-16,0 0 0,-13 0 0,13 1 15,0-1-15,0 0 0,0 0 16</inkml:trace>
  <inkml:trace contextRef="#ctx0" brushRef="#br0" timeOffset="59172.42">6747 12766 0,'-53'80'0,"27"-54"0,-41 53 16,1 1-1,40-54-15,-1 14 16,1-14-16,-1 1 0,1-1 0,-1 1 16,1-1-16,13 1 15,0-14-15,-1 13 0,1-12 0,0-1 0,0 0 16,13 0-16,-14 0 0,14 1 16</inkml:trace>
  <inkml:trace contextRef="#ctx0" brushRef="#br0" timeOffset="59557.63">6760 13110 0,'-40'27'0,"27"-14"0,13 0 16,-13 0-16,13 14 0,-13-14 16,13 13-16,-13 1 0,13 13 15,13 26 1,0-53-16,-13 13 0,13-26 0,0 14 16,1-1-16,-1-13 0,0 13 0,0-13 15,1 0-15,-1 0 16,0-13-16,0 13 0,0 0 0,1-13 15,-14-1-15,13 1 16,-26 0-16,13 0 16,-14-1-16,1 1 15,0 0-15,0 13 16,0-13-16,-1 13 0,1-13 16,0 13-16,13-14 15,-13 14-15</inkml:trace>
  <inkml:trace contextRef="#ctx0" brushRef="#br0" timeOffset="59792.31">7091 12912 0,'26'-27'16,"-12"27"-1,-1 0-15,0 0 0,0 0 16,0 0-16,1 0 16,-14 13-16,13-13 0</inkml:trace>
  <inkml:trace contextRef="#ctx0" brushRef="#br0" timeOffset="59968.7">7144 13018 0,'26'0'47,"1"-14"-31,-14 14-16,0 0 0,27-13 15</inkml:trace>
  <inkml:trace contextRef="#ctx0" brushRef="#br0" timeOffset="60324.7">7646 12674 0,'0'52'15,"0"-38"-15,-13 65 16,13-52 0,0-14-16,0 13 0,0-13 0,0 14 0,0-14 15,0 0-15,0 27 16</inkml:trace>
  <inkml:trace contextRef="#ctx0" brushRef="#br0" timeOffset="60672.48">7871 12647 0,'0'0'0,"-13"13"0,0 1 15,13-1-15,-13 13 16,13-13-16,-14 14 0,14-1 0,0 14 16,0-27-16,0 14 15,14-14-15,-14 13 0,13-12 0,13 12 16,-12-13-16,12 1 0,-13-14 16,1 0-16,-1 0 0,0 0 15,0 0-15,0 0 0,-13-14 16,14 14-1,-28-13-15,1 0 0,0 0 16,0 13-16,0 0 0,-1 0 16,1-14-16,-13 14 15,12 0-15,14 14 0,-13-14 0,0 0 0,0 0 16,-1 0-16,1 13 16,0-13-16</inkml:trace>
  <inkml:trace contextRef="#ctx0" brushRef="#br0" timeOffset="60896.61">8255 12647 0,'0'-13'0,"0"26"15,0 14 1,0-1-16,0 0 0,-13 1 15,13-1-15,-13 1 16,-1 26-16,14-27 0,-13 1 16,0-1-16,13-13 0,0 1 15,-13-1-15,13 0 0,-14 0 0,14 1 0</inkml:trace>
  <inkml:trace contextRef="#ctx0" brushRef="#br0" timeOffset="61028.76">8083 12779 0,'-13'-13'16</inkml:trace>
  <inkml:trace contextRef="#ctx0" brushRef="#br0" timeOffset="61167.81">8533 12859 0,'0'13'15,"0"-26"-15</inkml:trace>
  <inkml:trace contextRef="#ctx0" brushRef="#br0" timeOffset="62816.52">3903 12541 0,'13'0'0,"-13"13"16,0 1-16,0 25 15,0-25-15,13 12 0,-13-13 16,0 1-16,13-1 0,1 13 16,-1-13-16,0 1 0,0-14 0,0 13 15,1-13-15,25 13 0,-25-13 16,12-13-16,-13 13 0,14-13 16,-14 13-16,0-14 0,0 1 15,1 0-15,-1 0 0,-13 0 0,0-1 16,13-12-16,-13 13 15,-13-27-15,0 0 0,-1 27 16,1-13-16,0 12 0,0 1 0,0 0 16,-14 0-16,-13-1 15,27 14-15,-13 0 0,12 0 0,-12 14 16,13-14-16,-14 0 0,14 13 16,0 0-16,0 0 0,-1 1 0,1-1 15,13 0-15</inkml:trace>
  <inkml:trace contextRef="#ctx0" brushRef="#br0" timeOffset="63033.78">4524 12330 0,'0'13'16,"0"0"-16,0 0 0,0 0 0,-13 1 15,13-1-15,-13 53 16,0-39-16,13-1 16,-14 0-16,14 1 0,-13-14 0,13 14 15,0-1-15,-13 14 16,13-27-16,0 0 0,0 0 0,0 1 0</inkml:trace>
  <inkml:trace contextRef="#ctx0" brushRef="#br0" timeOffset="63180.79">4352 12515 0,'-13'0'0</inkml:trace>
  <inkml:trace contextRef="#ctx0" brushRef="#br0" timeOffset="63309.74">4617 12634 0,'-13'13'15</inkml:trace>
  <inkml:trace contextRef="#ctx0" brushRef="#br0" timeOffset="64139.43">17740 12621 0,'0'26'47,"0"-13"-47,0 14 0,0-1 15,0-13-15,0 14 0,0-14 0,-13 27 16,13-14-16,-13 1 16,13-1-1,0-13-15,0 1 0,13-14 0</inkml:trace>
  <inkml:trace contextRef="#ctx0" brushRef="#br0" timeOffset="64463.91">17965 12687 0,'-13'0'0,"26"0"0,-52 13 15,25 0 1,1 0-16,13 1 0,-13 12 16,13-13-16,0 1 15,0-1-15,13 0 0,0 0 16,1 1-16,-1-14 15,0 13-15,0-13 0,0 0 0,1-13 16,-1-1-16,-13-12 16,13 26-16,-26-27 15,13 14 1,-13 0-16,13 0 0,-14-1 16,1 14-16,0-13 15,0 13-15,13-13 16</inkml:trace>
  <inkml:trace contextRef="#ctx0" brushRef="#br0" timeOffset="64720.68">18217 12766 0,'13'53'0,"0"-53"0,0 0 16,0 0-16,1-13 16,-1 13-16,-13-13 15,0-1-15,0-12 16,0 13 0,-13 13-16,13-14 0,-14 1 15,1 13-15,0-13 16,0 13-1</inkml:trace>
  <inkml:trace contextRef="#ctx0" brushRef="#br0" timeOffset="64916.58">18613 12700 0,'0'40'0,"-13"-27"16,13 0-16,-26 14 0,-1-1 16,-12 14-16,25-27 15,1 0-15,0 0 0,-14 14 16,14-14 0</inkml:trace>
  <inkml:trace contextRef="#ctx0" brushRef="#br0" timeOffset="65052.76">18521 12766 0,'-13'-26'15,"13"12"-15,-14 1 16,1 0 0,0 0-16</inkml:trace>
  <inkml:trace contextRef="#ctx0" brushRef="#br0" timeOffset="65181.4">18904 12859 0,'-26'-13'47</inkml:trace>
  <inkml:trace contextRef="#ctx0" brushRef="#br0" timeOffset="72221.75">10888 11814 0,'0'-14'15,"0"54"-15,0-27 0,0 1 0,0-1 16,0 13-16,0-13 0,-14 14 0,14-1 16,-13 1-16,13-1 0,-13-12 15,0 12-15,13 0 0,-14-12 16,14 12-16,-13-13 0,13 1 0,0-1 15,0 0-15</inkml:trace>
  <inkml:trace contextRef="#ctx0" brushRef="#br0" timeOffset="72436.67">11126 11972 0,'-27'14'15,"-12"-1"1,12 13-16,1 1 0,-27 26 16,26-27-16,1 1 0,-14-1 0,14 1 15,-1-1-15,-12 0 0,12 1 16,14-1-16,-14 1 0,14-14 16,0 0-16,0 0 0,-1 1 0,14-1 0,-13 0 15,13 0-15</inkml:trace>
  <inkml:trace contextRef="#ctx0" brushRef="#br0" timeOffset="72743.77">11020 12277 0,'13'0'0,"0"0"0,-13 13 16,14 0-1,-28 0-15,14 1 0,-13-1 16,0 13-16,0-13 0,-1 14 16,1-14-16,0 0 0,0 1 0,0-1 15,13 0-15,-14 0 0,14 1 16,0-1 0,27-13-1,-14 0-15,27 0 16,26-27-1,-40 27 1,-13 0-16,14-13 0,-14 13 0,14 0 16</inkml:trace>
  <inkml:trace contextRef="#ctx0" brushRef="#br0" timeOffset="73464.6">10927 13097 0,'0'0'15,"0"-13"-15,14 13 16,-41 13 15,-13 0-15,27 0-16,0 1 15,0 12 1,13-13 0,13 0-16,0 1 15,0-1 1,14 0-16,-14-13 0,-13 13 15,13-13-15,1 14 0,-1-1 16,-13 0 0,0 0-1,0 1-15,-13-14 0,-1 13 0,14 0 16,-13-13-16,0 13 0,0 0 16,-1-13-16,1 14 0,0-1 15,0-13-15,-1 0 16</inkml:trace>
  <inkml:trace contextRef="#ctx0" brushRef="#br0" timeOffset="73804.74">11099 13189 0,'0'14'16,"0"-1"-16,-13 0 15,13 0-15,0 1 0,13-1 16,-13 0-16,0 0 0,27 14 16,-14-27-16,0 13 15,0-13-15,1 0 0,-1 13 16,27-26-16,-27 13 16,0 0-16,0 0 0,0-13 0,1 13 0,-14-13 15,13-1 1,-13 1-16,0 0 15,-13 13-15,13-13 0,-14 13 0,-12-14 16,13 1-16,0 13 0,-1 0 16,1 0-16,-13 0 15,12 0-15,1 0 0,0 0 16,0 0-16,-1 13 16</inkml:trace>
  <inkml:trace contextRef="#ctx0" brushRef="#br0" timeOffset="74005.82">11655 13150 0,'13'0'16,"0"13"-1,-13 0-15,-13 14 16,13-14-16,0 0 0,-13 0 0,13 1 15,-13 12-15,-1-13 16,14 1-16,-13 12 0,0-13 0,13 0 16,-13 14-16,0-14 0</inkml:trace>
  <inkml:trace contextRef="#ctx0" brushRef="#br0" timeOffset="74147.41">11430 13229 0,'-13'-13'16</inkml:trace>
  <inkml:trace contextRef="#ctx0" brushRef="#br0" timeOffset="74659.94">11470 11972 0,'39'-13'16,"1"13"0</inkml:trace>
  <inkml:trace contextRef="#ctx0" brushRef="#br0" timeOffset="74809.45">11456 12144 0,'0'14'15,"14"-14"17,25-14-17,-25 14-15</inkml:trace>
  <inkml:trace contextRef="#ctx0" brushRef="#br0" timeOffset="75087.85">11827 11972 0,'-53'27'15,"53"-14"-15,0 0 16,13 14-1,0-14-15,1-13 16,-1 0-16,0 13 16,0-26-16,1 13 15,-14-13 1,0-27 0,-14 40-16,1-26 15,0 26 1,0 0-1</inkml:trace>
  <inkml:trace contextRef="#ctx0" brushRef="#br0" timeOffset="75239.17">11972 11999 0</inkml:trace>
  <inkml:trace contextRef="#ctx0" brushRef="#br0" timeOffset="75551.75">12224 11919 0,'-27'14'0,"14"-14"0,0 13 16,26 0-1,-13 0-15,13 1 16,1-1-16,-1 0 15,0 0-15,0 1 0,0-14 16,1 26-16,-14-13 0,0 0 16,0 1-16,0-1 0,-14 0 15,1 0-15,0 1 0,-40 12 16,27 1-16,-1-27 16,14 13-16,0-13 0,-1 0 15</inkml:trace>
  <inkml:trace contextRef="#ctx0" brushRef="#br0" timeOffset="76679.34">14565 9049 0,'635'-13'0,"-569"13"15,67-27-15,-67 14 0,0 0 16,-13-14-16,13 14 15,40-40-15,-66 13 0,-1 14 16,1-14-16,0 0 0,-14 1 0,-13-1 16,14 0-16,-27-13 0,13 14 15,-13-1-15,-13-13 0,0 14 0,-40-67 16,13 66-16,0-13 16,-13 13-16,0 1 0,-13-1 0,0 0 15,-13 1-15,-14-1 0,-79-26 16,93 53-16,-27-14 0,-79-13 15,92 27-15,1 13 16,-1-13-16,0 26 0,-12-13 0,-14 13 16,-1 14-16,-91 26 0,105-13 15,-79 52-15,92-39 16,14 13-16,-67 66 0,80-65 16,-27 65-16,54-79 0,12 13 15,14 40-15,13-67 16,13 14-16,14 0 0,-1 0 0,27-13 15,13 0-15,80 13 0,65-1 16,-91-38-16,-28-1 16,1 0-16,79 0 0,-93-13 15,53 0-15,-79 0 0,0-13 16,-13 13-16,0 0 0,13-13 16,-40 13-16,13 0 15,-13-13-15</inkml:trace>
  <inkml:trace contextRef="#ctx0" brushRef="#br0" timeOffset="82244.75">14539 12885 0,'53'0'0,"-40"0"0,0 0 15,0 0-15,1 0 0,-1 0 16,13 0-16,-12 0 0,12 0 15,-13 0 1,1 0-16,-1 13 16,-13 1-16,0-1 0,0 0 15,0 0-15,0 1 16,0 12-16,-13-13 0,13 1 16,0 12-16,0-13 0,0 0 0,-14 27 15,14-27 1,0 1-16,0-1 0,0 0 0,-13 0 15,13 0-15,0 1 0,0-1 16,0 0 0</inkml:trace>
  <inkml:trace contextRef="#ctx0" brushRef="#br0" timeOffset="82519.59">14552 13150 0,'40'-13'0,"-27"13"15,0 0-15,14 0 16,-14 0-16,0 0 0,0 0 16,27-14-16,-27 14 15,1 0-15,-1 0 0,0 0 0,0-13 16</inkml:trace>
  <inkml:trace contextRef="#ctx0" brushRef="#br0" timeOffset="86518.89">14764 12965 0,'13'-14'15,"-13"1"32,0 0-31,0 0-16,-13 13 15,0-14-15,-1 14 0,1 0 16,-27 0 0,14 0-16,13 0 0,-14 14 0,14-14 15,-13 13-15,12-13 0,-12 13 0,13 0 16,-14-13-16,14 14 0,-14-1 15,27 0-15,-13-13 0,13 13 16,0 1 0,0-1-16,13 0 0,1 0 15,-1 0-15,0 1 0,0-1 0,27 13 16,-27-12-16,1-1 16,12 0-16,-13 0 0,0 14 15,1-14-15,-1 0 0,-13 0 0,0 1 16,13-1-16,-26 0 0,13 14 15,0-14-15,-13 0 0,-1 13 0,-38 1 16,38-14-16,-12 0 0,13 1 16,-14-14-16,14 0 0,0 0 15,-14 0-15,14 0 0,0 0 16,0-14-16,-1 1 0,1 0 0,0 0 16,13-1-16,0 1 0,13 0 15,0 0-15,1 0 0,-14-1 16,26 1-16,14-13 15,-27 12-15,27-12 0,-14 13 16,1-1-16,12 1 0,-12 0 0,-14 0 16,13 0-16,-12-1 0,-1 1 15,0 0-15,0 0 0,1-1 0,-1 1 16,-13-13-16,0 13 0,0-1 16,-13 1-16,13-13 0,-14 12 15,1 1-15,0 0 0,0 13 0,-1-13 16,-12-1-16,13 14 0,-1 0 15,-25-13-15,26 26 0,-1-13 16,-12 0-16,13 14 0,-1-1 0,1-13 16,0 13-16,13 0 0,-13 1 15,13-1-15,0 0 16</inkml:trace>
  <inkml:trace contextRef="#ctx0" brushRef="#br0" timeOffset="86896.73">14922 13031 0,'-26'13'0,"13"-13"0,0 13 16,-1-13-16,1 27 0,-13-14 0,12 0 0,1 14 16,-26 25-1,25-25-15,14-14 0,0 0 16,0 1-16,0-1 0,0 0 0,0 0 15,14 1-15,-1-1 0,0-13 16,0 13-16,0-13 0,1 0 0,12 0 16,-13 0-16,1 0 0,12-13 0,-13 13 15,0-13-15,1-1 0,-1 1 16,0-13-16,0 12 0,-13 1 16,0 0-16,0 0 0,-13-1 0,0-12 15,0 0-15,-1 12 16,1 1-16,-13 0 0,13 13 15,-1-13-15,-25-1 0,25 14 16,1 0-16,0 0 0,0 0 16,0 0-16,-1 0 0,1 0 0</inkml:trace>
  <inkml:trace contextRef="#ctx0" brushRef="#br0" timeOffset="87120.1">15293 12991 0,'0'13'31,"-13"-13"-31,-1 14 0,14-1 16,-13 0-16,-13 0 0,13 14 0,-1-1 15,-25 14-15,12-14 0,14 1 16,0-1-16,-14-13 15,14 1-15,0 12 0,0-13 0,-1 1 16,1 12-16,0-26 0,13 13 16</inkml:trace>
  <inkml:trace contextRef="#ctx0" brushRef="#br0" timeOffset="87224.43">14989 13150 0,'-27'-27'0,"14"14"16</inkml:trace>
  <inkml:trace contextRef="#ctx0" brushRef="#br0" timeOffset="87383.53">15359 13216 0,'0'13'16</inkml:trace>
  <inkml:trace contextRef="#ctx0" brushRef="#br0" timeOffset="93159.82">19487 12674 0,'79'-14'16,"-66"14"-16,14 0 0,-1 0 0,27 0 16,-27 0-16,1 0 15,39-13-15,-13 13 16,-40-13-16,14 13 0,-14 0 16</inkml:trace>
  <inkml:trace contextRef="#ctx0" brushRef="#br0" timeOffset="93396.49">19936 12409 0,'27'13'16,"-14"-13"-16,-53-13 0,93 26 0,-26 0 15,-14 1-15,0-14 0,0 13 0,1 13 16,-1 1-16,0 12 16,-13-25-16,0-1 15,-13 13-15,13-12 0,-13 12 16,-1-13-16,14 1 0</inkml:trace>
  <inkml:trace contextRef="#ctx0" brushRef="#br0" timeOffset="94616.11">20770 12449 0,'0'39'16,"0"-25"-16,0-1 0,0 0 0,-13 0 15,13 0-15,0 1 0,0-1 16,0 0-16,0 14 0,0-14 16</inkml:trace>
  <inkml:trace contextRef="#ctx0" brushRef="#br0" timeOffset="94820.78">21008 12409 0,'13'13'15,"-13"0"-15,0 14 16,0-14-16,0 14 0,0-14 16,0 0-16,0 40 15,0-27-15,0-12 0,-13-1 16</inkml:trace>
  <inkml:trace contextRef="#ctx0" brushRef="#br0" timeOffset="95009.74">20849 12634 0,'13'-13'15,"1"13"1,-1 0-16,0-14 0,14 14 15,52-13 1,-26 0-16,-27 13 0,14-13 16,13-1-16,-40 14 15,0 0-15,1 0 0</inkml:trace>
  <inkml:trace contextRef="#ctx0" brushRef="#br0" timeOffset="95291.47">20558 12885 0,'40'-13'15,"0"0"-15,-14 0 0,0 13 16,14-14-16,0 1 0,-1 0 0,1 0 16,13 13-16,79-27 15,-105 27-15,-1-13 0,1 13 16,-1 0-16,-13 0 0,1 0 16,-1 0-16</inkml:trace>
  <inkml:trace contextRef="#ctx0" brushRef="#br0" timeOffset="95553.78">20704 13189 0,'-14'0'0,"14"40"15,0-27-15,0 1 0,0-1 16,0 0-16,0 14 0,0-14 16,0 0-16,0 0 0</inkml:trace>
  <inkml:trace contextRef="#ctx0" brushRef="#br0" timeOffset="95725.81">20929 13137 0,'13'-14'0,"0"28"15,-13-1-15,0 0 0,0 0 16,0 0-16,0 14 15,-13-14-15,0 0 16,13 1-16</inkml:trace>
  <inkml:trace contextRef="#ctx0" brushRef="#br0" timeOffset="95895.84">20757 13282 0,'13'-13'15,"0"13"-15,-13-13 16,26 13-16,-12-14 16,12 14-16,14-13 15,-27 13-15,0 0 0</inkml:trace>
  <inkml:trace contextRef="#ctx0" brushRef="#br0" timeOffset="96405.41">20743 12091 0,'-145'67'0,"-93"105"15,621-411-15,-872 623 16,409-212-16,41-26 16,12-67-16,27 0 0,-13 1 15,26 65-15,1-65 16,12-14-16,0-13 0,14 0 0,53 39 15,-40-52-15,0-14 0,0-12 16,-14-1-16,14 0 0,-13-13 16,0-13-16,65-27 15,1-26-15,-53 26 0,0 1 0,66-80 16,-53 52 0,40-78-16,-53 66 0,-13-1 0,-27 14 15,13-66-15,-52 13 16,-1 66-16,1 0 15,-14 0-15,-13 13 0,0 0 0,-13 14 16,0-14-16,-66 1 0,66 12 16,0 14-16,-1 0 0,28 13 15,-54 0-15,80 0 0,-14 0 16,14 0-16</inkml:trace>
  <inkml:trace contextRef="#ctx0" brushRef="#br0" timeOffset="96712.97">21762 12766 0,'66'0'16,"-26"-13"-16,-14 13 0,1 0 15,-1 0-15,1 0 16,-14 0-16,13 0 0,27 0 0,-26-13 15,-14 13-15,0 0 0</inkml:trace>
  <inkml:trace contextRef="#ctx0" brushRef="#br0" timeOffset="96949.86">22238 12488 0,'40'14'0,"-27"-14"16,0 13-16,1 0 0,12 0 16,14 67-16,-14-67 15,-26 13-15,13 1 0,-13-1 0,0-13 16,-13 14-16,13 13 0,-26-14 16,13 1-16,-14-1 0,-13 14 15,27-14-15,0-13 0,0 1 16</inkml:trace>
  <inkml:trace contextRef="#ctx0" brushRef="#br0" timeOffset="98376.65">23045 12462 0,'-13'66'0,"13"-40"15,-13 1-15,13-14 0,-13 14 16,13-14-16,0 13 0,0-12 0,-14-1 16,14 0-16,0 0 0,0 0 15</inkml:trace>
  <inkml:trace contextRef="#ctx0" brushRef="#br0" timeOffset="98975.65">23191 12554 0,'-13'-13'0,"-1"26"15,1 1-15,13 12 16,13 1 0,-13-14-16,14 0 0,-14 0 15,13 1-15,13-1 0,-13 0 16,14-13-16,-14 0 15,0 0-15,1 0 0,-1-13 16,0 0-16,-13-1 0,13 1 16,-13 0-16,-13 0 15,13-1-15,-13 1 16,0 0-16,-1 0 0,1 13 16,13-14-16,-13 14 15,0 0-15,13-13 0,13 0 31,13 13-15,-12 0-16,-1 0 0,0 0 16,0 0-16,0 13 15,1 0 1,-14 1 0,13-1-16,-13 0 0,0 0 0,13 1 15,-13-1-15,13 0 16,-13 0-16,14 1 0,-1-14 0,0 13 15,0-13-15,1 0 0,-1 13 16,0-13-16,0 0 0,0-13 16,1 13-16,-1 0 0,-13-13 15,13 13-15,-13-14 0,13 1 0,-13 0 16,0 0-16,0-1 16,-13 1-16,0 0 15,0 13-15,13-13 0,-14 13 16,1 0-1,40-14 1</inkml:trace>
  <inkml:trace contextRef="#ctx0" brushRef="#br0" timeOffset="99161.13">23892 12462 0,'13'0'0,"0"13"16,-26 0-1,13 1-15,-40 25 16,14 1-16,13-27 16,-14 27-16,14-14 0,0-12 15,-40 38 1,53-38-16,-13-14 0,13 13 16,-14-13-16</inkml:trace>
  <inkml:trace contextRef="#ctx0" brushRef="#br0" timeOffset="99309.32">23654 12581 0,'-13'0'0,"26"0"0,-26-13 0,-1-1 32</inkml:trace>
  <inkml:trace contextRef="#ctx0" brushRef="#br0" timeOffset="99408.55">23932 12726 0,'0'27'15,"0"-54"-15,-14 54 16,1-27 0</inkml:trace>
</inkml:ink>
</file>

<file path=ppt/ink/ink18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24:15.527"/>
    </inkml:context>
    <inkml:brush xml:id="br0">
      <inkml:brushProperty name="width" value="0.05292" units="cm"/>
      <inkml:brushProperty name="height" value="0.05292" units="cm"/>
      <inkml:brushProperty name="color" value="#0070C0"/>
    </inkml:brush>
  </inkml:definitions>
  <inkml:trace contextRef="#ctx0" brushRef="#br0">1601 2871 0,'53'-13'0,"-27"13"0,1 0 0,12 0 15,1-14-15,13 14 0,0 0 0,0 0 16,0-13-16,0 13 0,-1 0 15,120-13-15,-119 0 16,-13 13-16,53-14 16,-67 14-16,1 0 0,-1 0 0,-13 0 15,0 0-15</inkml:trace>
  <inkml:trace contextRef="#ctx0" brushRef="#br0" timeOffset="205.93">1865 3096 0,'27'0'0,"-14"0"0,27 0 16,-27 0-16,27 0 16,-14 0-16,14-14 0,-1 14 0,1 0 15,0 0-15,-14-13 0,14 13 0,-14-13 16,1 13-16,-1 0 15,14-13-15,-14 13 0,1-14 0,-1 14 0</inkml:trace>
  <inkml:trace contextRef="#ctx0" brushRef="#br0" timeOffset="2875.09">21114 1945 0,'13'-27'0,"-13"40"15,0 27 1,0-13-1,0-14-15,0 13 0,0 1 0,0-1 16,0 1-16,-13-1 0,13 1 16,0-1-16,0 0 0,0-12 0,0 12 15,-13-13-15,13 1 0,0 12 16,13-13-16,-13 1 0,0-1 0,0 0 16,13-13-16,-13 13 0,13 0 15,0-13-15,14 0 0,-14 0 16,0 0-16,14 0 0,-14 0 15,0 0-15,14-13 0,-1 13 16,1 0-16,-14 0 0,0-13 16,0 13-16,1 0 0,-14-13 15</inkml:trace>
  <inkml:trace contextRef="#ctx0" brushRef="#br0" timeOffset="3069.93">21153 2249 0,'80'-27'16,"-67"27"-16,40-13 0,-27 13 15,-12-13-15,12 13 0,27-13 16,-40 13-1</inkml:trace>
  <inkml:trace contextRef="#ctx0" brushRef="#br0" timeOffset="3249.94">21127 2103 0,'132'-13'0,"-39"0"31,-53 13-31,-14 0 0</inkml:trace>
  <inkml:trace contextRef="#ctx0" brushRef="#br0" timeOffset="3448">21841 2037 0,'0'14'16,"-13"12"-1,13-13-15,0 0 0,-13 1 16,0 12-16,-1 1 16,1-14-16,13 13 0,-13-13 0,-13 27 15,12-13-15,1-1 16,0 1-16,0-14 0,-1 0 15</inkml:trace>
  <inkml:trace contextRef="#ctx0" brushRef="#br0" timeOffset="3679.07">21471 2275 0,'0'0'0,"13"0"15,14 0 1,-14 0-16,0 14 0,14-14 16,-14 13-16,0-13 0,0 0 15,14 13-15,-14-13 16,0 13-16,0-13 0,1 0 0,-1 0 16,0 14-16,0-14 0,1 0 0,25 0 15,-26 0-15,1-14 16</inkml:trace>
  <inkml:trace contextRef="#ctx0" brushRef="#br0" timeOffset="4192.01">22013 2064 0,'0'26'32,"0"-13"-32,0 14 15,0-14-15,0 27 0,0-14 16,-13 54-16,13-27 0,0-14 15,0 67-15,0-79 16,0-1-16,0-13 0,0 27 16,0-27-16,0 0 0,0 1 15,0-1 1,-13-40 0,13 14-16,0-13 0,13-1 15,-13-12-15,13-1 0,1 13 16,-1-12-16,13-27 15,1 26-15,-1 0 16,-13 27-16,1 0 16,-1 13-16,0 0 15,0 0-15,-13 13 16,0 0 0,-13 0-16,13 1 0,0-1 15,0 0 1,0 0-16</inkml:trace>
  <inkml:trace contextRef="#ctx0" brushRef="#br0" timeOffset="4808.71">22304 2328 0,'27'-26'15,"-14"13"-15,-53 52 0,93-105 16,-39 66-16,-14-13 0,0 0 16,13 13-16,-13-14 0,0 1 15,-13 26 17,13 1-17,-14-14-15,14 26 16,0-13-16,0 1 15,27-14 1,-14 0 0,0 0-16,0 0 15,1 0-15,-1 0 16,0 0-16,0 0 16,-13 13-16,14-13 15,-1 13 1,-13 0-1,13-13 1,0-13 0,14-13 15,-14 26-31,-13-14 0,13 14 16,-13-13-16,13 13 0,1-13 15,-1 13-15,0-13 16,0 13-1,1 0 1,-1 0 0,0 13-16,0 0 31,-13 0-15,-13 1-1,13-1-15,0 0 16</inkml:trace>
  <inkml:trace contextRef="#ctx0" brushRef="#br0" timeOffset="4935.09">22728 2196 0,'0'-26'0</inkml:trace>
  <inkml:trace contextRef="#ctx0" brushRef="#br0" timeOffset="5430.19">22860 2196 0,'-13'26'16,"13"-12"-16,0-1 16,-13 0 15,39-26 16,-13 0-32,0 13 1,-13 13 0,14-13-1,-1 13 1,0-26 46,0 13-46,1 0 0,-1 0-1,0-13-15,0 13 16,1 13 0,-1-13-16,0 0 15</inkml:trace>
  <inkml:trace contextRef="#ctx0" brushRef="#br0" timeOffset="5827.01">23151 2262 0,'13'-26'16,"-13"12"-1,-13 28 48,0-1-63,26 0 31,0 0-15,1-13-16,-1 0 15,13-13 1,1 13 0,-1 0-1,-13-13 16</inkml:trace>
  <inkml:trace contextRef="#ctx0" brushRef="#br0" timeOffset="6029.9">23402 2130 0,'14'-66'16,"-14"53"-1,0-1 1,0 54-1,0-27 1,0 0-16,0 1 16,0 12-16,0-13 15,0 14-15,0-14 16,0 0 0</inkml:trace>
  <inkml:trace contextRef="#ctx0" brushRef="#br0" timeOffset="6165.81">23376 2170 0,'26'-14'0,"-12"14"16,-1-13-16,0 13 0,14-13 16,-1 13-16,-13-13 0,27-1 15</inkml:trace>
  <inkml:trace contextRef="#ctx0" brushRef="#br0" timeOffset="6699.14">21934 2977 0,'40'13'0,"-40"0"15,0 0-15,13 14 0,0-27 16,-13 13-16,13 13 0,-13-12 15,14-1-15,-1 0 32,0-26-32,-13 0 0,13 13 15,-13-14-15,13 1 16,14-27-16,-14 27 16,-13 0-16,13 0 0,1 0 0,-1-1 15,0 1 1,0 13-16,1-13 0,-1 13 15</inkml:trace>
  <inkml:trace contextRef="#ctx0" brushRef="#br0" timeOffset="6894.78">22331 2884 0,'0'40'15,"0"-14"16,0-13-31,13 14 0,-26-14 16,13 0-16,0 0 0,-13-13 16,13 27-16,-14-27 0,1 13 15,13 0-15,-26-13 0,12 14 16,1-14-16</inkml:trace>
  <inkml:trace contextRef="#ctx0" brushRef="#br0" timeOffset="7465.05">21405 3903 0,'-40'79'16,"40"-39"-16,0-27 0,0 13 0,0 1 15,13-14-15,-13 14 16,14-14-16,-14 0 0,26 13 15,0-12-15,-12-14 0,-1 0 0,40 0 16,-40 0-16,0-14 16,1 14-16,-1-26 15,0-14-15,-13 1 16,-13 12-16,13 14 0,0-14 16,-13 14-16,13 0 0,-14 0 0,14 0 15,-13-1-15,0 1 0,13 0 0,-27 13 16,14-13-1,0 13-15,0 0 16</inkml:trace>
  <inkml:trace contextRef="#ctx0" brushRef="#br0" timeOffset="7849.93">21656 3757 0,'0'27'15,"0"-1"-15,0-13 0,0 14 16,0-1-16,0 14 0,-13-14 0,13 54 16,-13-27-16,13-27 15,0 1-15,-14-14 0,14 0 16,0 13-16,0-12 16,0-1-1,14-40 1,-1 14-16,-13 0 0,26-40 15,-12 27-15,-1-1 0,27-13 16,-27 27-16,13 0 16,-13 13-16,40-13 15,-39 13-15,-1 0 0,0 13 16,-13 0-16,0 0 16,-13 1-16,13-1 0,-13 0 15,-1 0-15,1 1 0,0-1 16,0 0-16,-1-13 0,1 13 15,0-13-15,13 14 0</inkml:trace>
  <inkml:trace contextRef="#ctx0" brushRef="#br0" timeOffset="8127.53">22000 3876 0,'-26'27'0,"26"-14"0,0 0 15,13 27-15,-13-14 16,13-13-16,-13 27 0,13-13 16,-13-14-16,0 0 0,0 0 15,0 1-15,0-1 16,0 0-16,-13 0 0,0-13 0,13 13 15,-13-13-15,-1 14 0,1-14 16,0-14 0,0 14-16</inkml:trace>
  <inkml:trace contextRef="#ctx0" brushRef="#br0" timeOffset="8622">22159 4075 0,'13'-53'0,"0"39"16,-13 1-16,0 0 0,0 0 15,-26 26 32,26 0-47,0 0 16,0 14-1,0-14-15,0 0 0,13 1 16,0-14 0,14 0-1,-14 0 1,0 13-1,0-13 1,-13 13-16,14 0 16,-1-13 15,0-13-15,0 0-1,1-14-15,12 1 16,-26 13-16,13-1 15,1 1-15,-1 13 16,0 0 0,0 0-16,0 0 15</inkml:trace>
  <inkml:trace contextRef="#ctx0" brushRef="#br0" timeOffset="9044.21">22556 3956 0,'26'39'15,"-26"-26"-15,13 1 16,-13-1-16,0 0 0,14 0 16,-14 1-16,0-1 0,13 13 15,0-26 1,14 0-1,-27-13-15,26 0 16,-26 0 0,13-1-16,-13 1 0,13 13 0,-13-13 15,14 0-15,-1-1 0,0 14 16,0-13-16,1 13 16,-1 0-16,0-13 15,0 13-15</inkml:trace>
  <inkml:trace contextRef="#ctx0" brushRef="#br0" timeOffset="9752.91">22953 3956 0,'-14'-14'16,"1"14"-16,0 0 0,0 14 15,-1-14-15,1 13 16,13 0-16,-13-13 15,13 13-15,-13-13 0,13 13 0,0 1 16,-13-14-16,26 13 0,-13 0 31,26-13-15,-13 0-16,1 13 16,-1-13-1,0 0 1,0 0-16,1 14 15,-1-28 1,0 14-16,0 0 0,1-13 16,-1 0-16,0 0 0,0-1 15,0-12-15,1 13 0,25-40 16,-25 26-16,-1 1 0,0-1 0,0 1 16,1 13-16,-14 0 0,13-1 15,0-12-15,-13 13 0,13 13 16,-13 26 15,-13-13-31,13 1 0,0-1 16,0 0-16,0 13 0,0-12 15,0-1-15,0 0 0,0 14 16,0-14-16,0 0 0,0 14 16,0-14-16,13 0 15,-13 0 1,13-13-1,1-13 1,-1 13-16,-13-13 16,13 13-16,14-13 0,-14-1 15,0 14 1,0 0 15,-13 14-15,13-14-16,-13 13 15,0 0-15,0 0 16,14-13 0</inkml:trace>
  <inkml:trace contextRef="#ctx0" brushRef="#br0" timeOffset="9886.92">23442 3797 0,'13'-13'0</inkml:trace>
  <inkml:trace contextRef="#ctx0" brushRef="#br0" timeOffset="10072.15">22992 3836 0,'14'-13'0,"-1"13"0,0 0 16,13 0-16,1 0 0,-1 0 15,1-13-15,-14 13 0,27 13 16,-1-13-16,-25 0 15</inkml:trace>
  <inkml:trace contextRef="#ctx0" brushRef="#br0" timeOffset="10610.86">23601 3863 0,'-40'26'0,"27"-12"16,0 12-16,-1-13 16,14 1-16,0 12 15,0-13-15,14 0 16,-1-13-1,0 0-15,0-13 16,1 13-16,-14-13 0,13 13 0,-13-26 16,13 12-16,-13 1 15,0 0-15,0 0 16,0-1-16,0 1 16,0 0-16,27 39 46,-14-12-14,-13-1-32,13-13 15,0 13 1,0-13-16,1 0 31,12 0-15,-13 0-1,14 0-15,-14 0 16,13 0 0,-12 0-16</inkml:trace>
  <inkml:trace contextRef="#ctx0" brushRef="#br0" timeOffset="11222.82">23918 3876 0,'-13'0'31,"0"0"1,0 13-17,-1 1-15,14-1 32,14-13-17,-14 13-15,13-13 0,13-13 31,1 0-31,-14-1 16,0 1-16,0 0 16,1 0-16,-14-1 0,13 14 15,-13-13-15,13 0 0,0 13 16,-13-13-16,0 0 0,14 13 16,-14 26 30,-14-13-30,14 0-16,0 1 16,0-1-16,0 0 15,27-13 1,-14-13 0,-13 0-16,13-1 0,1 1 15,-1 0-15,0 0 0,27-53 16,-27 26-16,0 13 0,0-25 15,14 12-15,-14 13 0,0-12 16,1 12-16,-14 14 16,0 0-16,0 26 15,-14 0 1,1 14-16,13-14 0,-13 13 16,13 27-16,-13-26 15,13-1-15,13 1 0,-13-1 0,13 27 16,-13-26-16,13 12 15,1-12-15,-14-1 0,0-13 0,0 1 16,0-1-16</inkml:trace>
  <inkml:trace contextRef="#ctx0" brushRef="#br0" timeOffset="11763.17">22357 4630 0,'-39'13'0,"25"-13"16,67-13-16,-119 40 0,66-14 0,0 0 16,0 0-16,0 1 0,0-1 15,13 0-15,1 0 0,-1 0 16,0 14-16,14-1 0,-14-12 16,0-1-16,0 0 0,0 0 0,1 1 0,-1-1 15,-13 0 1,0 0-16,-13 0 0,-1 1 15,1-1-15,-13 0 16,13-13-16,-1 13 0,1-13 16,-13 0-16,12 0 0,1 14 15,0-28-15,13 1 16</inkml:trace>
  <inkml:trace contextRef="#ctx0" brushRef="#br0" timeOffset="11962.16">22609 4630 0,'13'13'15,"-13"14"-15,0-1 16,0 27 0,0-40-16,0 14 0,-13 13 15,13-27-15,0 13 0,0-12 16,13-1-16,-13 13 0,0-13 15,0 1-15,13-1 16</inkml:trace>
  <inkml:trace contextRef="#ctx0" brushRef="#br0" timeOffset="12492.2">22569 4868 0,'53'-26'16,"-40"26"-16,0-13 0,1 13 16,12-14-16,-13 14 0,0-13 15,1 13-15,-1 0 16,-13-13-16,13 13 15,0 0-15,1 0 32,-14 26-17,0-12 1,0-1-16,0 0 16,0 0-16,13-13 0,-13 14 15,13-14-15,0 0 16,14 0-1,-14 0-15,-13-14 0,13 14 16,0 0-16,1-13 16,-1 13-16,0 0 31,0 13-31,-13 1 31,14-14-31,-1 0 16,0 0-16,14 0 15,-14-14 1,0 14-16,0 0 16,-13-13-16,13 13 0</inkml:trace>
  <inkml:trace contextRef="#ctx0" brushRef="#br0" timeOffset="13180.36">23416 4538 0,'0'-14'16,"-14"67"0,14-39-16,0-1 15,0 0-15,0 13 0,0-12 16,0-1-16,0 0 0,0 0 15,-13 1 1,13-1-16,-13-13 16,0 13-16,-1-13 15,1 13-15,0-13 0,0 13 16,-14 1 0,14-1-16,0-13 0,13 13 0,-13 0 15,-1-13 1,28 14-16,-1-14 15,13-14 1,1 14-16,-14 0 0,0-13 16,14 13-16,-1-13 0,-13 0 15,1 13-15,-1-14 16,0 14-16,0 0 16,1 0-16,-14 14 31,13-14 0,13-14-15,-13 14-16,1 0 0,-1 0 15,0 0-15,0 0 16,1 14 0,-14-1-16,-14 0 15,14 0-15,0 1 0,-13-14 0,13 13 16,0 0-16,-13 0 15,26-26 1,40-27 0,-26 14-1,39-40-15,-27 26 0,1-13 16,-14 14-16,14-1 0,-13 0 16,39-39-16,-40 52 0,1-12 15,-1 12-15,14-13 0,-14 14 0</inkml:trace>
  <inkml:trace contextRef="#ctx0" brushRef="#br0" timeOffset="17534.73">21365 3426 0,'-26'53'16,"12"-40"-16,14 14 0,-13-1 15,13 1-15,-13 13 0,0 12 0,13-12 16,-27 53-16,14-40 0,-13 0 16,12-14-16,1 1 0,0-14 15,0 14-15,-1-27 0,1 14 16,0-14-16,0 0 0,0-13 16,13 14-1,13-1 1,0 0-16,-13 13 15,13 1-15,40 132 16,-40-93-16,1-13 0,-1 13 0,0 0 16,0-13-16,14 66 15,-14-66-15,-13-13 0,13-1 16,0 1-16,1 0 0,-14-14 0,13-13 16,13 40-16</inkml:trace>
  <inkml:trace contextRef="#ctx0" brushRef="#br0" timeOffset="18180.05">21061 1667 0,'-106'106'16,"66"-67"-16,-185 133 15,186-132-15,12-27 0,1 14 16,-1-14-16,14-13 0,0 13 0,0 0 16,26-13-1,13 14 1,-12-14-16,12 0 0,1 13 0,12 13 15,-12 1-15,52 79 16,-53-53-16,1-1 0,-14 15 16,0-14-16,1 13 0,25 40 15,-25-54-15,-1 1 0,13-13 0,-13 0 16,1-14-16,12 27 0,1-26 16,-1-1-16,-13 0 0,14 1 15,-1-14-15,-13 0 0,14 1 0,-14-14 16</inkml:trace>
  <inkml:trace contextRef="#ctx0" brushRef="#br0" timeOffset="22655.36">4776 3043 0,'26'0'0,"1"0"0,-1-14 16,80 1-16,-27 13 16,1-13-16,12 13 0,-12-13 0,145 0 15,-133 13-15,40-14 16,1 14-16,92-13 0,-120 0 16,1 13-16,-13-13 0,13 13 0,-14 0 15,1 0-15,0-14 0,-1 14 16,80 0-16,-106 0 0,0-13 15,-13 13-15,0 0 0,-13 0 0,-14 0 16,1 0-16,-1 0 16,1 0-16,-14 0 0,0 0 0,0 0 15,1 0-15,-1 0 0,0 0 0,0-13 16,1 13-16</inkml:trace>
  <inkml:trace contextRef="#ctx0" brushRef="#br0" timeOffset="24115.58">12753 2977 0,'40'0'16,"-14"0"-16,-13 0 0,27 0 16,13 0-16,0 0 0,13 0 0,27 0 0,-14-14 15,199 14 1,-53 0-16,-93 0 16,133 14-16,-133-14 0,132 13 15,-158-13-15,27 13 0,-28-13 16,-12 0-16,13 13 0,0-13 15,-14 0-15,14 0 0,-13 0 0,-14 13 16,93-13-16,-93 0 0,-26 0 16,13 0-16,-13 0 0,-13 0 15,0 0-15,-1 0 0,1 0 16,-13 0-16,-14 0 0,13 0 16,-13-13-16,1 13 0,-1 0 15,13 0-15,-12 0 0,-1-13 16,0 13-16,0 0 15,1-13 1,-1 13 0,0 0-16,0 0 15,-13-13-15,13 13 0,1 0 16,-1 0-16,0 0 16,0 0-1,14 0-15,-14 0 0,14-14 16,12 14-16,-26 0 15,14 0-15,-14 0 16,40 0-16,-26-13 0,-14 13 16,40 0-16,0 0 15,-40-13-15,27 13 0,-27 0 16,13 0-16,1-13 0,26 13 16,13-14-16,-53 14 15,13 0-15,-12 0 0,-1 0 16,13-13-16,-12 13 15,-1 0-15,-13-13 0,13 13 16</inkml:trace>
  <inkml:trace contextRef="#ctx0" brushRef="#br0" timeOffset="25645.79">12753 2130 0,'159'-13'16,"26"-1"-16,-106 1 15,1 13-15,12-13 0,1 13 0,13-13 16,145 0-16,0-14 16,-118 14-16,12 0 0,-13 13 15,1-14-15,12 1 0,-12 0 16,-1 0-16,0 13 0,0-14 0,-12 1 16,12 0-16,-40 13 0,14 0 0,93-13 15,-107 13-15,1-13 16,-14 13-16,14 0 0,-14 0 15,1-14-15,-1 14 0,27-13 0,0 13 16,-53-13 0,-14 13-16,1 0 0,-14-13 0,1 13 15,-14 0-15,14 0 0,-14 0 0,0 0 16,0-14-16,0 14 0,1 0 16,-1 0-16,0-13 15,0 13 1,-13-13-1,14 13 1,-14 13 0,13 0-1,-13 1 1,13-1-16,-13 0 0,0 0 16,13 1-16,-13-1 0,14 13 15,-14-13-15,13 14 0,0-1 0,13 1 16,-26 13-16,27-14 0,-14 14 0,-13-1 15,13 1-15,1 0 0,-14-1 16,13 1-16,0 0 0,-13-14 0,13 14 16,-13-14-16,14 1 0,-14-1 0,0 1 15,13-1-15,-13 1 0,0-14 16,0 13-16,0-12 0,0 12 0,13 1 16,-13-14-16,0 0 15,0 0-15,13 0 0,-13 1 0,0-1 16,0 0-16,0 0 0,13-13 15,-13 14-15,0-1 16,0 0 0,14 0-1,-14 1 17,0-1-17,-14 0-15,1-13 16,0 13-16,-13 0 0,-1 1 15,-198 65-15,146-53 16,-1-12-16,-12-1 16,-80 13-16</inkml:trace>
  <inkml:trace contextRef="#ctx0" brushRef="#br0" timeOffset="26463.63">12872 2156 0,'-53'14'0,"27"-1"15,12-13 1,1 0-16,0 13 0,0-13 16,-1 0-16,14 13 0,-13-13 15,-13 40 1,13-27-16,13 14 0,0-14 16,0 0-16,-14 14 0,14-14 15,0 13-15,0 1 0,0-1 0,0 1 16,0-1-16,0 14 0,0-1 15,0-12-15,0 13 0,0-14 0,0 14 16,0-14-16,0 40 16,14-39-16,-14-1 0,0 1 0,0 12 15,0-12-15,0-1 0,0-12 0,0 38 16,0-38 0,0 12-16,0-13 0,0 1 0,0 12 15,0-13-15,13-13 0,-13 14 0,0-1 16,13-13-16,0 13 0,0-13 15,1 0-15,-1 0 0,0-13 16</inkml:trace>
  <inkml:trace contextRef="#ctx0" brushRef="#br0" timeOffset="30054.71">3638 3850 0,'26'-14'0,"-12"14"0,12-13 15,14 13-15,52-26 0,-39 26 16,14-13-16,-1-1 0,0 14 0,0-13 16,0 0-16,13 13 0,-12-13 0,12 13 15,-13-14-15,-13 14 0,0-13 16,53 0-16,-67 13 0,1 0 16,-13 0-16,26 0 15,-40 0-15,0 0 0</inkml:trace>
  <inkml:trace contextRef="#ctx0" brushRef="#br0" timeOffset="30290.83">3585 4075 0,'79'0'0,"14"-14"15,-27 1-15,0 0 0,14 0 0,65-1 16,-65 1-16,-1 0 16,80-13-16,-93 26 15,13-14-15,40 1 0,-13 0 16,-66 13-16,39-13 16,-26 13-16,-26-14 15</inkml:trace>
  <inkml:trace contextRef="#ctx0" brushRef="#br0" timeOffset="50372.04">21272 7435 0,'0'53'16,"0"-27"-16,0-13 15,-13 14-15,13-1 0,-13 67 16,13-53-16,-13-14 0,13 1 15,0-14-15,-13 26 0,13-12 16,0-14-16,0 0 0,-14 1 16,14-1-16,0 0 15</inkml:trace>
  <inkml:trace contextRef="#ctx0" brushRef="#br0" timeOffset="50719.02">21444 7660 0,'0'13'15,"0"0"1,0 0-16,0 14 16,0-14-16,0 0 0,14 14 15,-1-14-15,0 0 0,0 0 16,1 1-16,-1-14 15,0 13-15,14-13 0,-14-13 16,0 13 0,-13-14-16,13 14 0,-13-13 0,0 0 15,0 0-15,0 0 0,0-1 0,-13 1 16,13 0-16,-13 0 0,13-1 16,-27 1-1,14 0-15,0 0 0,0 13 16,-1 0-16,1 0 15</inkml:trace>
  <inkml:trace contextRef="#ctx0" brushRef="#br0" timeOffset="50980.03">21722 7726 0,'27'53'16,"-1"-40"-16,-13-13 0,1 0 16,-1 0-16,0 13 0,0-26 0,14 13 15,-14-13-15,0 13 0,1-13 16,-14-1-16,13 14 16,0-13-16,-13 0 0,0 0 0,0-1 0,13-12 15,-26 26-15,13-13 16,0-1-16,-13 14 0,0 0 15,-14 0 1,14 0-16,0 14 0,-1-1 0,1 0 16</inkml:trace>
  <inkml:trace contextRef="#ctx0" brushRef="#br0" timeOffset="51486.4">21431 8109 0,'66'14'16,"-52"-14"-16,12 0 0,1 0 0,-1 0 15,14 0-15,-1 0 0,14 0 0,0-14 16,0 14-16,0-13 0,-13 13 15,13-13-15,-14 0 0,14-14 0,27 1 16,-41-1-16,1 1 0,0 0 16,26-54-16,-40 54 15,27-54-15,-40 41 0,1-41 16,-1 27-16,-26-53 16,-1 40-16,1 13 15,-13 0-15,-14 1 0,-132-107 16,93 119-16,-1 14 0,1-1 15,-14 14-15,1 0 0,-1 0 16,-13 13-16,-105 26 0,-1 27 16,133-13-16,-14-1 15,27 14-15,-14 0 0,41 0 0,-1 0 16,-13 66-16,40 13 16,13-79-16,26 13 0,41 40 15,-1-40-15,13-13 16,0 0-16,1-13 0,12 0 0,160 26 15,-80-40 1,-27-13-16,-79-13 16,80-13-16</inkml:trace>
  <inkml:trace contextRef="#ctx0" brushRef="#br0" timeOffset="51897.78">22781 7448 0,'0'40'16,"0"13"-1,0-14-15,-14 1 0,14 0 16,0 39-16,0-52 0,0-1 16,0 0-16,0 14 15,-13-13-15,13 12 0,0-25 16,0-1-16,0 13 0</inkml:trace>
  <inkml:trace contextRef="#ctx0" brushRef="#br0" timeOffset="52207.4">22635 7885 0,'27'-27'16,"-1"14"-16,0 0 15,-12 13-15,25-27 0,-25 27 16,12-13-16,1 0 15,-14 0-15,13-1 0,-13 14 16,1 0-16,-1 0 16,0 14-16,-13-1 15,0 0-15,13 13 16,-13-12-16,0-1 16,14 0-16,-14 0 0,0 1 0,0-1 15,0 0 1,0 0-16,13-13 15</inkml:trace>
  <inkml:trace contextRef="#ctx0" brushRef="#br0" timeOffset="52335.74">23006 7646 0,'-27'-26'15,"14"26"-15</inkml:trace>
  <inkml:trace contextRef="#ctx0" brushRef="#br0" timeOffset="53097.99">23125 7792 0,'0'13'0,"0"0"0,-14 1 16,14-1-1,0 0-15,0 0 16,0 1 0,14-14 15,-1-14-16,0 1 1,0 13 0,1 0-1,-1 0-15,0 0 16,0 0 0,0 13-1,1-13 1,-14 14-1,13-14 1,0 0 15,0 0-15,1 0-16,-1 0 16,0 0-1,0-14-15,0 14 16,1-13-16,-1 13 15,-13-13-15,13 13 16,-13 13 47,0 0-48,13-13 1,1 0-1,25-13 1,-25 13 0,12 13-1,-26 1-15,13-14 0,0 13 16,-13 0 0,0 0-16,-13 1 15,0-14-15,13 13 0,-13-13 16,0 0-16,-27 13 15,27-13-15,-1-13 16,1 13-16</inkml:trace>
  <inkml:trace contextRef="#ctx0" brushRef="#br0" timeOffset="53232.74">23680 7977 0,'-13'-26'16</inkml:trace>
  <inkml:trace contextRef="#ctx0" brushRef="#br0" timeOffset="54664.93">12303 4736 0,'0'-13'0,"0"52"16,0-12 0,0-14-16,-13 27 15,13 0-15,0-27 0,-13 13 16,13-13-16,-14 40 16,14-39-16,0-1 0,0 0 15</inkml:trace>
  <inkml:trace contextRef="#ctx0" brushRef="#br0" timeOffset="54988">12409 4855 0,'0'-13'0,"-13"39"15,26-12-15,-13-1 0,0 0 16,0 0-16,13-13 15,-13 13-15,27 14 0,-14-14 0,0-13 16,0 13-16,14-13 16,-14 0-16,0 0 0,0 0 0,1 0 15,-1-13-15,0 0 16,-13 0-16,0-1 16,0 1-16,-13 0 0,13 0 15,-13 13-15,-1-27 0,1 27 16,13-13-16,-13 13 0,0-13 15,0 13-15,-1 0 16,14 13-16,-13-13 16,13 13-16</inkml:trace>
  <inkml:trace contextRef="#ctx0" brushRef="#br0" timeOffset="55325.25">12753 4829 0,'0'39'32,"0"-12"-32,13-14 0,-13 0 15,13 0-15,1-13 0,12 14 16,1-1-16,-1-13 15,-13 0 1,0-13-16,1-1 16,-14 1-16,-14-13 15,14 13-15,-13-1 16,0 1-16,13 0 0,-26 0 16,-1-1-1,14 14-15,0 0 16</inkml:trace>
  <inkml:trace contextRef="#ctx0" brushRef="#br0" timeOffset="55505.27">12991 4723 0,'13'-13'15,"1"26"-15,-14 0 0,13 0 16,-13 0-16,13 1 0,0 12 15,-13-13-15,13 14 16,-13-14-16,14 14 0,-1-1 16,-13-13-16,0 0 0,0 1 15,0-1-15</inkml:trace>
  <inkml:trace contextRef="#ctx0" brushRef="#br0" timeOffset="55759.18">13057 4934 0,'66'-39'16,"-52"39"-16,-1 0 0,0 0 16,13-13-16,-12 13 15,-1 0-15,0 0 0,0 0 16,-13 13-16,14-13 0,-14 13 15,13 13 1,-26-26-16,13 14 16,0-1-16,-14 0 15,14 0-15,-13-13 16</inkml:trace>
  <inkml:trace contextRef="#ctx0" brushRef="#br0" timeOffset="55887.24">13256 4776 0,'-27'-14'15,"54"28"-15</inkml:trace>
  <inkml:trace contextRef="#ctx0" brushRef="#br0" timeOffset="56090.14">13361 4749 0,'14'0'15,"-14"13"1,13 1 0,-13-1-1,13 0 1,0-13-1</inkml:trace>
  <inkml:trace contextRef="#ctx0" brushRef="#br0" timeOffset="56813.99">13454 4829 0,'0'13'16,"0"13"15,13-12-15,1-14-1,-1 13 1,0-13-16,0 0 16,0 0-16,1 0 15,-1 0-15,0 13 16,0-13-16,14 0 15,-14-13-15,0 13 16,0 0-16,1-13 16,-1 13-16,0 0 15,0-14-15,-13 1 16,14 13 0,-1 13 15,0-13 0,0 0 0,1 0-15,-14-13 0,13 13-16</inkml:trace>
  <inkml:trace contextRef="#ctx0" brushRef="#br0" timeOffset="61429.99">12859 6059 0,'0'40'16,"0"-27"-16,0 0 16,0 0-16,0 1 0,0 12 0,0-13 0,0 53 15,0-52 1,0 12-16,0-13 0,-13 14 0,13-14 16,0 0-16,0 0 0,0 1 15,0-1-15,-14 0 0,14 0 16</inkml:trace>
  <inkml:trace contextRef="#ctx0" brushRef="#br0" timeOffset="61968.09">12753 6932 0,'79'53'15,"-79"-40"-15,0 0 16,-13 1-16,-40 52 15,27-40-15,-1-12 0,1 12 16,13-13-16,-14 0 0,14 1 0,0-1 16,-1 0-16,1 0 15,0 1-15,26-1 32,0-13-32,14 0 0,39 0 15,-40 0 1,1 0-16,13 0 0,13-13 15,-27 13-15,14-14 0,-14 14 16</inkml:trace>
  <inkml:trace contextRef="#ctx0" brushRef="#br0" timeOffset="62918.14">12753 7845 0,'53'0'0,"-40"13"16,0 14 0,-26-14-16,0 0 15,13 0-15,-27 1 16,27-1-16,-13 0 0,13 0 16,13 0-1,1 1 1,-1-1-16,-13 0 15,13-13-15,-13 13 0,13 1 0,-13-1 16,0 0-16,-13-13 16,13 13-16,-13-13 15,13 13-15,-27 14 0,1-14 16,-1 27-16,14-27 0,-13 14 16,13-1-1</inkml:trace>
  <inkml:trace contextRef="#ctx0" brushRef="#br0" timeOffset="63219.03">12885 8520 0,'-79'39'15,"66"-26"-15,-1 1 16,1-1-16,-13 13 0,12-12 16,1-1-16,0-13 0,13 13 15,-13 0-15,13 1 0,0-1 16,0 0 0,13 0-16,0 0 15,14-13-15,-1 0 16,-13 0-16,1 0 15,-1 0-15,0 0 0,0-13 16,1 0-16</inkml:trace>
  <inkml:trace contextRef="#ctx0" brushRef="#br0" timeOffset="63380.1">12912 8506 0,'-14'0'15,"1"27"-15,0-14 16,13 0-16,-26 40 15,26-40-15,-14 14 0,14 13 16,-13-1 0,13-12-16,0 12 0,13-25 0,-13-1 15,0 0-15</inkml:trace>
  <inkml:trace contextRef="#ctx0" brushRef="#br0" timeOffset="63903.02">12753 9446 0,'13'0'0,"0"0"16,-52 13-16,25-13 16,1 0-16,-13 26 15,-14-12-15,27-1 16,-14 0-16,27 0 16,0 0-16,14-13 15,-14 14-15,13-14 0,-13 13 16,13-13-16,0 13 15,1-13-15,-14 13 16,13-13-16,-13 14 0,0-1 16,-13-13-16,-1 26 15,-12 1-15,13-14 0,-40 53 16,13-13 0</inkml:trace>
  <inkml:trace contextRef="#ctx0" brushRef="#br0" timeOffset="64243.98">12687 10160 0,'-53'66'16,"40"-53"-16,-1 14 16,14-1-16,0 14 15,14-14 1,-1-12-16,0-1 0,0 0 0,1-13 16,-1 0-16,0 13 0,0-13 15,0-13-15,-39 13 31,0 0-31,12 0 16,-52 27 0,40-27-16,12 13 0,1-13 15</inkml:trace>
  <inkml:trace contextRef="#ctx0" brushRef="#br0" timeOffset="70658.25">18071 5226 0,'13'52'0,"-13"-38"15,0-1-15,0 0 0,0 0 16,0 1-16,0 12 0,0-13 16,0 1-16,0-1 0,0 13 0,0-13 15,0 1-15,0-1 16,0 0-16,14 0 16</inkml:trace>
  <inkml:trace contextRef="#ctx0" brushRef="#br0" timeOffset="70997.92">18256 5384 0,'0'-13'0,"0"40"47,13-14-47,1 0 0,-1 0 15,0 0-15,40 1 16,-40-14-16,1 0 16,-1 0-16,0 0 0,13-14 15,1 1-15,-27 0 16,13 0 0,-13 0-16,-13-1 0,13 1 15,-13 0-15,-1 0 0,1 13 16,0-14-16,0 14 15,0 0-15,-1 0 16,1 0-16</inkml:trace>
  <inkml:trace contextRef="#ctx0" brushRef="#br0" timeOffset="71266.45">18534 5358 0,'40'53'16,"-27"-40"-16,0-13 15,0 13-15,1-13 16,-1 0-16,13-13 16,-12 0-16,-14 0 15,0-1-15,0 1 16,0 0-16,0 0 0,-27-1 15,14 14 1,0-13-16,-14 13 16,14 13-16,0-13 15,13 14 1</inkml:trace>
  <inkml:trace contextRef="#ctx0" brushRef="#br0" timeOffset="71500.11">19050 5278 0,'0'27'16,"-13"-14"-16,0 0 0,-27 40 16,13-26-16,1-1 0,-27 40 15,-13 0 1,39-26-16,-39 26 15,40-39-15,-27 26 0,-13 13 16,39-40 0,14-12-16,0-1 15</inkml:trace>
  <inkml:trace contextRef="#ctx0" brushRef="#br0" timeOffset="71841.67">18918 5728 0,'-66'66'16,"52"-39"-1,1-14-15,13 0 0,0 27 16,0-14-16,13-12 15,-13-1-15,14-13 0,-1 13 16,13-13-16,-13 0 16,14 0-16,-27-13 15,13 0-15,-13-1 16,0 1 0,-13 13-16,0-13 15,-1 13-15,1 0 0,0 0 16,0 0-16,-40 26 15,40-26 1</inkml:trace>
  <inkml:trace contextRef="#ctx0" brushRef="#br0" timeOffset="80209.75">14168 5953 0,'0'13'16,"0"1"-16,0-1 0,0 13 15,0-13-15,-13 14 0,13-14 0,0 14 16,0-1-16,-13 1 16,13-1-16,0-13 0,0 14 0,-13-14 15,13 0-15,0 0 0,0 1 0,0-1 16,0 0-16,0 0 15,13-13-15</inkml:trace>
  <inkml:trace contextRef="#ctx0" brushRef="#br0" timeOffset="80481.97">14446 6006 0,'0'-13'16,"0"39"-1,-13-13-15,13 40 16,0-26-16,0-14 16,0 0-16,0 1 0,0-1 0,13 0 15,0 0-15,-13 0 0,14-13 16,-1 14-16,0-14 0,0 0 16,1-14-16,-28-12 31,1 26-31,0-13 15,0 13-15,-1 0 0,-38 13 16,25 0 0,14 0-16,-14 1 0</inkml:trace>
  <inkml:trace contextRef="#ctx0" brushRef="#br0" timeOffset="80890.53">14129 7038 0,'13'0'16,"-13"40"-1,-13-14-15,13 14 16,-13 26 0,13-53-16,-14 14 0,14-14 15,14 13-15,-14-13 16,13-13-16</inkml:trace>
  <inkml:trace contextRef="#ctx0" brushRef="#br0" timeOffset="81142.83">14393 7104 0,'0'-13'0,"0"26"16,-13 14-1,0 12 1,13-26-16,0 1 0,0 12 16,13-13-1,-13-39 32,-26 26-31,-1 13-1,-12 27 1,25-27-16,1 13 0</inkml:trace>
  <inkml:trace contextRef="#ctx0" brushRef="#br0" timeOffset="81448.87">14102 7951 0,'0'39'16,"0"-25"-16,0-1 16,-13 27-16,13-14 15,-13 27-15,0-40 0,13 14 0,0-14 16,0 13-16,0-12 15</inkml:trace>
  <inkml:trace contextRef="#ctx0" brushRef="#br0" timeOffset="81702.73">14407 8004 0,'-40'53'15,"40"-40"-15,-13 0 0,13 0 16,0 14-16,0-14 16,13-13-16,-13 13 0,13-13 15,0-13 1,-39 13 15,13 13-15,-14 0-16,14-13 0,0 27 15,0-14-15</inkml:trace>
  <inkml:trace contextRef="#ctx0" brushRef="#br0" timeOffset="82015.89">14023 8797 0,'13'27'16,"-13"-14"-16,0 0 0,0 27 16,0 0-16,-13-1 15,13-12-15,0-14 16,13 0-16</inkml:trace>
  <inkml:trace contextRef="#ctx0" brushRef="#br0" timeOffset="82275">14367 8864 0,'-27'52'16,"14"-38"-16,13-1 0,0 0 16,-13 0-16,13 14 15,0-14-15,13-13 0,-13 13 16,-26-13 31,13 14-32,-14-1-15,27 0 16,-13 0-16,0 0 16</inkml:trace>
  <inkml:trace contextRef="#ctx0" brushRef="#br0" timeOffset="82584.17">13877 9684 0,'14'66'15,"-28"-26"-15,14-1 16,-13-26-1,26 1-15,-13-1 0</inkml:trace>
  <inkml:trace contextRef="#ctx0" brushRef="#br0" timeOffset="82850.12">14274 9684 0,'-26'39'15,"26"-12"1,-13-1-16,26-12 16,-13-1-16,13 0 15,0-26 17,1 13-32,-41 0 31,14 0-31,0 0 0,-14 26 15,1 1-15,-14-1 16</inkml:trace>
  <inkml:trace contextRef="#ctx0" brushRef="#br0" timeOffset="83185.36">13917 10372 0,'-13'39'31,"13"-25"-31,-13 52 16,-1-40-1,14 1-15,0-14 16</inkml:trace>
  <inkml:trace contextRef="#ctx0" brushRef="#br0" timeOffset="83435.05">14155 10478 0,'13'0'16,"1"13"-16,-14 0 15,13 0 1,-53-52-16,93 78 15,-66-52 32,-27 26-31,27-13-16,-13 13 16,-1 1-16,14-1 15,13 0-15,-13-13 0</inkml:trace>
  <inkml:trace contextRef="#ctx0" brushRef="#br0" timeOffset="84274.45">14235 10226 0,'-53'66'0,"53"-39"16,-14-14-16,14 13 0,0 27 15,0-39-15,0 39 16,14-14-16,-1-26 0,0 1 16,0-1-16,14 0 15,-14-13-15,0 0 0,1 0 0,-1-13 16,0 13-16,-13-13 15,0-1 1,-13 1-16,-14 13 16,14 13-1,0-13-15,0 14 16</inkml:trace>
  <inkml:trace contextRef="#ctx0" brushRef="#br0" timeOffset="86270.93">14314 7977 0,'26'0'32,"1"-13"-17,-27 26 1,13 0 0,0 1-1,-13-1-15,0 0 0,0 0 16,0 14-16,0-14 15,0 0-15,0 0 0,0 14 16,0-1-16,0 1 16,0 13-16,0-27 15,0 0-15,0 0 16,0 0-16</inkml:trace>
  <inkml:trace contextRef="#ctx0" brushRef="#br0" timeOffset="86455.25">14235 8229 0,'26'-27'16,"-13"27"-16,14-13 15,12 13-15,54-27 16,-40 27-1</inkml:trace>
  <inkml:trace contextRef="#ctx0" brushRef="#br0" timeOffset="87134.7">14089 9710 0,'27'0'47,"-14"0"-47,0 0 0,-13 13 16,13-13-16,0 0 0,1 14 16,-1-1-16,0 0 15,0 0-15,-13 14 16,0-14-1,0 0-15,0 0 0,0 1 16,0-1-16,0 13 16,0-12-16,0-1 15,0 0-15</inkml:trace>
  <inkml:trace contextRef="#ctx0" brushRef="#br0" timeOffset="87313.92">14142 9948 0,'40'-26'0,"-14"13"16,-13 13-16,40-27 16,-26 27-16,79-40 0,-67 27 15,1 0-15,0 13 16,-14-13-16</inkml:trace>
  <inkml:trace contextRef="#ctx0" brushRef="#br0" timeOffset="88559.05">14803 5609 0,'27'-13'0,"-14"26"15,-13 40-15,0 0 16,0 40 0,-13 79-16,13-40 15,0 66 1,13-118-16,14 131 15,-1-65-15,14-1 16,-27-78-16,27 91 16,-27-78-16,40 158 15,-40-159-15,0 159 16,0-145-16,-13-14 16,0 199-1,-13-13-15,13-173 16,13 173-16,-13-186 15,14 120 1,-14-107-16,26 279 16,-13-292-16,14 80 15,-27-80-15,13 1 0,0-1 16,14 66-16,-1-12 16,-13-80-16,14 92 15,-27-105-15,13 66 16,-13-67-16,-26 14 15,12-13 1,1-27-16,-13 0 0,-80 54 16,40-28-1,-14-12 1,27-14-16,14 0 0,-133 53 16,53-39-1,0 12-15,79-25 0,-39 12 16</inkml:trace>
  <inkml:trace contextRef="#ctx0" brushRef="#br0" timeOffset="89008.37">13798 11853 0,'0'-13'16,"0"40"-1,13-14-15,-13 13 16,0 14-16,0-27 15,13 27-15,-13-14 16,0-12-16,0 12 0,0-13 0,0 14 16,14-1-16,-14-13 15,13-13-15</inkml:trace>
  <inkml:trace contextRef="#ctx0" brushRef="#br0" timeOffset="89275.09">14063 11999 0,'0'13'16,"0"0"-16,13 14 16,0-14-1,14 13 1,-14-12-16,0-14 0,0 0 16,0 0-16,1-14 15,-14 1-15,13 0 16,-26-13-1,-106-14-15,224 66 16,-105-39-16,-13 0 16</inkml:trace>
  <inkml:trace contextRef="#ctx0" brushRef="#br0" timeOffset="89455.07">14235 12052 0,'66'26'16,"-13"-52"0,-40 26-1,0-27-15,0 14 16,-13 0-16,0 0 16,0-1-1,0 1-15,-13 0 16,-132 119-16</inkml:trace>
  <inkml:trace contextRef="#ctx0" brushRef="#br0" timeOffset="89888.81">14380 12343 0,'79'-13'16,"-39"-1"-16,-27 1 0,40-13 15,13-1-15,-39 1 16,-1 13-16,1-14 0,13-26 16,-14 0-16,-13 27 15,-13-14-15,13 0 0,-26 1 0,13-14 16,-13 0-16,-27-40 15,-26 1-15,26 52 16,1 0-16,-14 14 0,-53-1 16,-26 14-16,-27 26 15,0 40-15,93-26 16,-106 52-16,53 14 16,53-54-16,-13 67 0,12 0 15,41 0 1,26-66-16,53 105 15,-13-105-15,39 26 16,-26-40-16,66 14 16,40-13-16,-67-41 15,41 1 1,-94 13-16</inkml:trace>
  <inkml:trace contextRef="#ctx0" brushRef="#br0" timeOffset="102959.33">15187 5437 0,'27'-13'15,"-14"0"-15,13 13 16,-13 0-16,1 13 15,12-13-15,14 26 16,-14-12-16,14 39 16,-14 13-16,-12-27 15,12 67-15,-13 27 0,-13 25 16,-13-78-16,13 12 16,-13 133-16,13 0 15,0 26-15,13 1 16,0-133-16,1 145 15,-14-25-15,0 12 16,0-26-16,0-40 16,0-13-16,0-79 15,13-14-15,0 93 16,14 0-16,-1-27 16,-13-65-16,27 65 15,-14-12-15,14-1 16,-14-79-16,-12 13 0,39 40 15,13 53 1,-53-107-16,27 28 16,-1 26-16,-12-67 15,-27-12-15,13 13 16,-26-1-16,-14 41 16,1-41-16,-1 1 0,-12 13 15,-54 26-15,53-26 16,-26-13-16,0 13 0,0 0 15,-27 0-15,14-14 0</inkml:trace>
  <inkml:trace contextRef="#ctx0" brushRef="#br0" timeOffset="113568.14">19090 9446 0,'26'-80'15,"-26"67"-15,0-13 0,-13-1 16,13 1-16,-13 12 16,-1-12-16,14 13 0,0 0 15,-13-1-15,-13 28 16,26-1-16,-13 79 15,13-52 1,0 13-16,0-13 0,0 13 0,0-1 16,0 1-16,0 0 15,0 0-15,13 40 0,-13-54 16,0 1-16,13 26 0,-13-39 0,0-1 16,0-13-16,0 27 15,-13-40-15,13 13 0,0 1 0,-13-14 16,13 13-16</inkml:trace>
  <inkml:trace contextRef="#ctx0" brushRef="#br0" timeOffset="113769.92">18772 9988 0,'-13'-13'15,"26"0"-15,0 13 0,1-14 16,25-12-16,-12 26 15,-14-13-15,13-1 0,14 1 0,13 0 16,-13-14 0,13 14-16,-14 0 15,1 0-15,0 0 16,-27 13-16</inkml:trace>
  <inkml:trace contextRef="#ctx0" brushRef="#br0" timeOffset="114147.6">19447 9644 0,'-13'0'16,"13"-13"-1,-14 13-15,-12 13 16,0 0-16,12 1 16,1-1-16,0 0 15,13 13-15,-13 1 16,13-1-16,0-12 15,13-14-15,0 13 16,14-13-16,-14-13 16,13-1-16,-13 1 15,1 0-15,-1-14 16,0 27 0,0 0-16,-687 278 0,647-291 0,742-252 15,-715 279 1,0 12-16,13-26 15,-13 40-15,0-27 16,0 0-16,13 0 16,0 1-1,0-14-15,1 0 16,-1-14-16</inkml:trace>
  <inkml:trace contextRef="#ctx0" brushRef="#br0" timeOffset="114291.8">19698 9763 0,'27'-13'0,"-27"39"47,-14-12-31,14-1-16,0 0 16,-13 0-16</inkml:trace>
  <inkml:trace contextRef="#ctx0" brushRef="#br0" timeOffset="114447.86">19685 9565 0,'-66'0'15</inkml:trace>
  <inkml:trace contextRef="#ctx0" brushRef="#br0" timeOffset="114832.87">19870 9644 0,'13'66'15,"-13"-53"1,0 14-16,0-14 0,0 0 15,0 1-15,0-1 16,14-13 0,-1-13-1,0 13-15,-13-14 0,13 1 16,1 0-16,-1 0 0,0 13 16,0-27-16,0 14 0,1 13 15,-14-13-15,13 13 0,0-13 16,-357 105-16,701-184 15</inkml:trace>
  <inkml:trace contextRef="#ctx0" brushRef="#br0" timeOffset="116198.11">19248 10993 0,'0'-13'0,"0"40"32,0-14-32,0 0 0,0 0 15,0 1-15,0-1 0,14 40 16,-1-27 0,0-26-16,0 27 0,1-27 15,-1 13 1,13-26-16,-12 13 15,-1-27-15,0 14 16,-13 0-16,13-14 16,0 1-16,-13-1 15,14 14-15,-14 0 16,0 0-16,13 26 62,-13 0-62,0 0 0,0 1 16,0-1-16,13 0 16,-13 0-1,13 0 1,1-13 0,12-13 15,-13 13-16,0-13 1,1 13 0,-1 13-1,0 0 1,-13 1-16,13-14 0,-13 13 16,0 0-1,14-13 1,-1 0-1,0-13 1,0 13 0,1 0-1,-1 0 1,0 0 0,0 0-16,0 0 31,1 0-16</inkml:trace>
  <inkml:trace contextRef="#ctx0" brushRef="#br0" timeOffset="116968.72">19910 10795 0,'0'0'16,"13"40"-1,-13-27-15,0 40 0,0-27 16,13 40-1,-13 14-15,0-54 0,0 67 16,0-53 0,0-14-16,-13-13 0,13 27 15,-13-27-15,0 0 0,13 1 16,-14-1-16,-12 0 0,13-13 16,0 0-1,-14-13 1,14 0-16,13-1 15,0 1-15,13 0 16,0 0-16,1-1 16,25-25-16,-12 12 15,-1 14-15,1-13 16,-1-1-16,-13 27 16,0-26-16,1 12 15,-1 14-15,-13-13 16,13 13-16,-13-13 15,0 39 17,0-12-32,0-1 15,0 0 1,13-13 0,-13 13-1,14-13-15,-1-13 16,0 13-16,0-13 15,-13 0-15,14-1 0,-1 1 16,-13 40 15,13-27-15,-13 26-16,0-13 16,0 14-1,0-14 1</inkml:trace>
  <inkml:trace contextRef="#ctx0" brushRef="#br0" timeOffset="117146.41">20307 11112 0,'13'-13'15,"-13"40"16,0-1-31,0-13 16,0 1 0,0-1-16,0 0 15,-13 0-15</inkml:trace>
  <inkml:trace contextRef="#ctx0" brushRef="#br0" timeOffset="117290.97">20267 10967 0,'-26'0'32,"12"13"-17</inkml:trace>
  <inkml:trace contextRef="#ctx0" brushRef="#br0" timeOffset="117593.67">20413 11073 0,'13'66'16,"-26"-40"-1,13-12 1,13-1 0,0-40 15,0 14-15,1 0-1,12-14-15,0 1 31,-12 13-31,-1 0 16</inkml:trace>
  <inkml:trace contextRef="#ctx0" brushRef="#br0" timeOffset="118140.79">20439 9551 0,'66'-13'16,"-26"0"-16,-14 13 16,27 0-1,-13 0-15,0 0 16,-27 0-16</inkml:trace>
  <inkml:trace contextRef="#ctx0" brushRef="#br0" timeOffset="118300.02">20638 9657 0,'26'0'16,"14"0"0,-14 0-1,-13 0-15,1 0 0</inkml:trace>
  <inkml:trace contextRef="#ctx0" brushRef="#br0" timeOffset="118811.83">20955 11099 0,'26'-13'15,"1"13"1,13 0 0,-27 0-16,27 0 15,-27 0-15,0 0 16</inkml:trace>
  <inkml:trace contextRef="#ctx0" brushRef="#br0" timeOffset="118972.16">21021 11218 0,'0'0'0,"27"0"31,-1-13-31,-13 13 15,1 0-15,12 0 16,0-13-16,-12 13 16</inkml:trace>
  <inkml:trace contextRef="#ctx0" brushRef="#br0" timeOffset="120698.92">20518 9578 0,'-13'-13'0,"40"13"47,-14 0-31,0 0-16,14-14 15,-14 14-15,0 0 16,0 0-16,1 14 15,-1-14-15</inkml:trace>
  <inkml:trace contextRef="#ctx0" brushRef="#br0" timeOffset="120962.05">20518 9697 0,'40'-13'0,"-27"13"15,1 0-15,-1 0 16,0 0-16,0 0 0,1 0 15,12 0 1</inkml:trace>
  <inkml:trace contextRef="#ctx0" brushRef="#br0" timeOffset="121847.39">20598 9512 0,'40'0'16,"-14"0"-16,-13 0 15,0 0 1,1 0-16,-1 0 16</inkml:trace>
  <inkml:trace contextRef="#ctx0" brushRef="#br0" timeOffset="122082.73">20598 9671 0,'13'13'15,"0"-13"1,1 0-16,-1-13 0,0 13 15,0 0-15</inkml:trace>
  <inkml:trace contextRef="#ctx0" brushRef="#br0" timeOffset="126735.06">12674 5861 0,'-67'-14'0,"41"14"16,-1 0-16,-12 14 15,26-1-15,-14 0 16,1 66 0,12-39-16,14 0 15,0 145-15,0-40 16,0 67-16,0-132 16,0-14-16,-26 79 15,-14-13-15,14-65 16,-80 118-16,66-146 15,-39 54-15,0-27 16,26-26-16,0-27 16,39-26-1,1-40 1,40-13-16,-1 39 16,14 14-16,-14 13 15,27 13-15,0 40 16,0 119-1,-26-26-15,-41 66 16,1 26 0,-27 132-16,27-251 15,-27 225 1,27-106-16,13-26 16,0-106-16,0 79 0,13-93 15,1 67-15,25 53 16,28-40-1,-41-93-15,0-39 16,-12-14-16,-1-12 16,0-1-16</inkml:trace>
  <inkml:trace contextRef="#ctx0" brushRef="#br0" timeOffset="129846.66">11840 6363 0,'40'-13'0,"-1"13"16,28-13-16,-1 0 15,-27-1-15,54 1 16</inkml:trace>
  <inkml:trace contextRef="#ctx0" brushRef="#br0" timeOffset="130518.8">11853 7183 0,'106'-26'0,"26"0"16</inkml:trace>
  <inkml:trace contextRef="#ctx0" brushRef="#br0" timeOffset="131185.85">11642 8308 0,'119'-27'15,"-80"14"-15,67-13 0,-40 13 16,1-1-16</inkml:trace>
  <inkml:trace contextRef="#ctx0" brushRef="#br0" timeOffset="131984.82">11919 8890 0,'120'-40'16,"-68"27"-16,1 0 16</inkml:trace>
  <inkml:trace contextRef="#ctx0" brushRef="#br0" timeOffset="132728.91">11800 9763 0,'40'-13'15,"159"-27"1,-147 27-16,1 13 16</inkml:trace>
  <inkml:trace contextRef="#ctx0" brushRef="#br0" timeOffset="133466.74">11959 10544 0,'119'-40'0,"-92"27"0,-1 13 0,1-13 15,26-1-15,-27 1 16</inkml:trace>
  <inkml:trace contextRef="#ctx0" brushRef="#br0" timeOffset="150750.1">19831 10266 0,'26'-13'15,"67"-1"1,-41 1-1,1 0-15,14 0 0,-1-1 0,-13 1 16,13 0-16,-13 0 0,0 13 0,-14-13 16,1-1-16,0 14 15,-1 0-15,-25 0 0</inkml:trace>
  <inkml:trace contextRef="#ctx0" brushRef="#br0" timeOffset="150966.66">20254 10517 0,'119'-39'16</inkml:trace>
  <inkml:trace contextRef="#ctx0" brushRef="#br0" timeOffset="151259.85">19606 11774 0,'119'-40'0,"-93"27"0,1 13 0,-1 0 15,-13-13-15,14 13 0,-14 0 16</inkml:trace>
  <inkml:trace contextRef="#ctx0" brushRef="#br0" timeOffset="153679.26">16603 3731 0,'-80'26'0,"54"-26"16,13 13-16,-1 1 0,-12-1 16,13 0-16,-1 13 0,1-12 0,13-1 15,-13 0-15,13 0 0,0 1 16,13 12-16,-13-13 0,13 1 15,14 12-15,-1-13 0,14 0 0,-14-13 16,14 14-16,-13-14 0,12 13 0,-12-13 0,26-13 16,0 13-16,-14-14 15,67 1-15,-66 0 0,-1 0 16,14 13-16,-26-27 0,13 14 0,-1 0 16,-12 0-16,-1-1 0,-13 1 15,1 0-15,-1-14 0,0 1 16,0 0-16,-13 12 0,-13 1 0,13 0 15,-26-14-15,-27-12 16,26 25-16,-12 1 0,-1 0 16,0 0-16,-13 13 0,14 0 0,-14 0 15,0 0-15,0 0 0,0 0 16,0 13-16,13-13 0,-39 13 0,52 0 16,1-13-16,0 14 0,12-1 15,1-13-15,0 13 0,0-13 16</inkml:trace>
  <inkml:trace contextRef="#ctx0" brushRef="#br0" timeOffset="192566.64">4868 4948 0,'-13'13'0</inkml:trace>
  <inkml:trace contextRef="#ctx0" brushRef="#br0" timeOffset="193210.57">5173 4352 0,'-119'53'15,"79"13"-15,-13 27 16,40-53-16,-1 26 15,1-26-15,13-14 16,-13 0-16,13 1 0,0-1 16,0 1-16,0-14 0,0 14 0,13-14 0,-13 0 15,13 0-15,-13 14 0,14-14 16,-1 0-16,0 0 16,14 1-16,-14-14 0,0 0 15,27-14 1,-27 14-16,0 0 0,14-13 0,-1 0 15,-13 13-15,27-13 0,-13-1 16</inkml:trace>
  <inkml:trace contextRef="#ctx0" brushRef="#br0" timeOffset="193577.89">5503 4723 0,'0'-13'0,"-53"13"16,40 0-16,0 13 0,0-13 16,0 13-16,-1-13 0,14 13 0,-26 14 15,26-14-15,0 0 16,-13 14-16,26-1 16,132-158-16,-277 264 15,159-132 1,-27-13-16,26-14 15,-13 14-15,-13 0 16,0 0-16,13-1 16,-13 1-16,14 26 31,-1 1-15,-13-1-16,13-13 15,-13 13-15,13-13 16,14 0-16,-1 0 15,-13-13-15</inkml:trace>
  <inkml:trace contextRef="#ctx0" brushRef="#br0" timeOffset="193823.34">5702 4657 0,'-27'-14'16,"14"1"0,-13 40-1,26-14 1,13 13-1,-13-12 1,13-1-16,0 0 16,-13 0-16,14 0 15,-14 1-15,0-1 16,0 0-16,0 0 16,-14 1-16,14-1 15,-13-13-15,13 13 16</inkml:trace>
  <inkml:trace contextRef="#ctx0" brushRef="#br0" timeOffset="193968.83">5768 4723 0,'0'-13'16,"0"39"15,0-13-16,0 0-15,0 1 16</inkml:trace>
  <inkml:trace contextRef="#ctx0" brushRef="#br0" timeOffset="194150.65">5755 4577 0,'-27'-13'16,"14"26"-1,13 1 1</inkml:trace>
  <inkml:trace contextRef="#ctx0" brushRef="#br0" timeOffset="194413.97">5847 4643 0,'27'27'31,"-27"-14"-31,13-13 16,-13 13-1,13-13 16,-145 27-15,277-54 0,-303-92-1,330 238 1,-159-119-16,0 0 16,0-13-16</inkml:trace>
  <inkml:trace contextRef="#ctx0" brushRef="#br0" timeOffset="194662.91">6125 4577 0,'-13'40'0,"26"-27"16,0-13-1,1 0-15,-1 0 16,0 0-1,-344 13-15,662-39 0,-331 13 32,0 0-32,-13 13 15,0-14-15,-1 14 16,1 0 15</inkml:trace>
  <inkml:trace contextRef="#ctx0" brushRef="#br0" timeOffset="194903.09">6588 4538 0,'13'-14'16,"1"14"-16,-1 0 0,0-13 15,0 13-15,1-13 0,-1 13 16,0-13 0</inkml:trace>
  <inkml:trace contextRef="#ctx0" brushRef="#br0" timeOffset="195101.47">6654 4366 0,'40'13'0,"-14"0"16,-12 0-16,-1 1 0,0-14 15,0 13-15,1 0 0,-14 0 16,13 27-16,-13 0 15,-13 26-15,-27 0 16,0-13-16</inkml:trace>
  <inkml:trace contextRef="#ctx0" brushRef="#br0" timeOffset="195998.94">7567 3995 0,'0'106'15,"13"-79"-15,-13-1 16,0 40-16,14-39 0,-14 25 16,13-25-16,-13-1 15,13 1-15,-13-14 16,0 0-16,0 1 16,0-54-1,-13-40 1,13 28-16,0 12 15,0-66-15,0 40 16,0 13-16,13 27 16,-13 12-16,13-12 0,0 26 15,14 0-15,-14 13 16,14 14-16,-14-1 16,27 40-16,-1-13 15,-12 13-15,-27-39 0,26 12 16,-26-12-16,13-1 15,1 1-15,-1-1 16,0 1-16,0-14 16,-13 0-1</inkml:trace>
  <inkml:trace contextRef="#ctx0" brushRef="#br0" timeOffset="196213.63">7580 4326 0,'27'-27'16,"-14"27"-16,0-13 16,14 13-16,-14-13 0,27 13 15,-27-13-15,13 13 16,14-27-16,-14 27 0,-12-13 15,-1 13-15,13-13 0,-317 132 0</inkml:trace>
  <inkml:trace contextRef="#ctx0" brushRef="#br0" timeOffset="196447.93">7938 3863 0,'-14'-13'15,"14"39"1,0-13-16,14 27 16,-14-13-16,13 25 15,0-12-15,0 13 16,0-26-16,1 12 0,-14-26 16,13 14-16,0-14 15,0 14-15,1-1 16,-14-13-16,13-13 15</inkml:trace>
  <inkml:trace contextRef="#ctx0" brushRef="#br0" timeOffset="196955.87">8189 4180 0,'-13'-13'16,"13"26"15,0 1 0,0-1-31,13-13 0,-13 13 16,13-13-1,0-13 1,1 0-16,-14-1 16,13 14-1,-13-13-15,13 26 32,0 1-17,0-14 1,-13 13-16,14-13 0,-1 0 15,0 0 1,-13-13-16,13 13 16,-13-14-16,14 1 0,-14-13 15,0 13 1,13-1-16,-13-12 16,0 13-1</inkml:trace>
  <inkml:trace contextRef="#ctx0" brushRef="#br0" timeOffset="197832.18">8599 3982 0,'-40'0'0,"27"13"16,0 0-16,13 1 16,-13-1-16,13 13 31,0-12-31,13-1 15,0-13 1,0-13-16,0 13 16,1-14-16,-1 14 0,0-13 15,-13 0 1,13 13-16,-13-13 16,14-1-16,-1 1 15,-13 0 16,0 39 1,13-12-17,0-1 1,1-13-16,12 0 16,-13 0-1,-13-13-15,13 13 16,1-14-16,-1 14 15,-13-13-15,13 13 16,-13-13 0,13 13-16,1 0 62,-1 0-46,0 0-1,0-13 1,1 13 0,-1 0 15,0 13-31,-13 0 0,13 0 16,-13 1-16,0 12 15,13 1-15,-13-14 0,0 0 16,0 14-16,0-14 0,-13 0 15,13 0-15,0 0 0,0 1 16,-13-1-16,0-26 31,13-1-15,0 1-16,13 0 0,-13 0 0,0 0 16,13-1-16,-13-12 0,0 13 15,13-1-15,-13 1 0,14 13 16,-1-26-16,-13 12 0,13 14 15,0-13-15,1 0 0</inkml:trace>
  <inkml:trace contextRef="#ctx0" brushRef="#br0" timeOffset="198216.9">9512 3466 0,'0'53'0,"13"-27"16,-13 1-16,0 26 0,13-27 16,-13 1-16,13 52 15,-13-66-15,0 14 16,0-14-16,14 13 0,-14 1 15,13-14-15,-13 0 16</inkml:trace>
  <inkml:trace contextRef="#ctx0" brushRef="#br0" timeOffset="198866.8">9419 3797 0,'13'-13'15,"1"13"1,-1 0-16,13-14 0,1 1 16,-14 13-16,0-13 0,14 0 15,12-14-15,-12 1 16,-14 12-16,0 1 0,1 0 15,-14 0-15,0 0 0,13-14 0,-13-13 16,0 14 0,0 13-16,0-1 15,0 1-15,-13 13 16,13 13 0,-14 1-1,14-1-15,0 0 16,0 0-16,0 27 0,0-27 15,14 27-15,-14-14 0,0-12 16,0 12 0,0 1-16,0-14 15,13-13 17,-13 13-17,13-13-15,0 13 16,14-13-1,12-13 1,-25 13-16,-1 0 16,0-13-16,13 0 15,1-14-15,-14 14 16,-13 0-16,13 13 0,-13 13 47,0 0-32,14-13-15,-14 13 16,13-13-16,0 14 16,0-14-16</inkml:trace>
  <inkml:trace contextRef="#ctx0" brushRef="#br0" timeOffset="199862.29">8017 4908 0,'0'-13'16,"0"39"0,13-13-16,-13 1 0,0-1 15,13 27-15,1-14 0,-14 1 16,13-1-16,0 0 0,-13 1 15,13-1-15,0 14 16,1-13-16,-14-14 0,13-40 31,-13 14-15,0 0-16,13 0 0,-13-1 0,13 1 16,-13 0-16,14 13 0,-1-13 15,0-1-15,0 14 16,1 14-16,-1-14 0,13 13 15,-13 0-15,-13 0 0,27 14 16,-1-14 0,-12 0-16,-1 1 0,0-14 15,14 0-15,-14 0 0,0-14 16,0 1-16,0 13 0,1-26 16,-1 12-16,0 1 0,14-27 15,-14 14-15,0 0 0,-13 12 16,0 1-16,13 0 15,-13 0-15,0-1 0,-26 28 47,26-1-47,0 0 16,0 0-16,13 1 16,0-1-1,0-13-15,1 13 0,-1-13 16,0 0-16,0 0 15,1-13-15,-1 13 0,0-13 16,0-1 0,-13 1-16,0 0 0,-13 0 15,13-1-15,0 1 16,-13 13-16,0-13 0,-1 0 16,1 13-16,0 0 15,-14 0-15,14 13 0,0-13 16,0 13-16,0 0 15,-1 1-15,14-1 16,0 0-16,14 0 16</inkml:trace>
  <inkml:trace contextRef="#ctx0" brushRef="#br0" timeOffset="200234.01">8824 4895 0,'-27'13'15,"27"13"1,0-12-16,0-1 15,14 0-15,-1 0 16,0-13 0,14 0-16,-14 0 15,-13-13-15,13 13 0,0-13 16,-13 0-16,13-1 16,-13 1-16,0 0 15,0 0-15,0 0 0,0-1 16,0 1-1</inkml:trace>
  <inkml:trace contextRef="#ctx0" brushRef="#br0" timeOffset="200476.94">8996 4802 0,'13'27'0,"0"-14"16,-39-53-16,66 93 0,-40-40 0,13 1 15,-13-1-15,13 0 16,-13 13-16,-13-12 16,13-1-16,-13 0 15,-1-13 1,1 0-16,0 0 15,13 13 1</inkml:trace>
  <inkml:trace contextRef="#ctx0" brushRef="#br0" timeOffset="200768.37">9234 4762 0,'40'-66'0,"-40"53"31,-27 40 1,27-14-32,-13 0 15,13 0-15,0 0 0,0 1 16,0-1-16,0 0 0,0 0 15,13 1-15,-13-1 16,13-13-16,1 0 0,-1 13 16,13-26-1,-12 13-15,-1 0 16,0-13-16</inkml:trace>
  <inkml:trace contextRef="#ctx0" brushRef="#br0" timeOffset="201481.87">9551 4604 0,'0'13'15,"-13"0"1,13 0-16,0 1 15,0-1-15,0 0 16,0 0-16,13 1 0,-13-1 16,14 0-16,-1-13 15,0 0 1,0 0 0,14-13-16,-14 13 15,0-13 1,1 13-1,-1 0 1,0 13-16,13-26 16,-12-1-1,-14 1 1,0 0-16,13 0 0,-13-14 16,0 1-1,0 13 1,0-1-16,0 1 47</inkml:trace>
  <inkml:trace contextRef="#ctx0" brushRef="#br0" timeOffset="201634.71">9882 4577 0,'27'27'0,"-27"-14"15,13-13-15,-13 13 16,13 0 0,-13 1-16,0-1 15,0 0 1</inkml:trace>
  <inkml:trace contextRef="#ctx0" brushRef="#br0" timeOffset="201771.74">9895 4485 0,'-26'-14'16</inkml:trace>
  <inkml:trace contextRef="#ctx0" brushRef="#br0" timeOffset="202138.01">9975 4524 0,'0'14'0,"13"-1"0,0 0 16,-13 0-1,0 1-15,13-14 0,-13 13 16,14 0-16,-14 0 16,13-13-1,0-13 1,-13 0 0,13 13-16,-13-13 0,14-1 15,-14 1-15,13 0 16,0 13-1,0 0 1,1-13 0,-1 13-16,0 0 15</inkml:trace>
  <inkml:trace contextRef="#ctx0" brushRef="#br0" timeOffset="202372.17">10213 4445 0,'0'26'31,"13"-12"-15,0-1-16,-13 0 0,14 0 16,-14 1-16,13-14 15,-13 26 1,0-13-1,0 1 1,-13-14-16,13 13 0,-14 0 16,14 0-16,-13 0 0,0 1 15,0-1-15</inkml:trace>
  <inkml:trace contextRef="#ctx0" brushRef="#br0" timeOffset="202618.71">9697 4934 0,'13'-13'16,"0"0"-16,1 13 16,12-13-16,1 0 0,12-1 15,-12 1-15,12 0 0,1 0 0,-13-1 16,12 1-16,-12 0 0,-1 13 0,1-13 15,-14-1-15,13 14 0,-12 0 16,-1-13-16,0 13 0,0 0 16</inkml:trace>
  <inkml:trace contextRef="#ctx0" brushRef="#br0" timeOffset="202821.55">9723 5001 0,'40'-27'0,"-13"27"15,-1-13-15,0 0 0,80-27 16,-66 27 0,-14-14-16,1 27 0,13-26 0,-14 26 15,-13-13-15,1 13 0,-1 0 16</inkml:trace>
  <inkml:trace contextRef="#ctx0" brushRef="#br0" timeOffset="203132.22">8758 5331 0,'106'-79'16,"-80"66"-16,0 0 0,14-1 0,-13 1 16,-1-13-16,14 12 0,-14 1 15,1 0-15,-14 13 0,0-13 16</inkml:trace>
  <inkml:trace contextRef="#ctx0" brushRef="#br0" timeOffset="203317.89">8797 5371 0,'0'0'15,"27"-26"1,-14 26-16,0-14 0,1 1 16,52-53-1,-13 26 1,-40 14-16,-13 13 0</inkml:trace>
  <inkml:trace contextRef="#ctx0" brushRef="#br0" timeOffset="203613.92">8308 4591 0,'66'-40'16,"27"13"-1,-54 14-15,1 0 0,0 0 0,-14-1 16,14 1-16,0 0 16,-14 13-16,-13 0 0</inkml:trace>
  <inkml:trace contextRef="#ctx0" brushRef="#br0" timeOffset="203789.71">8374 4643 0,'-13'0'0,"39"0"16,67-26-1,-53 13-15,-1 0 16,1-1-16,13 1 0,0-13 0,0 12 16,0 1-16,0-13 0</inkml:trace>
  <inkml:trace contextRef="#ctx0" brushRef="#br0" timeOffset="203994.31">9671 4180 0,'26'-26'0,"0"13"0,-12 0 0,12 13 16,1-27-16,12 14 0,-12 0 15,12-1-15</inkml:trace>
  <inkml:trace contextRef="#ctx0" brushRef="#br0" timeOffset="204599.65">9049 5305 0,'26'66'0,"-13"-53"15,-13 1-15,14-1 0,-1 0 0,0 0 16,0 0-16,1 1 0,-1-1 15,13 13-15,-12-12 0,-14-1 16,13-13-16,-13 13 0,13 0 0</inkml:trace>
  <inkml:trace contextRef="#ctx0" brushRef="#br0" timeOffset="205023.75">9141 5569 0,'14'14'16,"-1"12"15,0-26-31,-13 13 16,13 1-16,-13-1 16,27 0-1,-14-13 1,27-26-1,-27 26-15,0-27 16,-13 14 0,0 0-16,0-1 0,13 14 15,-13-26-15,0 13 16,0 0 0</inkml:trace>
  <inkml:trace contextRef="#ctx0" brushRef="#br0" timeOffset="207430.04">9591 5636 0,'-26'13'15,"12"0"-15,14 0 16,0 1-16,0-1 15,0 0-15,0 0 0,0 0 16,14 1 0,-1-1-16,0-13 15,0 0-15,14 0 16,-14-13-16,0 13 0,14-27 16,-14 14-1,0 0-15,0 0 16,-13-1-1,-13 14 17,0 27-17,0-14 1,13 0 0,0 0-1,13-13-15,13 0 16,-12-13-1,-1 0-15,0 13 32,0-13-32,1 13 15,-1-13 1,0 13-16,0 0 16,14 0-1,-14 0 1,0 0-1,-13 13-15,13-13 0,1 13 32,-14 0-1,-14 0-15,14 1-1</inkml:trace>
  <inkml:trace contextRef="#ctx0" brushRef="#br0" timeOffset="207575.63">9935 5675 0,'13'0'0,"1"27"31,-14-14-15,-14 13-1</inkml:trace>
  <inkml:trace contextRef="#ctx0" brushRef="#br0" timeOffset="207711.49">9962 5569 0</inkml:trace>
  <inkml:trace contextRef="#ctx0" brushRef="#br0" timeOffset="207986.78">10081 5596 0,'13'13'0,"-13"0"16,0 1-1,13-1 1,-13 0 0,13-13-1,1 13 1,-1-13-1,0-13 1,-13 0-16,13 13 16,0-13-16</inkml:trace>
  <inkml:trace contextRef="#ctx0" brushRef="#br0" timeOffset="208184.76">10239 5556 0,'14'13'47,"-1"-13"-31,0 0-1,0 0 1,-13-13-16,14 0 16,-14 0-1</inkml:trace>
  <inkml:trace contextRef="#ctx0" brushRef="#br0" timeOffset="208746.77">9882 5980 0,'159'-53'0,"-119"39"16,-1 1-16,1 0 0,0 0 0,66-27 15,-80 14 1,0 12-16,1 1 0,-1 0 0,-12 0 16,-1-1-16,13 1 0,-12 0 0,-1-13 15,0 26-15,0-14 16,0 1-16,-13 0 0,14 0 0,-14-1 15,13 1-15,-13 0 16,0 0 0,0-1-16,0 1 15,0 0 1,-13 13-16,13-13 16,-14 13-1,1-13 1,0-1-1,0 14 1,13-13-16,-13 13 0,-1-13 16,1 13-1,13-13-15,-13 13 0,0-14 0,-1 14 16,1-13-16,0 0 0,-14 13 16,14-13-16,-13 0 0,-1-1 15,1 14-15,-1-13 0,-12 13 0,12 0 0,-26 0 16,-39 13-16,39 1 15,13-1-15,-13 13 0,13-13 16,14 1-16,-14 12 0,14-13 0,-1 14 16,14-14-16,-13 0 0,13 0 15</inkml:trace>
  <inkml:trace contextRef="#ctx0" brushRef="#br0" timeOffset="210129.91">10054 5040 0,'146'-53'0,"-107"40"0,-12 0 15,13 0-15,-1-14 0,-12 14 0,12-13 16,1-1-16,26-13 0,-26 14 16,-14-1-16,1 1 0,-1 0 15,1-1-15,-14 1 0,0-1 16,0 1-16,1-1 0,-1 14 0,-13-13 0,0-1 15,0 1-15,-13-27 16,-1 13-16,-12 14 0,-1-1 0,14 1 16,-26-14-16,-1 14 0,0-1 15,1 14-15,-1-14 0,13 14 16,-52-13-16,53 13 0,-1-1 16,1 14-16,-1-13 0,14 13 0,0 0 15,-14-13-15,14 13 0,0 0 16,-14-13-16,14 13 15,26-14 17,1 1-32,-1 0 0,0 0 15,0-1-15,14-12 0,-1 0 0,40-54 16,-39 40-16,-14 14 16,13-14-16,-12 1 0,-1-1 15,-13 0-15,13 1 0,-13-1 16,0 0-16,-13 0 0,0 1 0,-1-1 15,-12 0-15,0-12 0,-14 25 0,-53-39 16,27 26-16,0 14 16,0 13-16,0-14 0,-14 14 0,-12 0 15,-1-1-15,0 14 0,-211 14 16,172-1-16,0 0 16,-1 0-16,14 14 0,0-1 15,0 1-15,-13-1 0,13 14 0,0 0 16,0-1-16,13 14 0,13-13 15,-13 13-15,1 0 0,12 0 0,0-1 16,1 1-16,12 0 0,14 0 0,13-13 16,0 13-16,14-13 15,-41 39-15,54-26 0,-14-13 0,27-14 16,0 14-16,-1-14 0,1 14 0,0-1 16,0 67-1,13-66-15,13 0 0,-13-1 0,13-12 16,-13 13-16,13-1 0,1-12 15,-1-1-15,0 1 0,27 25 16,-14-38-16,1-1 0,-1 0 16,14 0-16,0 1 0,-1-14 15,14 0-15,-13 0 0,0 0 0,-1 0 16,1 0-16,13-14 0,-13 14 0,-1-13 16,1 13-16,-14 0 0,1-13 0,-1 13 15,-12 0-15,-1 0 0,0-13 16,0 13-16,0 0 0,1 13 0,-1-13 15,-13 13 1,0 0-16,0 1 16,-13-1-16,-1 13 0,1-12 15,0 25-15,0-12 0,0-1 0,-1 1 16,14-1-16,0-13 16,0 1-16,0 12 0,0-13 0,0 0 15,14 1-15,-14-1 0,13 0 0,13-13 16,-13 13-16,27 1 0,0-1 15,0 0-15,39 14 0,-26-14 16,-13 0-16,-1 0 0,14 0 16,-13-13-16,13 14 0,-14-1 0,54 0 15,-53-13-15,13 13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7.794"/>
    </inkml:context>
    <inkml:brush xml:id="br0">
      <inkml:brushProperty name="width" value="0.025" units="cm"/>
      <inkml:brushProperty name="height" value="0.025" units="cm"/>
      <inkml:brushProperty name="ignorePressure" value="1"/>
    </inkml:brush>
  </inkml:definitions>
  <inkml:trace contextRef="#ctx0" brushRef="#br0">115 0,'-72'75,"66"-68,1 0,0 1,0 0,1 0,0 0,1 1,-6 16,9-22,-1-1,1 1,0 0,0-1,0 1,0 0,0-1,0 1,1-1,0 1,-1-1,1 1,0-1,0 1,0-1,0 0,1 1,-1-1,1 0,-1 0,1 0,0 0,0 0,0 0,0-1,0 1,0-1,0 1,0-1,1 0,-1 0,5 2,-2-2,-1 1,1-1,0 0,-1-1,1 1,0-1,0 0,9-1,-14 1,1 0,0 0,-1-1,1 1,0 0,-1 0,1 0,0-1,-1 1,1 0,0-1,-1 1,1 0,-1-1,1 1,0-1,-1 1,0-1,1 1,-1-1,1 1,-1-1,1 0,-1 0,0 0,0 0,0-1,0 1,-1 0,1 0,-1 0,1 0,-1 0,1 0,-1-1,1 1,-1 0,0 0,0 1,0-1,1 0,-1 0,0 0,0 0,-1 0,-31-20,15 11</inkml:trace>
</inkml:ink>
</file>

<file path=ppt/ink/ink19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27:53.356"/>
    </inkml:context>
    <inkml:brush xml:id="br0">
      <inkml:brushProperty name="width" value="0.05292" units="cm"/>
      <inkml:brushProperty name="height" value="0.05292" units="cm"/>
      <inkml:brushProperty name="color" value="#0070C0"/>
    </inkml:brush>
  </inkml:definitions>
  <inkml:trace contextRef="#ctx0" brushRef="#br0">1138 2818 0,'0'13'62,"39"0"-62,41 1 16,12-14-16,27 13 16,27 13-16,-27-26 15,66 0 1,0 0-16,-26 0 0,40 0 15,-94 0-15,-25 0 16,-54 0 0</inkml:trace>
  <inkml:trace contextRef="#ctx0" brushRef="#br0" timeOffset="3054.89">3440 4048 0,'-14'13'0,"28"-13"16,12 0-16,-13 0 0,67-13 15,-14 0-15,13 13 16,-13-13-16,14-1 0,-1 1 15,-13 0-15,14 0 0,-14 0 0,0-1 0,13 1 16,-26 0-16,13 0 16,-13-1-16,-13 1 0,0 13 0,-14-13 15,1 13-15,-14 0 0,0-13 0,0 13 16</inkml:trace>
  <inkml:trace contextRef="#ctx0" brushRef="#br0" timeOffset="5314.11">8467 2950 0,'66'0'16,"-27"-13"-16,14 13 0,14-13 0,12-1 16,0 14-16,133-26 15,-80 13-15,-13 0 0,14-1 0,-1 1 16,119 0-16,-158 13 15,39-13-15,-26 13 0,13-14 0,-26 14 16,92-13-16,-93 13 0,-12 0 16,-1-13-16,-13 13 0,-13 0 15,0 0-15,13 0 0,-39 0 16,-14 0-16,0 0 0</inkml:trace>
  <inkml:trace contextRef="#ctx0" brushRef="#br0" timeOffset="5581.98">9419 3069 0,'423'-40'0,"-330"40"0,0 0 15,13-13-15,-14 13 0,107 0 16,-107-13-16,-12 13 16,12 0-16,-12 0 0,-14 0 0,0 0 0,-13 0 15,53 0-15,-40 0 16,-53 0-16,13 0 0,-12 0 16,-1 0-16,13-13 0</inkml:trace>
  <inkml:trace contextRef="#ctx0" brushRef="#br0" timeOffset="8004.78">4696 5080 0,'0'26'16,"0"-12"-16,14 12 16,-14-13-16,0 14 0,0-14 15,0 0-15,13 27 16,-13-27-16,0 14 0,0-14 0,0 0 15,13 0-15,-13 1 0,0-1 16,0 0-16,-13-39 31,0-54-15,13 41-16,0 12 16,0 1-16,0-14 0,0 0 0,13 14 15,0-1-15,-13 1 0,26-27 16,-12 40-16,-1-1 15,0 14-15,0 0 0,14 0 16,-14 14 0,0-14-16,-13 13 0,0 0 15,14 0-15,-28 1 0,14-1 16,0 0-16,-13 0 0,0 14 0,-27 12 16,27-25-1,0-14-15,-1 13 0,-12-13 16,13 13-1,0-13-15</inkml:trace>
  <inkml:trace contextRef="#ctx0" brushRef="#br0" timeOffset="8255.04">5040 4829 0,'-13'26'0,"13"-13"0,0 14 15,-13-14-15,13 13 0,0 1 0,-13 26 16,13-13-16,0-14 16,0 14-16,0-14 0,0 1 0,13-1 15,-13-13-15,13 14 0,-13-14 0,13 13 16,-13-12-16,14-1 0,-1-13 15,-13 13-15,13-13 0,0 0 16</inkml:trace>
  <inkml:trace contextRef="#ctx0" brushRef="#br0" timeOffset="8458.18">5292 4908 0,'-14'-13'16,"28"79"0,-14-53-16,0 0 0,0 14 0,0-1 15,0-12-15,0 12 0,13-13 16,-13 14-16,0-14 0,0 0 0,0 0 16,0 1-16,13-1 0,-13 0 0</inkml:trace>
  <inkml:trace contextRef="#ctx0" brushRef="#br0" timeOffset="8648.89">5437 4948 0,'0'-27'16,"0"67"0,0 0-1,0-27-15,0 13 0,13-12 16,-13-1-16,0 13 0,0-13 15,0 14-15,14-14 0,-14 0 16,0 1-16,13-1 0,-13 0 0</inkml:trace>
  <inkml:trace contextRef="#ctx0" brushRef="#br0" timeOffset="8822.76">5331 5186 0,'-26'0'16,"52"-13"0,-12 13-16,12-14 15,-13 1-15,14 13 16,-14-13-16,0 13 0,27-27 16</inkml:trace>
  <inkml:trace contextRef="#ctx0" brushRef="#br0" timeOffset="9034.73">5517 4710 0,'39'79'15,"-26"-53"-15,14 1 0,-14 13 0,0-1 16,14-12-16,-27 12 0,13 1 0,0 0 15,-13-1-15,0-12 0,0 13 16,-13 39-16,0-39 16,0-14-16,13 14 0,-14-14 0</inkml:trace>
  <inkml:trace contextRef="#ctx0" brushRef="#br0" timeOffset="9666.7">5001 6271 0,'13'26'31,"-13"1"-31,0 12 0,13-12 15,-13-1-15,13 14 0,-13-14 0,14 54 16,12-1 15,-26-66-31</inkml:trace>
  <inkml:trace contextRef="#ctx0" brushRef="#br0" timeOffset="9941.66">4961 6284 0,'53'-40'15,"-40"40"-15,0 0 0,14 0 16,-14 13-16,0 1 0,0-1 0,1 0 15,-1 0-15,-13 1 0,13-1 16,-13 13-16,0-13 0,0 14 0,-13-14 16,13 14-16,-13-14 0,-1 13 0,1 1 15,0-1-15,0-26 16,13 13-16,-13 1 0</inkml:trace>
  <inkml:trace contextRef="#ctx0" brushRef="#br0" timeOffset="10198.24">5358 6099 0,'-13'66'16,"13"-40"-16,0 1 0,-14 12 15,14 1-15,0 0 0,0-14 0,0 1 16,0 52-16,14-39 0,-14-14 16,0 1-16,0-1 0,13-13 15,-13 14-15,13-14 0,-13 14 0,13-14 16,1-13-16,-14 13 0,13 0 16</inkml:trace>
  <inkml:trace contextRef="#ctx0" brushRef="#br0" timeOffset="10504.95">5649 6337 0,'-27'26'15,"14"-13"-15,13 1 0,0-1 0,0 0 16,0 14-16,-13-14 0,13 0 15,13 0-15,-13 1 0,0-1 0,13-13 16,-13 13-16,14 0 16,-1-13-16,-13 13 0,13-13 15,-39 0 48,26-13-63,-27 0 15,14 0-15</inkml:trace>
  <inkml:trace contextRef="#ctx0" brushRef="#br0" timeOffset="10699.73">5556 6046 0,'27'0'16,"-14"0"-16,0 13 0,0 0 15,1 0-15,12 14 0,-13 13 0,14-14 16,-14 14-16,13 26 16,-12-26-16,-1-1 0,-13 1 0,13 0 15,-13-14-15,0 14 0,-13-1 16,13 1-16,0-13 0,0-1 0,-13 1 16,13-1-16</inkml:trace>
  <inkml:trace contextRef="#ctx0" brushRef="#br0" timeOffset="11212.84">5490 7554 0,'13'66'16,"1"-53"-16,-14 14 0,0-1 15,13 14-15,-13-14 0,13 14 0,-13 0 0,13-14 16,-13 14-16,13-14 16,-13-12-16,0 12 0,14-13 0,-14 0 15,0 1-15</inkml:trace>
  <inkml:trace contextRef="#ctx0" brushRef="#br0" timeOffset="11497.14">5503 7607 0,'40'-53'15,"-14"53"1,-12 13-16,-1-13 16,0 13-16,-13 1 0,13 25 15,-26 54 1,0-80 0,13 14-16,-13-14 0,-1 13 0,1-13 0,13 1 15,-13-1-15,0 0 0,13 0 16,-13-13-16</inkml:trace>
  <inkml:trace contextRef="#ctx0" brushRef="#br0" timeOffset="11724.24">5755 7514 0,'-14'27'16,"14"-14"-1,-13 53 1,26-13-16,1 26 16,-14-39-16,13-27 0,-13 14 15,13-14-15,14 27 16,-14-27-16,-13 0 0,13-13 0,0 13 16,1-13-16,-1 0 0,0 0 15,0 0-15,0-13 16</inkml:trace>
  <inkml:trace contextRef="#ctx0" brushRef="#br0" timeOffset="12060.76">6178 7607 0,'0'-13'0,"-26"39"16,12-13-16,1 0 15,13 1-15,0-1 16,0 0-16,0 0 16,13-13-16,-13 14 0,27 12 15,-14-26-15,-13 13 0,13-13 16,-13 14-16,13-1 0,-13 0 15,0 0 1,0 0-16,-13 1 0,0-14 16,13 13-16,-13-13 0,0 13 0,-1-13 15,1 0-15,0 13 0,0-13 16,-1-13-16,1 13 0</inkml:trace>
  <inkml:trace contextRef="#ctx0" brushRef="#br0" timeOffset="12271">6059 7435 0,'119'0'0,"-93"13"0,14 0 16,0 0-16,-14 1 0,1 12 16,-1-13-16,1 14 0,26 39 15,-40-26-15,-13-1 0,13 1 0,-13 0 16,0-1-16,-13 1 0,0 13 15,13-13-15,-14-1 0,1 1 0,-13-13 16,12 12-16,1-12 0</inkml:trace>
  <inkml:trace contextRef="#ctx0" brushRef="#br0" timeOffset="13357.3">6032 8903 0,'14'66'0,"-1"-39"16,-13 13-16,13-14 0,0 14 15,1-1-15,-14 1 0,13 0 0,13 26 16,-26-26-16,14-14 0,-14 0 16,0 1-16,13-14 0,-13 14 15,0-14-15,0 0 0,0 0 0,0 1 16</inkml:trace>
  <inkml:trace contextRef="#ctx0" brushRef="#br0" timeOffset="13650">5953 8850 0,'53'-66'16,"-27"66"-16,-12 0 0,12 0 0,1 0 15,-1 13-15,1 1 0,25 12 16,-25 1-16,-27-14 0,13 13 16,-13-13-16,0 14 0,0-14 0,-13 40 15,0-26-15,-1-14 16,1 13-16,0-13 0,-13 1 15,-1 12-15,-13-13 0,40 1 16,-13-14-16</inkml:trace>
  <inkml:trace contextRef="#ctx0" brushRef="#br0" timeOffset="13928.61">6601 8612 0,'-66'106'16,"53"-66"-16,0-14 0,0 27 16,-1-13-16,1-1 0,13 54 0,0-53 15,0-1-15,13 1 0,-13 0 16,14 26-16,-1-40 15,0-12-15,0 12 0,0-13 0,14 14 16,-14-27-16,0 0 0,14 0 16,-14 0-16,14-13 15,-14 13-15,26-27 0</inkml:trace>
  <inkml:trace contextRef="#ctx0" brushRef="#br0" timeOffset="14329.07">6932 8758 0,'-13'13'15,"13"0"-15,13-39 0,-39 52 0,12 14 0,14-27 16,-13 14-16,13-1 16,0 0-16,-13 1 0,26 39 15,-13-53-15,13 1 0,1-1 16,-1 0-16,0 0 0,0-13 0,1 0 16,-1 0-16,0-13 0,13 13 15,-12 0-15,12-13 0,-13 13 0,1 0 16,-1-13-16,0 13 0,0 0 15,1 13-15,-1-13 16,0 13-16,0-13 0,-13 13 16,13-13-16,-13 13 0,14-13 15,-1 14 1,0-28 0,-13 1-16</inkml:trace>
  <inkml:trace contextRef="#ctx0" brushRef="#br0" timeOffset="14536.66">7144 8348 0,'172'92'0,"-146"-52"15,14 0-15,0 12 0,-14-12 16,27 66-16,-27 0 0,-26-40 15,14-13-15,-14-13 16,-14 13-16,14-1 0,-26 41 16,26-53-16,-27 26 0</inkml:trace>
  <inkml:trace contextRef="#ctx0" brushRef="#br0" timeOffset="15169.01">7064 10398 0,'14'66'16,"-1"-52"-16,0 25 0,-13 1 0,13-14 15,1 14-15,-1 0 0,-13-14 0,13 1 16,0 26-16,0-40 0,-13 13 16,0-13-16,14 1 0,-14-1 0,0 0 15</inkml:trace>
  <inkml:trace contextRef="#ctx0" brushRef="#br0" timeOffset="15444.97">6985 10358 0,'13'-39'0,"0"12"16,-39 93-16,79-145 0,-40 79 0,0-13 15,14 26-15,-1-13 0,1 13 16,26 14-16,-40-1 15,0-13-15,-13 1 0,0 12 0,0 14 16,0-14-16,-13-12 16,13 12-16,-13-13 0,-1 0 0,14 1 15,-26 12-15,26-13 16,-13-13-16</inkml:trace>
  <inkml:trace contextRef="#ctx0" brushRef="#br0" timeOffset="15674.8">7448 10147 0,'-13'-13'16,"13"39"-16,-13 14 0,13-14 0,0 1 15,0 12-15,0 14 0,13-13 16,-13 0-16,13-1 0,0 1 15,-13 0-15,13-1 0,1 1 0,-1-14 16,13 1-16,-12-14 0,12 27 16,-13-40-16,1 13 0,-1-13 0,0 0 15,0 13-15,0-26 0</inkml:trace>
  <inkml:trace contextRef="#ctx0" brushRef="#br0" timeOffset="15899.15">7779 10345 0,'0'-13'0,"-13"13"0,26 13 0,-26-39 16,13 52-1,-14-13-15,14 1 16,14-1-16,-14 0 0,0 27 16,0-14-16,0 1 15,0-1-15,0-13 0,0 14 0,0 13 16,13-27-16,-13 13 15,0-13-15,0 14 0,0-14 16,13-13-16</inkml:trace>
  <inkml:trace contextRef="#ctx0" brushRef="#br0" timeOffset="16391.88">7779 10358 0,'66'-26'0,"-53"26"16,0 0-1,1 0-15,-14 13 16,0 0-16,0 1 0,0-1 16,13 13-1,0-12 1,-13-1-16,13-13 0,1 26 0,-1-12 16,-13-1-16,13 0 15,-13 0-15,0 0 0,0 1 16,-26 39-16,12-40 15,1 0-15,0 0 16,-14-13-16</inkml:trace>
  <inkml:trace contextRef="#ctx0" brushRef="#br0" timeOffset="16607.06">7805 9909 0,'80'26'0,"-27"14"16,-14-1-16,1 1 0,0 0 15,-1 0-15,14 65 0,-13 81 16,-40-67 0,0-40-16,-13-13 0,-1 0 15,-12-13-15,13 13 0,-14-13 0,1 0 16,13 0-16</inkml:trace>
</inkml:ink>
</file>

<file path=ppt/ink/ink19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28:17.522"/>
    </inkml:context>
    <inkml:brush xml:id="br0">
      <inkml:brushProperty name="width" value="0.05292" units="cm"/>
      <inkml:brushProperty name="height" value="0.05292" units="cm"/>
      <inkml:brushProperty name="color" value="#0070C0"/>
    </inkml:brush>
  </inkml:definitions>
  <inkml:trace contextRef="#ctx0" brushRef="#br0">1588 2950 0,'39'-26'0,"-12"26"0,12-14 16,80 1-16,-39 0 0,12 0 16,1 0-16,211-1 15,-211 1-15,13 13 0,-14-13 16,1 13-16,79-13 0,-93-1 15,1 1-15,-1 13 16,-13-13-16,-13 13 0,-13-13 0,26 13 16,-40 0-16,-12-14 0</inkml:trace>
  <inkml:trace contextRef="#ctx0" brushRef="#br0" timeOffset="240.74">2011 3069 0,'132'0'0,"-66"0"16,14-13-16,12 13 0,1 0 16,79-13-16,13-1 15,-106 1-15,1 13 0,-1-13 0,-13 13 16,-13 0-16,53-13 15,-53 13-15,-40 0 16,0 0-16,-13 13 0</inkml:trace>
  <inkml:trace contextRef="#ctx0" brushRef="#br0" timeOffset="4141.84">5358 2090 0,'0'-13'0,"0"0"16,-13 0-1,-1 13 1,-12-14 15,13 14-31,-14 14 0,14-14 16,-13 0-16,12 13 15,1-13-15,-27 26 16,27-26-16,-13 13 16,26 1-16,-14-1 15,1-13-15,13 13 16,-13 0-16,0 1 16,13-1-16,-13 40 15,-1-14 1,1 1-1,13-13-15,0-1 0,-13 53 16,0 14 0,-1-40-16,14-27 15,0 41 1,-13-15-16,13-12 16,0-27-1,0 40 1,0-26-16,13-14 15,1 0 1,12 0-16,-13 1 0,27-14 16,-27 0-16,14 0 15,26 0-15,0-14 16</inkml:trace>
  <inkml:trace contextRef="#ctx0" brushRef="#br0" timeOffset="5089.18">9723 2752 0,'27'0'16,"-14"0"-16,14 13 0,12-13 0,54 0 15,26 0-15,26 0 16,14-13-16,-66 13 15,-14 0-15,106 0 16,-13-14-16,-13 14 16,-27 0-16,-79-13 15,0 13-15,40 0 16,-67 0-16,1 0 0,12 0 16,-12 0-16,-1 0 0,-12 0 15,-1 0 1</inkml:trace>
  <inkml:trace contextRef="#ctx0" brushRef="#br0" timeOffset="5926.91">12753 2752 0,'212'13'0,"-159"-13"0,26 13 15,66-13-15,14 13 16,-79-13-16,12 14 0,146-1 16,-66 0-1,-92 0-15,-1-13 0,159 14 16,-159-1 0,67-13-16,-80 0 0,0 13 15,40-13-15,0 0 16,-66 13-16,-1-13 0,1 0 15,53 0-15,-54 0 16,-25 0-16,-1 0 0,13 0 16,-13 0-16,1 0 15,-1 0-15,0-13 32,0 0-17</inkml:trace>
  <inkml:trace contextRef="#ctx0" brushRef="#br0" timeOffset="6640.86">15915 1601 0,'53'13'0,"-40"0"16,79 14-16,-52-14 16,-27 0-16,1 0 0,-1-13 15,0 14-15,13-1 0,1 26 16,-27-25-1,0-1-15,13 0 0,-26 27 16,13 0-16,-13 12 16,13-25-16,-14-1 0,14-12 15,-13 65 1,13-66-16,13 27 0,-13 0 16,14-1-16,-1 1 15,0-27-15,-13 0 16,27 14-16,-27-14 15,26 0-15,-26 1 0,13-1 0,14 26 16,-14-12 0,0 13-1,0-1-15,-13-12 0,14-1 16,-14 1-16,-14-1 0,14 27 16,-13 0-1,-26 13-15,-1-26 16,-13-14-16,26-12 15,-12 12-15,12-26 0,-12 13 0,-14 14 16,-40-14 0,40 0-16,27-13 15,-14 13 1</inkml:trace>
  <inkml:trace contextRef="#ctx0" brushRef="#br0" timeOffset="15309.23">6773 5226 0,'0'-14'16,"-26"14"-1,13 0-15,-14 0 0,14 0 0,0 14 16,-14-14-16,14 13 0,-13-13 15,12 13-15,-12-13 0,-1 13 16,14 0-16,0-13 0,0 14 16,13-1-16,0 13 15,13-26-15,0 14 16,0-14-16,14 13 16,-14 0-16,0 0 0,27 1 15,-27-1-15,1 0 0,-1-13 16,-13 13-16,13 0 0,-13 1 15,0 12 1,-13-26-16,0 13 0,-1 1 0,1-1 16,0-13-16,0 13 0,-1-13 15,-12 13-15,-1-13 0,14 0 16,0 0-16,0 0 16</inkml:trace>
  <inkml:trace contextRef="#ctx0" brushRef="#br0" timeOffset="15632.37">6959 5292 0,'-146'26'16,"133"-13"-16,13 1 16,0-1-16,0 0 0,13 0 15,13 14-15,-12-14 16,-1-13-16,13 13 0,-12 0 16,-1 1-16,0-1 0,0 13 15,-13-12-15,0-1 16,-13 0-16,0-13 15,0 13-15,-1 0 0,1-13 0,0 14 0,0-14 16,-27 13-16,27-13 16,0 0-16,-1 0 15</inkml:trace>
  <inkml:trace contextRef="#ctx0" brushRef="#br0" timeOffset="15910.77">7448 5424 0,'13'-13'16,"0"13"-16,1 0 15,-1-13-15,0 13 0,14 0 0,-14 0 16,13 0-16</inkml:trace>
  <inkml:trace contextRef="#ctx0" brushRef="#br0" timeOffset="16080.3">7461 5556 0,'27'0'32,"-1"0"-32,1-13 15,-1 13-15,14-13 16,-27 0-1</inkml:trace>
  <inkml:trace contextRef="#ctx0" brushRef="#br0" timeOffset="16931.11">8321 5014 0,'-13'-13'0,"0"13"15,-14 13 1,14 0 0,0 14-16,0-1 15,13 0-15,-14-12 16,14 25-16,0 1 15,0 0-15,-13-27 0,13 0 16,0 40 0,-13-26-16,13-14 15,0 0-15,0 0 16,13-13 0,0 27-1,-13-14 1,14 13-16,-28 27 15,14 13-15,-13-26 0,13 0 16,-13 26-16,13-40 16,0 14-16,0-13 0,0-14 15,0 13-15,0 1 0,13-1 16,-13-13-16,13 1 16,-13-1-1,14-13-15</inkml:trace>
  <inkml:trace contextRef="#ctx0" brushRef="#br0" timeOffset="19076.27">8864 5080 0,'-14'13'15,"1"0"1,-13 40-16,-1 14 16,14-41-16,0 14 15,13-14-15,-14 1 0,14-1 0,0 14 16,0-14-16,0-13 0,14 14 16,-14-14-16,26 14 15,1-1-15,-14-26 16,0 13-16,0-13 0,1 0 15,12 0-15,-13 0 0,0 0 16,-13-13-16,14 13 0,-1-13 16,-13 0-1,0-1-15,-13 14 0,13-13 16,-14 0-16,1 0 16,0-1-16,0 14 0,0-13 15,-1 13-15,1-13 0,-13-13 16,12 12-16,1 14 0</inkml:trace>
  <inkml:trace contextRef="#ctx0" brushRef="#br0" timeOffset="19435.04">8678 4868 0</inkml:trace>
  <inkml:trace contextRef="#ctx0" brushRef="#br0" timeOffset="20056.28">9247 4802 0,'40'-26'15,"-27"26"-15,0 0 0,1 0 16,-1 26-16,0 1 16,-13-1-16,-13 1 15,0 39-15,13-27 0,-14 41 16,1-54-16,13 1 16,0 12-16,0 14 15,13-26-15,-13-1 16,14-26-16,-1 13 0,0 1 15,0-14-15,-13-14 16,13 14-16,14-13 0,-14 0 16,0 0-16,1 0 15,-1-1-15,0 14 16,0 14 0,-13 12-16,14 14 15,-14-14-15,0 27 16,0 13-1,-14 0-15,1 0 16,13-26-16,-13-13 0,0-1 16,-40 40-16,39-53 15,1 1-15,0-1 0,-13 0 16,-1 0-16,14-13 16,0 14-16,-1-14 0,1 0 0,-13 13 15,13 0-15</inkml:trace>
  <inkml:trace contextRef="#ctx0" brushRef="#br0" timeOffset="20356">8559 6032 0,'53'-13'0,"-26"13"0,105-26 16,-92 13-16,52-1 15,14-12-15,-53 13 0,0-1 16,0 14-16,-13-13 0,-1 13 15,14-13-15,-26 13 0,-14 0 16,0 0-16</inkml:trace>
  <inkml:trace contextRef="#ctx0" brushRef="#br0" timeOffset="20983.8">8533 6165 0,'79'0'16,"-39"-13"-16,0 13 15,12-14-15,-12 14 0,13-13 0,-13 0 16,13 13-16,39-27 0,-12 14 16,-27 0-1,-40 13-15,13 0 0,-12 0 0,12-13 16,-13 13-16,0 0 15,1 0-15,-1 0 16,-13-14 0,13 14-16,0 0 15,1 0 1,-1 0 62,0-13 156,-13 0-218</inkml:trace>
  <inkml:trace contextRef="#ctx0" brushRef="#br0" timeOffset="22111.99">5146 3823 0,'119'-13'16,"-66"13"-16,0 0 0,26-13 16,14 13-16,105 0 0,-92-13 15,27 13-15,-14 0 0,119 0 16,-106 0-16,-26 0 0,0 0 16,105 0-16,-25 0 15,-94 0-15,-26 0 0,0 0 16,27 0-16,-14 0 0,-65 0 15,12 0-15,-13 0 16,1 0-16,-1 0 0</inkml:trace>
  <inkml:trace contextRef="#ctx0" brushRef="#br0" timeOffset="22416.89">5596 4075 0,'251'-27'16,"-66"27"-16,-79-13 16,0 13-16,26 0 0,120 0 15,-120 0-15,80 13 16,-106-13-16,-14 0 0,1 0 0,66 0 15,-107 0-15,15-13 16,-28 13-16,1 0 0,0 0 0,-1 0 16,-12 0-16,-14 0 0,0 0 15,14 0-15,-14 0 16,0 0 0</inkml:trace>
  <inkml:trace contextRef="#ctx0" brushRef="#br0" timeOffset="23558.26">6469 8017 0,'-185'26'15,"145"-26"-15,0 14 0,1-1 16,-1 0-16,14 0 16,26 0-16,0 1 15,26 12-15,14 1 16,-14-14-16,14 13 0,-14-12 16,27 12-16,-13 0 15,0 1-15,-27-14 0,0 0 16,-13 1-16,-13-1 15,13 0-15,-13 0 0,-14-13 16,14 14-16,-13-1 0,-1-13 16,-26 13-16,27-13 15,12 0-15,-52 0 16,53 0-16,0 0 16,26-13-16,0 0 15,1-1-15,12-12 0</inkml:trace>
  <inkml:trace contextRef="#ctx0" brushRef="#br0" timeOffset="23851.42">6668 8043 0,'-67'14'0,"54"-14"0,13 13 15,-13-13-15,106-27 0,-186 80 16,93-26-1,26-1-15,-12 1 16,-14-14-16,13 0 0,13 27 16,-12-27-16,-14 0 0,0 0 0,0 1 15,0-1-15,0 13 0,-14-12 16,-12 12-16,13-13 16,-1 1-16,-12-1 0,-1 0 0,14-13 15,-26 13-15,25 0 0,1-13 16,0 0-16,0 0 0</inkml:trace>
  <inkml:trace contextRef="#ctx0" brushRef="#br0" timeOffset="24043.96">7038 8308 0,'132'-40'0,"-119"40"15,1 0-15,-1 0 0,0 0 16,0 13-16,1-13 16,-14 14-16</inkml:trace>
  <inkml:trace contextRef="#ctx0" brushRef="#br0" timeOffset="24239.38">6972 8546 0,'13'0'31,"0"0"-31,14 0 16,-1 0-16,14-13 15,-27 13-15,40 0 16,-13-13-16,-14 13 0,-13 0 15,14-14-15,12 14 16,-12-13-16,-14 13 16,0 0-16</inkml:trace>
  <inkml:trace contextRef="#ctx0" brushRef="#br0" timeOffset="25963.64">8427 8189 0,'93'-40'16,"-80"40"-16,-40 13 31,14-13-31,-13 14 0,12-1 16,-25 0-16,-1 0 16,27 1-16,0-1 15,-1 0-15,14 0 16,14 0-16,-1 14 15,27-1-15,-27-12 0,0-14 16,27 39 0,-27-25-16,-13 12 15,0-13-15,-13 0 0,-1 1 16,1-14-16,0 13 16,-13 0-16,-14 14 0,-13-14 15,13-13-15,27 0 16,0 0-16,0 0 15</inkml:trace>
  <inkml:trace contextRef="#ctx0" brushRef="#br0" timeOffset="26252.09">8731 8176 0,'53'13'15,"-53"13"1,-26 14-16,-67 53 16,67-80-1,12 0-15,1 14 0,0-1 16,0 0 0,26-26-16,0 14 15,14-1 1,-14-13-16,53 0 0,0 0 15,-53 0-15,14 0 16,13-13 0,26-1-16,-53 14 15</inkml:trace>
  <inkml:trace contextRef="#ctx0" brushRef="#br0" timeOffset="26459.04">9366 8268 0,'-26'13'0,"-14"1"15,0 12-15,-39 14 16,39-14-16,1 14 0,-14-14 0,-27 41 16,27-41-16,-39 53 15,65-52-15,1-14 16,-1 27-1</inkml:trace>
  <inkml:trace contextRef="#ctx0" brushRef="#br0" timeOffset="26630.72">9525 8348 0,'-93'79'0,"1"-13"15,12-13-15,14 0 0,-106 66 16,-92 79 0,184-118-16,-92 52 15,93-66-15</inkml:trace>
  <inkml:trace contextRef="#ctx0" brushRef="#br0" timeOffset="32802.93">8930 8586 0,'-14'13'31,"-12"0"-16,0 14-15,12-27 16,-39 39 0,27-39-16,26 14 15,-27-14-15,14 0 16,0 13 78,-13 0-79,26 0 1,-14-13-16,-12 27 0,-1-14 31,14-13-15</inkml:trace>
</inkml:ink>
</file>

<file path=ppt/ink/ink19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29:05.938"/>
    </inkml:context>
    <inkml:brush xml:id="br0">
      <inkml:brushProperty name="width" value="0.05292" units="cm"/>
      <inkml:brushProperty name="height" value="0.05292" units="cm"/>
      <inkml:brushProperty name="color" value="#0070C0"/>
    </inkml:brush>
  </inkml:definitions>
  <inkml:trace contextRef="#ctx0" brushRef="#br0">1058 2553 0,'225'-39'16,"-53"25"-16,-106 14 15,14 0-15,-1 0 0,0-13 0,1 13 16,-1 0-16,80 0 15,-80 0-15,80-13 0,-40 13 16,0 0-16,-66 0 16,-13 0-16,0 0 0,39 0 15,-66 0-15,14 13 16,-14-13-16</inkml:trace>
  <inkml:trace contextRef="#ctx0" brushRef="#br0" timeOffset="287.16">1217 2672 0,'53'0'16,"-106"0"-16,146 0 15,39 0-15,27 0 0,-67 0 16,14 0-16,79 0 16,-79 0-16,172 0 15,-199 0-15,80 0 0,-106 0 16,79 0 0,-105 14-16,13-14 15,-27 0-15,0 13 0</inkml:trace>
  <inkml:trace contextRef="#ctx0" brushRef="#br0" timeOffset="4239.04">9141 2447 0,'80'-13'16,"26"0"0,-40 13-16,13 0 15,0 0-15,14-13 0,0 13 0,12 0 16,1 0-16,0 0 0,26 0 0,80 0 16,0-14-1,-93 14-15,-13 0 0,0 0 16,-14 0-16,199 0 0,-211 0 15,12-13-15,-12 13 0,-14 0 0,0 0 16,-13 0-16,0 0 16,0 0-16,-1-13 0,1 13 0,14 0 15,-41 0-15,14 0 0,-14 0 16,1 0-16,-14 0 0,40 0 16,-14 0-16,1 0 15,0 0 1,-27 0-16,13-13 0,1 13 15,-14 0-15,14 0 16,-14 0 0,0 0-16,14 0 15,-14 0-15,0 0 0,0 0 16,0 0-16,1 0 0,-1 0 16,13 0-16,-12 0 0,25 0 15,1 0-15,0 0 16,-14 0-16,1 0 15,-1-13-15,27 13 0,0 0 16,-27 0-16,1-14 0,-1 14 16,1 0-16,12 0 15,-12 0-15,13-13 0,26 0 16,-40 13 0,1-13-16,-14 13 15,0 0-15,27-14 16,-27 14-16,0-13 15,0 13-15,1-13 16,-1 13-16,0 0 16,-13-13-1,13 13-15,1-14 16,-1 14 0,0-13-16,0 0 15,-13 0-15,14 0 16,-14-1-16,26-25 15,0-1-15,-12 0 16,-1 1-16,13-14 16,-26 39-16,14-25 0,-14 26 15,0-1 1,13 1-16,-13 0 0,0 0 0,0-1 16,0 1-16,0 0 15,0 0 1,-13-1-1,-1 14-15,1 0 16,0 0-16,-27-13 16,14 13-16,-67-13 15,14 0-15,39 13 16,-132-27 0,93 14-16,-67-13 15,27 26 1,66-14-16,-66 14 15,53 0-15,-66-13 0,52 13 16,1 0-16,0 0 16,-67 0-16,-13 0 0,-52 13 15,65-13 1,67 0-16,-40 14 16,66-14-16,-66 0 15,13 0-15,53 13 0,13-13 16,-52 0-16,65 0 15,-12 0-15,12 0 0,-118 0 16,39 0 0,66 0-16,14 0 15,-54 0-15,41 0 0,-67 0 16,-27 13 0,94-13-16,-27 0 15,26 0-15,13 0 16,-12 0-16,-80 13 15,79-13-15,-53 0 16,14 14-16,53-14 16,-27 0-1,0 13-15,0-13 16,13 13-16,0-13 16,14 0-16,-14 13 15,1-13-15,12 0 16,1 13-16,12-13 0,-12 0 15,0 0-15,12 0 16,-25 14-16,25-14 16,-12 0-1,13 0-15,-1 0 16,-12 13-16,13-13 16,-14 0-1,14 0 1,0 0-16,13 13 15,-13-13-15,-1 0 16,1 0-16,0 0 0,0 0 16,-1 0-16,1 13 15,-13-13-15,13 0 32,-1 0-32,1 0 15,13 14 1,-13-14-1,0 13 17,13 0-17,0 0-15,0 1 0,0 12 16,-14-13-16,14 14 16,0 26-1,-13 0-15,13-14 16,0 14-1,0-26-15,0 12 0,-13-12 0,13 39 16,-13 0-16,13-40 16,0 1-16,-14 13 15,14-1 1,-13 1-16,13-27 16,0 0-16,0 1 15,0-1 1,13-13-1,27 0 1,13 0-16,0 0 16,40-13-16,-14-1 0,53 1 15,1 0-15,-1-13 16</inkml:trace>
  <inkml:trace contextRef="#ctx0" brushRef="#br0" timeOffset="8233.07">1879 4485 0,'79'-14'0,"-13"1"16,80 13-16,-27 0 16,-53 0-16,93 0 15,-80 0-15,93 0 16,119-13-16,-93 13 16,-92 0-16,93-13 15,-1 0-15,-13-1 16,-92 1-16,92 0 15,-92 0-15,-14-1 0,67 1 16,-14 0 0,-40 0-16,-12 13 15,-14-14-15,-53 14 16,14 0-16,-14 0 0,0 0 0,0-13 16,14 13-16,-14 0 15,0 0-15,1-13 16,-1 0 46,-13 0-46</inkml:trace>
  <inkml:trace contextRef="#ctx0" brushRef="#br0" timeOffset="8856.9">2051 3823 0,'13'0'0,"93"0"16,-54 0-16,107-13 16,26 0-16,173 0 31,-226-1-31,119 1 0,14-13 16,-146 12-16,-13 14 0,-14 0 15,94-13-15,-14 0 16,-14 0-16,-52 13 15,-53-14-15,13 14 16,-39 0-16,12 0 16,-25 0-16,-1 0 15,0 0-15,0 0 16</inkml:trace>
  <inkml:trace contextRef="#ctx0" brushRef="#br0" timeOffset="11764.84">2791 5093 0,'-13'0'0,"40"0"16,12 0-16,-12 0 16,79 13-16,-54-13 15,28 0-15,79 0 0,-80 0 16,14 0-16,92 0 15,13 0-15,1 0 16,-14 0-16,-13 0 16,-13-13-16,-40 13 15,-14 0-15,-12-13 16,-53 13-16,39 0 16,-39 0-1,-27 0-15,14 0 0,-14 0 16,0 0-16,0 0 15,0 0-15,1 0 0,-1 0 32,0 0-17,-13-13 32</inkml:trace>
  <inkml:trace contextRef="#ctx0" brushRef="#br0" timeOffset="13143.38">6932 5106 0,'199'-13'16,"-120"13"-16,13 0 0,107 0 15,-93 0-15,132 0 16,278 0 0,-424 0-16,14 0 0,79 0 15,-13 13-15,-13-13 16,-106 0-16,53 0 16,-66 0-16,-14 0 0,14 0 15,-27 0-15,0 0 16</inkml:trace>
  <inkml:trace contextRef="#ctx0" brushRef="#br0" timeOffset="14552.15">2977 5794 0,'-14'14'0,"1"-14"15,53 13 1,26 0 0,-26 0-16,26 1 0,0-14 15,13 13-15,1-13 0,-1 13 16,106-13-16,0 0 15,14 0-15,-93 0 0,0-13 16,-14 13-16,1 0 0,-1 0 16,-12-13-16,-1 13 0,0 0 0,41-14 15,-68 14-15,1 0 0,-26 0 16,-1 0-16,14-13 16,0 13-16,-27 0 15,0 0-15,0 13 16</inkml:trace>
  <inkml:trace contextRef="#ctx0" brushRef="#br0" timeOffset="15511.22">7779 5794 0,'-13'14'0,"52"-14"0,-12 0 16,26 0-16,52 13 0,-25-13 15,-1 0-15,27 0 16,-13 0-16,12 0 0,1 0 0,27 0 16,144 0-16,-38 0 15,-1-13-15,-119 13 0,-27 0 16,107 0-16,-27 0 16,-27 13-16,-92-13 15,40 0-15,-40 0 16,-27 0-16,-13 0 0,14 0 15,-14 0-15,14 0 0,-14 0 16,0 0-16,0 0 16,0 13-16,1-13 15,-1 0 1,0 0 15,0 0-15,1 0 46</inkml:trace>
  <inkml:trace contextRef="#ctx0" brushRef="#br0" timeOffset="20027.09">886 6720 0,'0'27'0,"0"-14"16,14 14-16,-14-14 16,0 0-16,0 0 0,13 14 15,-13-14-15,13 0 16,-13 0 0,0-39 15,0 13-31,13-14 15,-13 14 1,13 13-16,-13-13 0,14 13 16,-1 0-1,0 0-15,0 0 16,1 13-16,-1 0 16,0 0-16,0-13 15,1 0 1,-1 0-16</inkml:trace>
  <inkml:trace contextRef="#ctx0" brushRef="#br0" timeOffset="20307.56">1177 6707 0,'14'13'15,"-1"1"-15,13-1 16,-12 0-16,12-13 15,-13 0 1,0 0-16,14 0 0,-14 0 16,0-13-1,-13 0-15,-13-14 16,0 27-16,-14-26 16,14 26-16,0-13 15,0 13-15,0 0 16,-14 0-16,14 0 0,0 0 15,-1 0 1</inkml:trace>
  <inkml:trace contextRef="#ctx0" brushRef="#br0" timeOffset="20520.21">1257 6482 0,'0'-13'16,"26"26"-1,-26 1-15,27-1 16,-14 0-16,13 13 16,-12 1-16,-1-14 0,13 14 15,1-1-15,-1-13 16,-13 1-16,1-1 16,-1-13-16,0 0 0,0 13 15,1-26 1</inkml:trace>
  <inkml:trace contextRef="#ctx0" brushRef="#br0" timeOffset="20715.18">1270 6562 0,'13'-27'15,"0"27"-15,1-13 0,-1 0 0,0 13 16,14-13-16,12-14 16,1 14-16,-27 0 15,14 13-15,-14 0 0</inkml:trace>
  <inkml:trace contextRef="#ctx0" brushRef="#br0" timeOffset="21165.94">1072 7131 0,'132'-53'0,"-92"26"15,39 1-15,-39-1 0,13 14 16,-14-13-16,41-14 0,-1 0 16,-53 27-16,54-14 15,-67 27 1</inkml:trace>
  <inkml:trace contextRef="#ctx0" brushRef="#br0" timeOffset="21375.81">1058 7250 0,'-13'13'16,"40"-13"-16,-1-13 15,27-14-15,-13 14 0,13-14 16,-1 1-16,1 0 0,0 12 16,40-39-16,26 0 15,-79 40-15,-14 0 0,-13 0 16,1 13-16,-1-13 16,0 13-16,0 0 0</inkml:trace>
  <inkml:trace contextRef="#ctx0" brushRef="#br0" timeOffset="22087.9">1799 6654 0,'93'-53'0,"-80"53"0,0-13 0,14 0 16,-14 13 0,0-13-16,0 13 15,1-14-15</inkml:trace>
  <inkml:trace contextRef="#ctx0" brushRef="#br0" timeOffset="22325.26">1945 6456 0,'66'13'16,"-26"0"-16,-27 1 15,0-1-15,0 26 16,0-12-16,-13-1 0,-13 41 16,0 12-16</inkml:trace>
  <inkml:trace contextRef="#ctx0" brushRef="#br0" timeOffset="24945.48">3400 6588 0,'0'13'16,"13"-13"-16,40 0 0,-13 0 15,13 0-15,26-13 0,186-13 16,-146-1-16,0 14 15,13-13-15,119-27 16,1 13-16,-1-13 16,-66 13-16,40 1 15,-159 39 1,-52-14 0,12 14-16,-13 0 0,0 0 15,-13 14 1,-13-1-1,0-13 17</inkml:trace>
  <inkml:trace contextRef="#ctx0" brushRef="#br0" timeOffset="26795.28">13639 3254 0,'0'27'16,"0"-1"-1,13-12-15,-13 12 0,0 0 0,0 1 16,0-14-16,0 40 0,0-40 16,0 0-16,14 14 0,-14-1 15,0-12-15,0-1 0,0 0 16,0 0-16,0 1 15</inkml:trace>
  <inkml:trace contextRef="#ctx0" brushRef="#br0" timeOffset="27065.25">13586 3307 0,'27'-53'0,"12"40"16,-25 13 0,-1 0-16,0 13 0,0 1 15,1-14-15,12 39 16,-26-25-16,13-1 0,-13 13 0,0-13 16,0 27-16,0-27 15,0 14-15,0-14 0,-13 27 16,13-27-16,-13 0 0,0 0 15,-1 14-15,14-14 16,-13 0-16</inkml:trace>
  <inkml:trace contextRef="#ctx0" brushRef="#br0" timeOffset="27261.27">13851 3453 0,'13'13'0,"0"-13"16,-13 26-16,0-12 15,14-1-15,-14 0 16,0 0-16,0 1 16,0-1-16,0 0 0,0 0 15</inkml:trace>
  <inkml:trace contextRef="#ctx0" brushRef="#br0" timeOffset="27406.46">13851 3347 0</inkml:trace>
  <inkml:trace contextRef="#ctx0" brushRef="#br0" timeOffset="27841.08">14182 3281 0,'13'-13'15,"-40"26"17,27 0-32,-13 0 15,0 1-15,13-1 0,-13 0 16,13 13 0,0-12-16,0-1 0,0 0 0,0 0 0,13 1 15,0-1-15,14 0 16,-14-13-16,0 0 15,14-13-15,12-14 16,-25 14-16,-1 0 16,13-27-16,-13 27 15,-13-13-15,14 26 0,-14-14 16,-14 41 15,14-14-15,14 0-16,-14 0 15,13-13-15,-13 14 0,13-1 0,14-13 16,-14 0-16,26 13 16,-25-13-16,-1 0 0,0-13 15,14 13-15</inkml:trace>
  <inkml:trace contextRef="#ctx0" brushRef="#br0" timeOffset="28951.81">15002 3757 0,'13'13'0,"-13"1"15,13-1-15,-13 0 16,0 0-16,14 0 0,-14 1 0,0-1 15,13 0-15,-13 0 0,0 1 0,0-1 16,13 0 0,-13 0-16</inkml:trace>
  <inkml:trace contextRef="#ctx0" brushRef="#br0" timeOffset="30046.96">15200 4247 0,'66'-14'16,"-52"14"-1,-14 14 1,0 12-16,-14 0 0,14-12 15,-13-1-15,13 0 16,-13 0-16,13 1 16,-13-1-16,13 0 15,13 0 1,0-13-16,14-13 16,-1 13-16,-13-13 15,14 13-15,-14-13 0,0 13 16,14-14-16,-14 14 0,0 0 15,14-13-15,-14 13 0</inkml:trace>
  <inkml:trace contextRef="#ctx0" brushRef="#br0" timeOffset="30654.82">15531 4538 0,'27'0'16,"-14"13"0,-13 0-1,0 0-15,0 1 16,13-14-16,-13 26 15,13-13-15,0 0 0,1-13 16,-1 27-16,-13-14 16,13 0-16,-13 1 15,0-1-15,-13 0 16,0 0-16,-1 0 16,1 1-16,0-1 0,0-13 15,13 13-15,-13-13 16</inkml:trace>
  <inkml:trace contextRef="#ctx0" brushRef="#br0" timeOffset="31298.14">16576 4075 0,'0'39'16,"-13"-39"-16,13 14 0,-13 12 15,-1-13-15,14 0 16,-13 1-16,13-1 0,-13 0 16,13 14-16,0-14 0,0 0 15,13 0 1,-13 0-16,27 1 0,-14-14 0,0 0 16,0 13-16,27-13 15,-27 0-15,1 0 0,-1 0 16,0 0-16,0-13 0,14 13 15,-14 0-15,13-14 0</inkml:trace>
  <inkml:trace contextRef="#ctx0" brushRef="#br0" timeOffset="31498.96">16669 3995 0,'0'66'0,"13"-52"0,-13 12 16,0-13-16,13 14 0,-13 26 15,13-14-15,-13-12 0,14-1 16,-14 1-16,0 26 16</inkml:trace>
  <inkml:trace contextRef="#ctx0" brushRef="#br0" timeOffset="32664.06">17119 4538 0,'39'-27'16,"-26"27"0,-39 0-1,13 13 1,0-13-16,-1 14 16,14 12-1,14-13 16,-1 1-31,0-1 16,0 0-16,0-13 0,-13 13 16,0 0-16,-13 14 31,-13-1-31,-1-12 16,1-1-16,13 0 15,-1-13-15,1 13 0,0-13 16,0 0-16</inkml:trace>
  <inkml:trace contextRef="#ctx0" brushRef="#br0" timeOffset="33034.65">17846 4260 0,'-26'53'16,"12"-27"-16,14 1 16,-13 12-16,13-12 0,0-14 15,0 0-15,0 0 0,13 14 16,-13-14-16,14 0 15,12-13-15,-26 14 16,13-14-16,1-14 16,-14 1-1,0 0 1,-14 13-16,1 0 0,13-13 16,-13 13-1,-14 13-15,14-13 16,0 13-16</inkml:trace>
  <inkml:trace contextRef="#ctx0" brushRef="#br0" timeOffset="33351.86">17926 4710 0,'26'-14'0,"27"1"16</inkml:trace>
  <inkml:trace contextRef="#ctx0" brushRef="#br0" timeOffset="33522.87">17926 4789 0,'39'-13'16,"-26"13"-1,1 0-15,12-14 0,-13 14 16</inkml:trace>
  <inkml:trace contextRef="#ctx0" brushRef="#br0" timeOffset="36345.83">14817 3572 0,'-27'53'0,"14"-14"0,0 1 16,13 0-16,-13 0 0,13-1 0,-14 14 16,14 0-16,0 40 15,0-27-15,0-13 0,14 0 16,-14 13-16,13-13 0,0 66 0,0-66 16,0-14-16,1 1 15,12 0-15,-13-14 0,1 14 0,25 26 16,14 0-16,-26-39 15,12-1-15,-12 1 0,12-14 16,1 13-16,-13-13 0,65 14 16,-52-14-16,0 0 0,13 1 0,79 12 15,-66-26 1,0 13-16,13 1 0,-12-14 0,12 13 16,0-13-16,1 13 0,78 0 15,14-13-15,-79 0 16,0 0-16,79 0 0,-80 0 15,1 0-15,-1 0 0,1 0 0,-14 0 16,93-13-16,-92 13 16,-1 0-16,1-13 0,-1 13 0,80-27 15,-93 14-15,0 0 0,13 0 16,-12-14-16,-1 14 0,0 0 16,0-14-16,-13 14 0,0-13 0,0-1 15,-14 14-15,1 0 0,0-14 16,-14 1-16,40-14 0,-39 14 15,-1-1-15,1 1 0,-14-1 16,27-39-16,-14 0 16,-13 39-16,1-12 0,-1-1 15,-13 0-15,0 14 0,0-40 16,0 26-16,0 0 0,0 1 0,-27-67 16,14 79-1,0-12-15,0 12 0,-1-12 16,1-1-16,0 13 0,-27-39 0,14 13 15,-27-26-15,13 53 16,14-14-16,-54-26 0,27 39 16,14-12-16,-67-1 0,40 13 15,13 1-15,-79 0 16,52-1-16,-65 1 0,65 12 16,1 1-16,-93 0 15,-13-14-15,92 27 16,1-13-16,-1 13 0,0 0 0,-12 0 15,12 0-15,-13 0 0,0 0 16,-26 0-16,0 13 0,13 1 0,-14-14 16,14 13-16,-92 13 0,118-12 15,0 12-15,-79 1 0,93-1 16,13-13-16,-133 67 16,133-54-16,-40 40 15,1 0-15,52-26 16,-27 39-16,1 1 15,52-27-15,-12 53 16,39-54-16,13-25 16,13-14-16,1 14 0,26-14 15,66-13-15,-26 0 0</inkml:trace>
  <inkml:trace contextRef="#ctx0" brushRef="#br0" timeOffset="36868.87">19341 3281 0,'-93'13'15,"80"0"-15,0-13 16,13 14 0,13-1-16,0 13 0,14-13 15,-27 1-15,13-1 0,0 0 16,1 0-16,-1 1 16,0-1-16,-13 0 0,13 0 15,-13 0-15,-13 14 16,0-14-1,0-13-15,-1 13 0,-25 1 16,-1-1-16,27 0 0,0-13 16,-1 0-16,-12 13 15,-1-13-15</inkml:trace>
  <inkml:trace contextRef="#ctx0" brushRef="#br0" timeOffset="37167.15">19698 3321 0,'-66'-14'0,"40"28"0,12-14 31,1 13-31,26 13 15,-13-13-15,14 1 0,12 12 16,-26-13-16,13 1 0,1 12 16,-14-13-16,13 14 15,-13-1-15,-13-13 0,13 1 16,-14-1-16,-25 13 16,-1 1-16,27-27 0,-14 13 15,14 0-15,-13-13 0,-27 13 16,26 1-16,-39-1 15,26 0-15,14-13 0</inkml:trace>
  <inkml:trace contextRef="#ctx0" brushRef="#br0" timeOffset="38012.96">16761 4432 0,'0'13'16,"27"-26"-16,-14 13 15,0-13-15,1 13 0,-1-14 16,13 1-16,14 0 16,-27 0-16,14-27 0,-1 13 15,0-12 1,-12 12-16,-1-26 16,0 27-16,-13 0 0,0-107 15,-13 94-15,13 12 16,-13-13-16,-27-13 15,14 1-15,12 38 0,-25-12 16,12 26-16,-26-13 16,-13 13-16,26 0 15,-92 26-15,40 14 16,52-14-16,0 1 16,-26 52-16,0-13 15,26 14-15,14-14 16,12 13-16,14-52 15,0-1-15,14 27 16,12 13-16,-13-39 0,14-1 16,26 0-16,0 1 15,-27-27-15,80-13 16,-27-1-16,-26-12 16,0-14-16,40-26 0,-53 26 15</inkml:trace>
  <inkml:trace contextRef="#ctx0" brushRef="#br0" timeOffset="38389.8">17092 3717 0,'119'-145'0,"-92"105"0,12 0 16,1-12-16,0 12 0,13-13 0,-1-26 16,81-54-16,-1-12 15,0-1-15,-79 80 16,13 13-16,-13 0 0,0 14 0,0-1 15,40-39-15,-14 12 16,-13 28-16,-26 12 16,0-12-16,-27 25 0,13 14 15,-12-13-15,-1-13 16,0 26-16,-13-14 0,13 1 16,-13 0-1</inkml:trace>
  <inkml:trace contextRef="#ctx0" brushRef="#br0" timeOffset="38654.12">18402 2077 0,'92'0'16,"-39"26"-16,0 41 31,-53-54-31,0 40 0,0-14 16,-13 1-16,-13 39 16,-14 27-16,13-66 15,1 13-15,13-27 16,13-12-16,-14 12 0</inkml:trace>
  <inkml:trace contextRef="#ctx0" brushRef="#br0" timeOffset="39080.01">19248 1931 0,'-105'14'16,"105"-1"-16,-27 13 15,14 1 1,26-14-16,-13 14 0,13-14 16,-13 0-16,27 27 15,-1-14-15,-12-13 0,12 27 16,-13-14 0,-13-12-16,0-1 15,0 0-15,-13 14 0,0-1 16,0-13-16,-14 1 0,1-1 15,12 0-15,-52 0 16,40-26 0</inkml:trace>
  <inkml:trace contextRef="#ctx0" brushRef="#br0" timeOffset="39305.05">19447 1984 0,'26'27'16,"-26"-1"-16,0-12 0,0-1 16,0 0-16,0 0 0,0 14 15,0-1-15,0-13 0,0 1 16,0-1-16,0 0 0,0 0 15,0 0-15</inkml:trace>
  <inkml:trace contextRef="#ctx0" brushRef="#br0" timeOffset="39567.99">19579 1812 0,'132'-13'16,"-118"26"0,-1 1-16,0-1 0,-13 0 15,0 0-15,-26 27 16,12-27-16,-38 40 0,25-26 0,-13-14 15,14 13-15,-40 1 16,26-1-16,14-13 16</inkml:trace>
  <inkml:trace contextRef="#ctx0" brushRef="#br0" timeOffset="46844.95">22516 5741 0,'-26'146'15,"12"-120"-15,1 14 0,0 13 16,0-27-16,-1 1 16,1-1-16,13-12 0,0 12 15,-13 1-15</inkml:trace>
  <inkml:trace contextRef="#ctx0" brushRef="#br0" timeOffset="47153.03">22807 5874 0,'-13'0'0,"26"0"0,-53 0 16,14 13-16,-1 0 16,-25 0-16,-1 27 15,13-27 1,13 14-16,14-27 0,-13 26 15,13-13 1,13 1 0,13-1-16,0-13 15,0 0-15,14 13 0,-14-13 16,27 0-16,-1 0 16,-25 0-16,12 0 15,27 0-15,-27 0 16,1 0-16,26-13 0</inkml:trace>
  <inkml:trace contextRef="#ctx0" brushRef="#br0" timeOffset="47809.41">23230 6099 0,'-26'0'16,"26"-14"0,-13 14-16,0-13 15,13 0-15,0 0 0,-27-40 16,27 26 0,13 1-16,-13-1 15,0 14-15,14 0 16,-14 0-16,13 13 15,0-13-15,0 39 32,-13 0-17,13-39 32,-13 0-31,14 0-16,12-14 15,-13 14-15,14 0 16,12 0-16,-25 13 16,12 0-16,1 0 15,-1 13-15,-26 0 0,0 0 16,0 1-16,-26 25 31,12-26-31,1 1 0,0-1 0,-27 13 16,27-12-16,0-14 15,0 13-15,-14 0 16,14 0-16</inkml:trace>
  <inkml:trace contextRef="#ctx0" brushRef="#br0" timeOffset="48247.24">22410 6813 0,'0'53'16,"0"-40"-16,-13 0 0,13 14 16,-13-1-16,13-12 15,-27 25-15,27-12 0,0-14 0,-13 0 16,13 14-16,0-14 16,13-13-16</inkml:trace>
  <inkml:trace contextRef="#ctx0" brushRef="#br0" timeOffset="48511.65">22701 6892 0,'-26'0'16,"13"0"-16,-1 0 0,1 0 0,-13 14 0,12-14 16,120-14-16,-265 54 0,120-27 15,26 1-15,-1-14 16,14 13-16,-26 13 15,13-13-15,13 1 16,13-1-16,0-13 16,27 13-16,-27-13 15,0 13-15,0-13 16,14 0-16,13 0 0,-14-13 16,1 13-16,12-13 0,-12 13 0,-1 0 15</inkml:trace>
  <inkml:trace contextRef="#ctx0" brushRef="#br0" timeOffset="49195.85">23217 6945 0,'13'14'15,"-13"-1"-15,0 0 0,0 0 16,0 0-16,14 14 16,-14 13-1,0-27-15,0 0 0,0 0 16,0 1-1,13-1-15</inkml:trace>
  <inkml:trace contextRef="#ctx0" brushRef="#br0" timeOffset="50196.06">23191 6972 0,'-13'0'16,"-1"0"-16,1 0 0,-27 0 31,40-13-31,-13 13 0,0 0 16,0-14-16,-14 1 15,14 0-15,0 0 16,0-1-16,-1 1 0,1 0 16,13 0-1,0-1-15,0 1 0,0 0 16,13 0-16,1 0 15,-1-1 1,0 14-16,0-13 16,0 13-16,1 0 0,-1 0 15,0 13 1,0-13 0,-13 14-1,0-28 48,14 1-48,-1-13 1,-13 12-16,13 1 0,0 0 16,1 0-1,-14 0-15,13 13 0,13-27 16,-13 27-1,1 0-15,-1 0 16,0 13 0,-13 1-16,0-1 15,0 0 1,0 0 0,27-26 15,-27 0-16,13 13-15,-13-13 16,26 13-16,-13 0 16,1 0-16,-1 0 0,0 13 15,0 0-15,1-13 16,-14 13-16,13-13 0,-13 13 0,13 1 16,-13-1-16,0 0 15,0 0-15,-13 1 16,0-14-16,-1 26 0,1-13 0,-27 14 15,27-27-15,0 13 16,0-13-16,13 13 0,-13-13 16,-1 13-16</inkml:trace>
  <inkml:trace contextRef="#ctx0" brushRef="#br0" timeOffset="51000.96">22529 7739 0,'13'0'15,"-26"27"1,13-14 0,0 13-16,-13-13 0,0 14 0,13-14 15,-13 14-15,13-14 0,-14 13 16,1 14-16,13-27 0,0 0 16,0 1-16,13-14 0</inkml:trace>
  <inkml:trace contextRef="#ctx0" brushRef="#br0" timeOffset="51258.99">22754 7818 0,'-66'0'16,"53"14"-16,-14-1 0,1 0 15,-1 0-15,14 1 16,-13 12-16,26-13 15,0 1-15,0-1 16,0 0-16,13-13 0,0 13 16,0-13-16,1 13 0,-1-13 15,27 14 1,-27-14-16,0 0 0,0 0 16,0-14-16,14 14 15,-14 0-15</inkml:trace>
  <inkml:trace contextRef="#ctx0" brushRef="#br0" timeOffset="52908.96">23310 7990 0,'-13'14'125,"13"-1"-110,-14-13-15,14 13 16,-13-13-16,0 0 15,13 13-15,-13-13 0,-1 0 16,1 0-16,0 0 16,0 0-16,0 0 15,-1-13 1,1 13-16,0 0 0,0-13 16,-1 0-16,1 13 15,0-14-15,0 1 16,-1 13-16,14-13 15,-13 13-15,13-13 0,-13 0 16,13-1 0,-13 14-16,13-26 0,-13 13 15,13-1 1,0 1-16,0 0 16,0 0-1,0-1-15,0 1 16,13 0-16,-13 0 15,13 0-15,0-1 16,0 1 0,1 0-16,-1 13 15,0-13-15,0 13 0,1 0 0,-1-14 16,0 14-16,0 0 0,1 0 16,-1-13-16,0 13 15,0 0-15,0 0 0,1 0 16,-1 0-16,0 0 15,0 0-15,1 0 16,-1 13 0,0-13-16,0 0 15,0 14-15,1-14 16,-14 13 0,13-13-16,-13 13 15,13-13 1,-13 13-1,13-13 17,-13 14-17,0-1 204,0 0-203,-13-13-16,13 13 15,0 0 1,-13 1-16,13-1 31,0 0-15,-13 0-1,13 1 1,-14-1 15,14 0 32</inkml:trace>
  <inkml:trace contextRef="#ctx0" brushRef="#br0" timeOffset="53694.66">23297 7818 0,'-27'14'0,"27"-1"15,0 0 1,0 0-1,27-39 1,-27-1 0,0 14-1,0 0-15,0 0 16,-14 13-16,1-13 0,0 13 16,-14 0-16,1 13 0,13-13 15,0 13-15,-1 0 0,-12 0 16,-1 14-16,27-14 15,0 0-15,0 1 16,14-14-16,-1 0 0,13 0 16,-12 0-16,12-14 0,-13 14 15,14-13-15,-14 0 16,0 0-16,0-1 0,1 1 16,-41 26 15,14 1-31,0-1 0,-14 0 15,14 14-15,13-14 0,-13 0 0,0 0 16,13 1-16,0-1 0,0 0 16,0 0-16,13 0 0,0-13 15,13 0 1,-12-13-16,-1 0 16,13 0-16,-12 0 0,-1-1 15,0 14 1,-26 14 15,13 12-15</inkml:trace>
  <inkml:trace contextRef="#ctx0" brushRef="#br0" timeOffset="55840.99">23958 7911 0,'0'-13'16,"-13"26"31,13 0-31,0 1-1,-13-14 1,13 13-1,0 0-15,-14-13 16,14 13-16,-13-13 16,0 0-16,13 13 15,-13-13-15,-1 0 16,1 0 0,-27 0-1,27 0-15,-13-13 16,-1 13-1,14 0-15,0 0 0,13-13 16,-27 13-16,14-13 16,0 13-16,13-13 15,-13 13-15,0-14 0,13 1 16,-14 13-16,14-13 16,0 0-16,-13-1 0,13 1 15,0 0 1,0 0-16,-13-1 15,13 1-15,0 0 16,13 0 0,-13-14-16,13 27 15,-13-13-15,0 0 16,14 0-16,-1-1 16,-13 1-16,13 13 0,0-26 0,0 26 15,1-27-15,12 14 16,-13 0-16,1 0 15,-1-1-15,13 1 16,-13 0-16,1 0 16,-1 13-16,-13-14 15,13 14-15,14-13 0,-14 0 16,0 13-16,0-13 0,1-1 16,-1 1-16,0 13 15,0-13-15,-13 0 16,13 13-16,-13-13 0,14 13 15,-14-14-15,13 14 0,-13-13 16,13 13-16,-13-13 16,13 0-1,1 13 48,-14 13-48,13 0-15,-13 0 16,0 1-16,13-1 16,-13 0-16,0 0 15,13 0-15,-13 1 16,14-1-16,-14 13 16,13-12-16,0-1 0,-13 0 15,13 0-15,-13 1 16,0-1-16,13 0 0,1 0 15,-14 0-15,13 14 16,0-14-16,-13 0 16,13-13-16,-13 14 15,14-1-15,-14 0 0,0 0 16,13 1-16,-13-1 16,0 0-1,0 0 1,0 0-16,0 1 15,0-1-15,0 0 16,0 0 0,0 1-16,-13-14 15,13 13-15,-14 0 16,1 0 0,0-13-1,0 14-15,-1-14 16,1 0-1,0 13-15,-13-13 16,-1-13 0,14 13-1,-14-14-15,14 14 16,0-13-16,0 13 16,13-13-16,-14 13 15,1-13 1,26 26 62,-13 27-47,-13-27-31,0 26 0,-13 41 16,12-54-16,1 14 15,0 0-15,-14-1 0,14 27 16,-13 14-16,26-40 16,-14-27-16,14 0 15</inkml:trace>
  <inkml:trace contextRef="#ctx0" brushRef="#br0" timeOffset="56610.75">22582 8705 0,'13'26'16,"-13"-13"-16,0 1 0,-13-1 15,13 13-15,-13 1 16,13-1-16,-13 1 0,-14 39 0,14-53 16,-13 27-16,26-27 15,0 0-15,0 1 16,0-1-16</inkml:trace>
  <inkml:trace contextRef="#ctx0" brushRef="#br0" timeOffset="56849.47">22834 8758 0,'-14'0'15,"1"0"-15,-13 13 0,79-26 0,-120 26 16,41-13-16,13 13 0,-1 0 16,-12 1-16,0 12 0,12-13 15,14 1-15,-13-14 16,13 13-16,0 0 15,13-13-15,-13 13 0,14-13 16,-1 13-16,0-13 16,13 0-16,-12 0 15,-1 0-15,27 0 0</inkml:trace>
  <inkml:trace contextRef="#ctx0" brushRef="#br0" timeOffset="57147.92">23230 8678 0,'-13'27'16,"-40"39"-1,40-53-15,0 0 16,0 1-16,-1-1 0,1 0 16,-13 14-16,12-14 0,1 0 15</inkml:trace>
  <inkml:trace contextRef="#ctx0" brushRef="#br0" timeOffset="57386.99">23310 8705 0,'13'13'15,"0"-13"-15,-13 13 0,13 0 16,-13 1-16,14-1 16,-1 0-16,-13 0 0,13-13 15,14 27-15,-14-14 16,0 0-16,-13 1 16,13-14-1</inkml:trace>
  <inkml:trace contextRef="#ctx0" brushRef="#br0" timeOffset="57780.17">23151 8890 0,'27'53'0,"-14"-40"15,-13 0-15,13 14 16,0-1-16,-13-12 16,13 12-16,-13 0 15,14-12-15,-14-1 16,0 0-16,13-13 15,0 0-15,0 0 16,1-13-16,12 0 16,-13 13-16,0-14 0,1 1 15,12 0-15,-13-13 0,1 12 0,-1 1 16,13 0-16,-12 0 16,12-14-16,-13 14 15,0 13-15,-13-13 0</inkml:trace>
  <inkml:trace contextRef="#ctx0" brushRef="#br0" timeOffset="59724.81">22344 5490 0,'-40'-66'0,"1"92"31,25 1-31,-12 39 0,13-26 16,0-1-16,-14 67 0,14-53 15,-14 0-15,-12 66 16,25-66-16,-12 0 0,13 0 15,-14 0-15,1 0 0,-14 0 0,14-14 16,-1 14-16,1-13 0,-27 13 16,40-27-16,-14 1 15,14-1-15,0-26 16,26-13 0,0 0-1,0 0-15,27-1 0,-27 14 16,1 0-16,-1 14 0,0-1 0,0 0 15,1 13-15,-1 14 0,0 53 16,-26-14-16,0-13 0,-14 40 16,1 0-16,-41 119 15,-12 13-15,0 0 16,52-119-16,-12 0 0,-1 106 16,13-26-16,27-28 15,14-12-15,12 0 16,-13-93-1,1 0-15,25 40 0,-12-53 0,-14-13 16,13-14-16,-12 14 0,12-14 16,14 1-16,13-1 0,-27-13 15,-13 1-15,14-14 0,-14 0 16</inkml:trace>
  <inkml:trace contextRef="#ctx0" brushRef="#br0" timeOffset="60266.23">21127 7832 0,'26'0'31,"1"0"-31,-1 0 16,-12 0-16,25 0 15,-26 0-15,27 0 16,-13-14-16,-14 14 0,13 0 16,1 0-16,-14-13 15,0 13-15</inkml:trace>
  <inkml:trace contextRef="#ctx0" brushRef="#br0" timeOffset="60500.82">21365 7633 0,'66'27'15,"-53"-14"-15,1 0 16,-1 0-16,0 14 0,0 13 15,1 12-15,-14 1 16,0-39-16,-14 12 0,14 1 16,-26 25-16,-1-12 15,14 0-15,0-27 0,0 0 16,-14 14 0,14-14-16</inkml:trace>
  <inkml:trace contextRef="#ctx0" brushRef="#br0" timeOffset="61675.31">22450 9181 0,'13'27'0,"0"-27"0,14 0 16,-14 0-16,13 0 15,1 0-15,13 0 16,-1-14-16,-12 1 0,-1 0 15,14 0-15,-27-1 16,14 1-16,12-13 0,-25 12 16,12-12-16,-13 13 15,-13 0-15,13-1 0,1 1 16,-1-13-16,-13 12 0,13-25 0,0-1 16,1-13-1,-14 40-15,13-27 16,-13 27-16,13-27 0,-13 14 15,-13-1-15,13 14 16,-13 0-16,13 0 0,-14-1 16,-12-25-1,13 25-15,-1 1 0,1 13 16,-13-13-16,-27 0 16,13 26-16,14-13 15,-27 13-15,26-13 0,-12 13 16,-28 14-16,1 13 15,13-1 1,-13 41-16,53-54 16,-40 93-1,40-39 1,13-54-16,0-13 16,0 27-16,0-27 15,13 14-15,0-14 16,1-13-16,-1 0 15</inkml:trace>
  <inkml:trace contextRef="#ctx0" brushRef="#br0" timeOffset="62014.37">22450 8969 0,'-53'-13'15,"40"13"-15,-186 53 32,80-26-17,0 12-15,66-12 16,-132 39-16,-13 13 16,131-52-1,-65 26-15,-66 26 16,92-39-16,53-27 15,0 0-15,13 14 0,1-14 16,-54 13-16,67-13 16,12-13-16,1 14 0,-13-14 15,13 0 1,-1 13-16,1-13 16</inkml:trace>
  <inkml:trace contextRef="#ctx0" brushRef="#br0" timeOffset="62283.82">20704 9300 0,'-66'66'16,"39"-39"-16,14 12 0,-27 28 15,0-1-15,14 13 16,0 14 0,26-67-16,13 14 15,0-27-15,0 13 0,14-12 16,-1-1-16,40 13 0,14-26 16,-27 0-16,79-26 15,-66 26-15,66-27 16,-66 14-16,27-13 0</inkml:trace>
  <inkml:trace contextRef="#ctx0" brushRef="#br0" timeOffset="65285.88">23151 8837 0,'13'0'15,"1"-13"1,12 0 15,-13-1-31,0 1 16,1 13-16,-1-13 0,13-27 31,-12 40-31,-1-13 0,0 0 31,0 0-15,0 13-16,1 0 31,-1 0-31,-13 13 0,26 0 16,-26 0-16,14-13 0,-1 13 16,0 1-16,0-1 15,1 0-15,-1 0 0,0 1 0,0-14 16,0 26-16,1-26 0,-1 13 15,0 1-15,-13-1 16,13-13-16,1 13 16,-1 0 15</inkml:trace>
  <inkml:trace contextRef="#ctx0" brushRef="#br0" timeOffset="70564.85">23111 7885 0,'27'-40'0,"-14"40"16,-13-13-16,-26 26 62,12 0-62,1 0 16,0 1-16,39-28 47,-12-12-31,-1 13-16,-13-40 15,-13 40 1,-1-1-16,14 1 15,-13 13-15,0 0 0,-40 13 16,40 1 0,0-1-16,-1 0 15,28 0 1,-1-13-16,13 0 16,-13 0-1,14-13-15,92-27 16,-106 40-16,14-13 15,-1 0-15,-26 0 16,13 13-16,-26 13 31,0 0 1,26 0-17,-13 1 1,0-1-1,0 0-15,0 27 0,-13-27 16,13 13-16,-13 27 16,-1 0-1,14-26 1,0-14-16,0 0 16,14-13-1,-14 13 1,0 1-16,0-1 15,0 0-15,-14 93 32</inkml:trace>
  <inkml:trace contextRef="#ctx0" brushRef="#br0" timeOffset="72417.03">22569 9274 0,'-40'0'16,"27"0"-16,0 0 0,0 0 16,-27-27-16,27 27 15,-14-26-15,14 13 0,0 13 16,-14-27-16,-26 1 15</inkml:trace>
  <inkml:trace contextRef="#ctx0" brushRef="#br0" timeOffset="81907.89">21855 2024 0,'-27'172'16,"14"-132"-1,13-1-15,0 1 0,-13 13 16,13 0-16,0-27 0,0 1 16,0-1-16,-14-12 0,14-1 15,0 13-15,0-13 0,0 1 16,0-1-16,14-40 31,-14 14-31,13-13 0,0-27 16,0-27-16,1 41 0,-1-1 15,-13 0-15,13-13 16,0 27-16,14-53 0,-14 26 16,0 40-16,0-14 0,1 14 15,-14 0-15,13 13 0,13-14 16,-12 28-16,-1-14 15,0 13-15,0 27 0,0-14 16,-13 0-16,14-12 0,-14 12 16,0 1-16,13 25 0,-13-25 15,0-14-15,0 27 0,0-14 16,0-12-16,0-1 0,0 0 16,0 0-16,0 14 0,13-27 15,-13 13-15,0 0 16</inkml:trace>
  <inkml:trace contextRef="#ctx0" brushRef="#br0" timeOffset="82122.38">21868 2381 0,'40'-13'0,"-27"13"0,26-13 16,-12 13-1,13-13-15,-1 13 0,-26 0 16,1 0-16,25-14 16</inkml:trace>
  <inkml:trace contextRef="#ctx0" brushRef="#br0" timeOffset="85860">22384 2222 0,'13'0'0,"0"14"16,0-14-16,1 13 0,-1-13 0,13 13 15,-12 0-15,12-13 0,-13 14 16,14-1-16,-1 0 0,-13 0 0,14 1 15,-14-1-15,14-13 0,-14 13 16,0-13-16,0 13 0,0-13 0,1 13 16,-1-13-16,0 14 0,0-14 15</inkml:trace>
  <inkml:trace contextRef="#ctx0" brushRef="#br0" timeOffset="86234.78">22410 2209 0,'53'-39'16,"-26"25"-16,-14 14 15,13-13-15,-13 13 0,1-13 0,12 13 16,1-13-16,-14-1 0,0 14 0,0-13 15,14 13-15,-1-13 16,-13 0-16,1 13 16,-1-13-16,0 13 0,0 0 15,-13-14-15</inkml:trace>
  <inkml:trace contextRef="#ctx0" brushRef="#br0" timeOffset="86559.97">22741 1931 0,'13'-13'16,"0"13"-1,1 13-15,-1-13 0,0 0 0,0 0 16,1 14-16,-1-14 0,0 13 16,0-13-16,0 13 0,1-13 15,-1 13-15,0 1 0,-13-1 16,0 0-16,0 0 15,0 1-15,-13-1 0,0 13 16,13-13-16,-14 1 0</inkml:trace>
  <inkml:trace contextRef="#ctx0" brushRef="#br0" timeOffset="87260.25">22741 2315 0,'26'13'0,"-26"1"0,14-14 16,-14 13-16,13 0 0,0 0 15,-13 0-15,13 14 16,1-14-16,-14 0 0,13-13 16,-13 14-16,0-1 0,0 0 15,0 0-15,0 1 0,0-1 16,-13-13-16,-1 13 0,14 0 0,-13 0 16,0-13-16,0 14 0,-1-1 15,1 0-15</inkml:trace>
  <inkml:trace contextRef="#ctx0" brushRef="#br0" timeOffset="90761.08">22582 648 0,'-26'-26'15,"12"26"-15,14-13 0,-13 13 16,0 0 0,0 13-1,0 26 1,-1-12-16,-12 39 0,26-26 15,-13-1-15,-1 41 0,14 26 16,0-67 0,0-12-16,0-1 0,0 1 0,0-1 15,14 1-15,-14-1 0,0 1 16,13-1-16,-13-13 0,0 0 16,0 14-16,13-14 0,-13 0 0,0 1 15</inkml:trace>
  <inkml:trace contextRef="#ctx0" brushRef="#br0" timeOffset="91006.91">22066 1244 0,'0'-14'0,"53"1"16,-40 0 0,14 13-16,-1-13 0,14-1 0,0 1 15,13 13-15,-14-13 0,1 0 0,0-1 16,-1 1-16,1 0 0,0 13 16,-14-13-16,-13 13 0,14-13 0,-14 13 15</inkml:trace>
  <inkml:trace contextRef="#ctx0" brushRef="#br0" timeOffset="91427.02">22820 966 0,'-26'13'0,"13"0"0,-1 0 16,1 1-16,13-1 0,-13 0 15,13 0-15,-13 1 16,13-1-16,0 0 0,0 0 0,-14-13 16,14 13-16,14 1 15,12-28 1,1-12-1,-27 13 1,13 0-16,0-1 16,-13 1-16,13 13 0,-13-13 15,14 39 17,-14 1-17,0-14-15,0 0 16,0 0-16,0 1 0,13-1 15,0 0 1</inkml:trace>
  <inkml:trace contextRef="#ctx0" brushRef="#br0" timeOffset="91847.15">23111 926 0,'-26'-13'16,"13"13"-16,-1 0 0,14 13 0,-13-13 16,0 13-16,0 0 15,0 1-15,-1-1 0,14 0 16,-13 0-16,13 1 0,0 12 16,0-13-16,0 1 0,13-1 15,-13 0-15,0 0 0,14-13 0,-1 13 0,0 1 16,0-14-16,0 0 0,1 0 15,12 0-15,-13 0 0,14-14 0,-14 14 16,27-26-16,-27 13 16,0 13-16,0-13 0,1-1 0,-14 1 15,13 13-15,-13-13 0,-27 26 47,27 14-31,0-14-1,0 0-15,0 0 0,14 0 16,-1-13-16,0 14 16,0-14-16,-13 13 0,14-13 15,12 13 1</inkml:trace>
  <inkml:trace contextRef="#ctx0" brushRef="#br0" timeOffset="92136.95">22503 1495 0,'39'-27'0,"-12"27"15,-14-13-15,27 0 0,13 0 0,0 0 16,0-1-16,13 1 0,-13-13 16,13 12-16,-13 1 0,39 0 0,-39 0 15,-13-1-15,0 14 16,-1 0-16,-12-13 0,-1 13 0,-13 0 16,1 0-16,-1 0 0,0 13 0</inkml:trace>
  <inkml:trace contextRef="#ctx0" brushRef="#br0" timeOffset="92367.43">22714 1508 0,'106'-13'16,"-13"0"-16,-53-1 0,13 14 15,-14-13-15,14 13 0,-13-13 0,0 13 16,-14-13-16,0 13 0,1 0 16,-1-13-16,40 13 15,-52 0-15,-1 0 0,0-14 16,0 14-16,1 0 0,-1 0 16</inkml:trace>
  <inkml:trace contextRef="#ctx0" brushRef="#br0" timeOffset="103866.73">22331 3572 0,'-13'172'15,"-1"-159"1,1 93-16,13-93 0,0 0 16</inkml:trace>
  <inkml:trace contextRef="#ctx0" brushRef="#br0" timeOffset="104159.06">22582 3704 0,'-106'27'16,"27"26"-1,66-53-15,0 13 0,-1 0 0,1 0 16,0 0-16,0 1 0,13-1 16,0 13-1,13-26-15,13 14 16,-12-14 0,-1 0-16,0 0 0,13 0 15,-12 0-15,-1 0 0,13 0 0,-12 0 16,-1 0-16,0 0 0,0 0 15</inkml:trace>
  <inkml:trace contextRef="#ctx0" brushRef="#br0" timeOffset="104859.2">22265 4220 0,'39'-13'0,"-25"0"0,12 13 15,14-14-15,-14 14 0,1-13 0,-14 13 16,13-13-16,-12 13 0,-1 0 16,13-13-16,1 0 15,-54 13 32,14 13-47,0 0 16,0 13-1,13-12-15,0-1 0,0 0 0,0 14 16,0-14-16,0 0 16,0 0-16,13 0 0,-13 1 0,0-1 15,0 0-15,-13 0 0,13 1 16,-14-1-16,14 0 0,-13-13 15,0 13-15,13 1 0,-13-14 16,-1 13-16,-12-13 0,13 13 16,0-13-16,-1 0 0,1 0 15,0 13-15,0-13 16,-1 13-16</inkml:trace>
  <inkml:trace contextRef="#ctx0" brushRef="#br0" timeOffset="105823.25">22357 4167 0,'-13'40'0,"0"-14"15,13-12-15,0 12 16,-13-13-16,13 14 0,0-14 0,13 13 0,-13-12 15,0-1-15,13 13 0,-13-12 16,27-1-16,-14 0 0,26 0 16,-25-13-16,-1 0 15,13-13-15,1 0 0,-14 13 0,13-27 16,1 1-16,-1-1 0,-12 1 16,-1-1-16,0-12 0,-13-1 0,0 14 0,0-1 15,0 1-15,-13-1 16,13 1-16,-13 13 0,-14-27 15,1 27-15,12 13 0,1 0 16,0 0-16,0 13 0,0 0 16,-1 0-16,1 1 0,0 12 0,13 1 15,-13-14-15,13 13 0,0 14 16,0-14-16,13 1 0,-13 12 0,13 1 16,0-13-16,1-1 0,-1 1 15,-13-1-15,13 0 0,0-12 0,0 12 16,1-13-16,-1 14 0,-13-14 15,13 0-15,0 1 0,-13-1 0,0 0 16,14 0-16,-14 0 16,0 1-16</inkml:trace>
  <inkml:trace contextRef="#ctx0" brushRef="#br0" timeOffset="106232.17">22397 4802 0,'119'-66'16,"-106"66"-1,0-13-15,1 13 0,-1-13 16,0 13-16,0 0 15,-13 13 1,14 13 0,-14-13-16,0 14 0,0-14 15,0 0-15,0 1 0,0 12 16,13-13-16,-13 14 0,0-14 16,0 13-16,13-12 0,-13-1 0,0 13 15,0-12-15,0-1 0,-13 0 16,13 0-16,-13 14 0,-1-14 0,1 0 15,0 0-15,0 1 0,-14-14 0,14 13 16,0-13-16,0 13 16,-14-13-16,14 13 0,0-26 0,-1 26 0,1-13 15,-13 0-15,13 14 0,-1-14 16,1 0-16</inkml:trace>
  <inkml:trace contextRef="#ctx0" brushRef="#br0" timeOffset="107044">22079 3585 0,'0'423'16,"0"-330"-16,14 0 0,-14 12 0,0-12 0,0 0 15,0-1-15,0-12 0,0 12 16,0-12-16,0 65 0,0-79 16,0-13-16,0 40 0,0-53 15,0-14-15,0 0 0,0-12 16,0-1-16</inkml:trace>
  <inkml:trace contextRef="#ctx0" brushRef="#br0" timeOffset="107758.06">21921 3612 0,'158'-53'0,"107"-27"31,-119 54-31,-1-14 16,-26 14-16,-53 12 16,-26 1-16,53 0 15,-67 0-15,1 13 0,-14 0 0,26 0 16,-25 0 0,-1 0-16,0 13 0,0 0 0,-13 14 15,14 12-15,-14 54 0,0 39 16,13 67-1,-13-146-15,13 13 16,-13 0-16,13-13 0,1 0 0,-1 0 0,0 0 16,53-1-16,-119-52 0,133 14 15,-147 25-15,81 14 0,-1-13 0,-13 0 16,79 13-16,-132-14 0,67 1 0,-14 0 0,52-1 16,-91 1-16,105-27 0,-132 14 0,79-27 15,-13 79-15,53-39 0,-93-27 0,40 13 16,0 1-16,13-27 0,-26 66 15,13-53-15,0 14 16,0-14-16,0 0 0,0 0 0,0 1 0,0-1 16,0 0-16,-13 0 15,13 1-15,0-1 16,-13-13-16,13 13 0,-13-13 16,-14 13-16,27 1 0,-40-14 15,14 13-15,-14 0 0,-52 13 16,52-12-16,-26-1 0,0 0 15,-67 27-15,54-27 16,0 14-16,12-14 0,-12 13 0,13-13 16,-13 14-16,12-14 0,1 14 15,-66-1-15,39 0 0,54-26 16,-14 14-16,26-14 16,14 0-16,0 0 15</inkml:trace>
  <inkml:trace contextRef="#ctx0" brushRef="#br0" timeOffset="114415.92">23389 4379 0,'-13'-13'0,"53"13"31,-27-14-15,13 14-16,1 0 0,-1 0 0,1-13 16,12 13-16,1-13 0,0 13 15,-1 0-15,-12-13 0,-1 13 0,1 0 16,-1 0-16,1 0 0,-14 0 16,0-14-16,0 14 0,1 0 0,-1 0 15,0 0-15</inkml:trace>
  <inkml:trace contextRef="#ctx0" brushRef="#br0" timeOffset="114760.26">23535 4154 0,'-27'-13'16,"14"26"-16,-13 13 0,-1-12 16,1-1-16,12 13 0,-12 1 0,-14 12 15,27-12-15,0-14 16,0 0-16,13 14 0,-14-1 15,1-12-15,13-1 0,0 0 0,13 0 16,-13 0-16,14 1 0,-14-1 16,13-13-16,13 26 0,-13-26 15,14 14-15,-14-14 0,14 0 16,-14 13-16,0-13 0,14 0 16,-1 13-16,-13-13 0,0 0 15,1 0-15</inkml:trace>
  <inkml:trace contextRef="#ctx0" brushRef="#br0" timeOffset="116855.07">23429 4273 0,'66'-26'16,"-53"12"-1,-13 1-15,13 13 0,1-13 0,-1 13 16,0-13-16,0-1 0,1 14 16,-1-13-16,0 0 15,0 0 16,-52 26 1,39 0-17,-14-13-15,1 13 0,-13 1 0,12-14 16,1 13-16,0 0 0,-27 0 16,14 14-16,13-14 15,-1 0-15,1 0 0,0 1 16,0-1-16,-1 0 0,1 0 0,13 1 15,-13-1-15,0 0 0,0 0 16,13 1-16,-14-14 0,14 13 16,-13-13-16,13 13 0,0 0 15,0 0-15,0 1 16,13-14 0,1 13-16,-1 0 0,0-13 15,-13 13-15,26-13 0,-12 14 0,-1-14 16,13 13-16,1 0 0,-14-13 15,14 13-15,-1 1 0,0-14 16,-12 13-16,12-13 16,-13 13-16,1-13 0,-1 0 0,0 13 15,0-13 1</inkml:trace>
  <inkml:trace contextRef="#ctx0" brushRef="#br0" timeOffset="117275.14">23336 4419 0,'-13'0'0,"53"0"31,-27-14-15,27 14-16,-14 0 16,27-13-16,40 13 15,-54-13-15,14 13 16,53-13-16,-80 13 16,14 0-16,-27 0 0,14 0 0,-14 0 15,14-14-15,-14 28 0,0-14 16</inkml:trace>
  <inkml:trace contextRef="#ctx0" brushRef="#br0" timeOffset="118171.82">23707 4352 0,'26'0'0,"-13"0"15,1 0-15,-14-13 0,13 13 0,0 0 16,13 0-16,-12 0 0,-1 0 16,13 0-16,-12 0 15,-1 0-15,13 0 0,-12-13 16,-1 13-16,0 0 0,0 0 0,0 0 15</inkml:trace>
  <inkml:trace contextRef="#ctx0" brushRef="#br0" timeOffset="118508.86">23799 4366 0,'53'0'16,"-40"0"-16,14 0 0,-14 0 0,0 0 15,1 0-15,-1 0 0,0 0 0,0 0 16,0 0-16,1 0 0,-1 0 16,13 0-16,-12 13 15,-1-13-15</inkml:trace>
  <inkml:trace contextRef="#ctx0" brushRef="#br0" timeOffset="119319.84">23865 4326 0,'40'0'31,"0"0"0,-27 0-31,0 0 0,0 0 16,1 0-16,-1 0 0,0 0 15,0 0-15,1 0 0,-1 0 16,0 0-16,0 0 16</inkml:trace>
  <inkml:trace contextRef="#ctx0" brushRef="#br0" timeOffset="119837.47">23839 4299 0,'53'0'16,"-13"0"-1,-27 0-15,0 0 16,0 0-16,0 0 0,27 14 16,-27-14-1</inkml:trace>
  <inkml:trace contextRef="#ctx0" brushRef="#br0" timeOffset="120198.74">23905 4299 0,'27'0'15,"-14"0"-15,-13 14 16,26-28-16,-13 14 0,1 0 0,-1 14 15,0-14-15,0-14 16,1 28-16,-1-14 0,0 0 16</inkml:trace>
  <inkml:trace contextRef="#ctx0" brushRef="#br0" timeOffset="120403.9">24037 4352 0,'27'0'16</inkml:trace>
  <inkml:trace contextRef="#ctx0" brushRef="#br0" timeOffset="120594.99">24051 4379 0,'26'0'0</inkml:trace>
  <inkml:trace contextRef="#ctx0" brushRef="#br0" timeOffset="120847.23">24051 4366 0,'26'0'16</inkml:trace>
  <inkml:trace contextRef="#ctx0" brushRef="#br0" timeOffset="121068.69">24064 4352 0</inkml:trace>
  <inkml:trace contextRef="#ctx0" brushRef="#br0" timeOffset="122334.37">20585 3889 0,'0'27'16,"0"-14"-16,0 0 15,0 1-15,0 38 16,0-38-16,0-1 0,0 0 16,0 0-16,0 1 0,0-1 15</inkml:trace>
  <inkml:trace contextRef="#ctx0" brushRef="#br0" timeOffset="122733.16">20690 4313 0,'14'26'0,"-28"-13"0,14 1 15,-26 12-15,13 1 0,0-14 16,-1 0-16,14 0 0,-26 14 16,26-1-16,0-13 15,13 1 1,14-28-1,-14 14-15,0 0 16,13-13-16,-12 13 0,-1 0 16,0 0-16,14 0 0,-14 0 15,0 0-15,0 0 16,-13 13-16</inkml:trace>
  <inkml:trace contextRef="#ctx0" brushRef="#br0" timeOffset="123608.28">20730 5173 0,'13'39'31,"-13"-25"-31,0-1 16,14 13-16,-14-13 16,13 14-16,-13-14 0,13 0 15,-13 1-15,0-1 0,0 0 0,13-13 16,-13 13-16</inkml:trace>
  <inkml:trace contextRef="#ctx0" brushRef="#br0" timeOffset="123858.99">20889 5212 0,'26'27'15,"1"-14"17,-27 0-32,13-13 0,27 0 31,-40-13-31,13-13 15,-13 12 1,-13 1-16,-1 0 16,14 0-16,-13 13 0,0-14 0,0 14 15,0-13-15,-1 13 16,1 0-16</inkml:trace>
  <inkml:trace contextRef="#ctx0" brushRef="#br0" timeOffset="124217.12">20624 4895 0,'-53'145'15,"40"-79"-15,26 14 16,1 26-1,-1-67-15,0-12 0,0 13 16,-13-14-16,27 0 0,-14-12 0,-13-1 16,13 0-16,14 0 15</inkml:trace>
  <inkml:trace contextRef="#ctx0" brushRef="#br0" timeOffset="124963.72">20823 3704 0,'13'-13'0,"13"0"0,-12 13 15,-1 13-15,0-13 16,0 13-16,14 27 0,-14 26 15,13 13-15,-26-39 16,14 39-16,-1-39 16,0 26-16,0-39 15,14 12-15,-27-12 0,13-14 16,0 0-16,1 1 0,-1-1 0,0 0 16,0-13-16,0 0 15,1 0-15,-1 0 16,-13-13-16,13 13 15,0 0-15,-13 13 16,14-13-16,-14 40 16,13-1-16,13 41 15,-13-27-15,1 13 16,-1-13-16,13 66 0,1 0 16,-14-27-16,-13 1 15,0-53-15,0 39 16,0-26-16,-13-26 15,13 25-15,-13-25 16,-1-14-16,1 0 0,-13 14 16,12-27-16,1 13 0,0-13 0,0-13 15</inkml:trace>
  <inkml:trace contextRef="#ctx0" brushRef="#br0" timeOffset="125747.68">20307 3903 0,'39'264'31,"-39"-145"-15,-26 146-1,0-186-15,12-13 16,-39 53-16,0 0 16,27-66-16,13-13 0,-27 26 15,27-53-15,0 1 0,-1-1 16,28 0 15,-1 0-15,13 40-16,-12-26 15,38 65-15,1 14 16,-39-53-16,12-13 0,40 52 16,-13-12-16,-26-54 15,-1 14-15,1-14 0,12 14 16,-12-13-16,-1-27 16,1 0-16</inkml:trace>
  <inkml:trace contextRef="#ctx0" brushRef="#br0" timeOffset="127630.17">15968 767 0,'0'146'15,"0"-120"1,13-13-16,-13 14 0,0-1 0,0 41 16,13-54-1,-13 0-15,0 0 0,0 14 16,0-14-16,0-40 31,-13 14-15,13-13-16,0-1 0,13-39 15,-13 0-15,0-13 16,0 39-16,13-26 16,1 39-16,-14 14 0,0-13 15,13 12-15,0 1 16,13 26-1,-12 14-15,12 26 16,-13-27-16,27 40 0,-27 1 16,0-41-1,1 0-15,-1-26 0,0 53 16,0-26-16,14 13 16,-27-27-16,13-13 15</inkml:trace>
  <inkml:trace contextRef="#ctx0" brushRef="#br0" timeOffset="127827.74">15941 1005 0,'53'-39'15,"-13"25"-15,39-12 16,-251 105-16,357-171 16,-158 92-16</inkml:trace>
  <inkml:trace contextRef="#ctx0" brushRef="#br0" timeOffset="128059.09">15677 609 0,'-53'132'16,"106"-264"-16,-120 304 0,67-133 0,-13 14 16,26 93-16,1-41 15,-1-65-15,0 0 16,27 26-16,-1 0 15,1-39-15,13-14 16</inkml:trace>
  <inkml:trace contextRef="#ctx0" brushRef="#br0" timeOffset="128415.74">16206 516 0,'119'40'16,"-40"13"0,-39-14-16,26 41 0,-13 25 15,-40-52-15,0 13 16,-13-13-16,-13-13 0,-66 172 16,52-159-1,-26 13-15,40-26 16,-53 39-16,53-66 15</inkml:trace>
  <inkml:trace contextRef="#ctx0" brushRef="#br0" timeOffset="128816.06">16761 900 0,'238'-27'16,"-92"14"-16,-80 13 0,14-13 16,171-14-1,-92 14-15,-14 0 16,-13 0-16,-39-1 15,-40 14-15,0-13 16,-13 13-16,-27 0 16</inkml:trace>
  <inkml:trace contextRef="#ctx0" brushRef="#br0" timeOffset="129074.2">18005 609 0,'278'158'16,"-252"-118"-16,14 26 16,-27 13-16,-13 14 15,-26 13-15,-67 39 16,53-92-1,1 0-15,-1-13 0,0 0 0,-79 52 16,53-52 0</inkml:trace>
  <inkml:trace contextRef="#ctx0" brushRef="#br0" timeOffset="131277.29">16933 1918 0,'146'172'0,"-67"-66"16,-26-40-16,40 66 15,-40-52-15,66 65 16,13-12-16,14-1 16,-80-66-16,145 119 15,-131-119-15,65 54 16,-65-68-16,-14 15 0,53 25 16,0 1-16,-13-1 15,-53-52-15,0 0 0,-14-1 16,14 1-16,27 40 15,-54-54-15,27 14 0,-40-27 16,14 13-16,-1 1 16,-39-14 15,0-13-15,-1 0-1,1 0 1</inkml:trace>
  <inkml:trace contextRef="#ctx0" brushRef="#br0" timeOffset="131592.89">19143 4008 0,'26'0'16,"-13"0"-16,186 159 15,-173-132-15,40 211 16,-92-212-16,-93 54 16,79-67-1,-52 0-15,39-13 0</inkml:trace>
  <inkml:trace contextRef="#ctx0" brushRef="#br0" timeOffset="132534.73">16947 1931 0,'13'14'0,"-13"-1"16,13 13-16,-13 1 15,0-14-15,0 27 0,0 13 16,0-27-16,0 1 15,13-1-15,-13 14 0,0-14 16,0-13-16,0 27 0,0-27 16,0 1-1,13-1-15,-13-40 32,0 14-32,0 0 15,0-14-15,0 14 0,0-13 0,0-40 16,0 13-16,0 26 0,0 14 15,14-27-15,-14 14 16,0 13-16,13-1 16,-13 1-16,13 0 0,0 13 15,1 0-15,12 13 16,-13-13-16,14 13 0,-14 1 16,0-14-16,27 13 0,-14 0 15,-12-13-15,25 13 16,1 1-16</inkml:trace>
  <inkml:trace contextRef="#ctx0" brushRef="#br0" timeOffset="136362.16">16973 2302 0,'0'-13'31,"-13"-14"-15,13 14-16,0 0 15,0-1-15,0 1 16,0-13-16,0-1 16,0-12-16,0 25 15,0 1-15,0 0 0,0 0 16,13 0-16,-13-1 0,0 1 16,13 0-16,0 13 15,1 0 1,12 13-16,-13-13 15,1 13-15,-1-13 0,13 0 16,-12 14-16,25-1 0,-12-13 16,12 13-1,-12-13-15,-1 0 16,-12 0-16,-1 0 0</inkml:trace>
  <inkml:trace contextRef="#ctx0" brushRef="#br0" timeOffset="138147.85">15372 1045 0,'-132'0'0,"106"13"16,-1-13-16,1 0 16,-41 0-16,-12 14 15,53-14-15,-27 13 0,26-13 16</inkml:trace>
  <inkml:trace contextRef="#ctx0" brushRef="#br0" timeOffset="138392.22">14936 939 0,'-172'146'16,"145"-67"-16,14-39 16,26-14-16,1 14 15,-1-40-15,0 13 16,40 0-16,-13-13 16,-14 0-16,0-13 0,27 0 15,-26 13-15</inkml:trace>
  <inkml:trace contextRef="#ctx0" brushRef="#br0" timeOffset="138776.1">13917 1085 0,'0'79'0,"13"-39"16,-13-27-16,0 0 15,0 1-15,14 12 0,-14-13 16</inkml:trace>
  <inkml:trace contextRef="#ctx0" brushRef="#br0" timeOffset="139084.51">14063 952 0,'79'133'0,"-79"-94"15,0-12-15,0 13 16,-13-1-16,13-12 16,0-14-16,0 0 0,-13 0 15,13 1-15</inkml:trace>
  <inkml:trace contextRef="#ctx0" brushRef="#br0" timeOffset="139319.91">13547 966 0,'-119'423'16,"119"-370"-16,13 53 15,0-53-15,27 26 16,13-13-16,-27-39 15,-13-1-15,53 27 0,-39-53 0,-1 27 16,14-27-16,26 13 16</inkml:trace>
  <inkml:trace contextRef="#ctx0" brushRef="#br0" timeOffset="139693.04">14499 2011 0,'27'92'16,"-27"-78"-16,0 12 15,0 1-15,0-14 0,0 26 16,0 1-16,0-27 16</inkml:trace>
  <inkml:trace contextRef="#ctx0" brushRef="#br0" timeOffset="139955.74">14803 2103 0,'-26'14'32,"26"-1"-17,-13 0 1,0 0-16,52-66 0,-78 133 16,91-160-16,-104 173 15,52-80-15,13 0 16,0-13-16,0 0 15,0 0-15,1 0 0,-1 0 16,13-13-16,-12 0 16,-1 0-16</inkml:trace>
  <inkml:trace contextRef="#ctx0" brushRef="#br0" timeOffset="140116.88">14909 2090 0,'-26'106'16,"26"-93"-1,-13 14 1,13-14-16</inkml:trace>
  <inkml:trace contextRef="#ctx0" brushRef="#br0" timeOffset="140348.76">14142 1918 0,'-53'40'0,"-26"132"0,79-93 16,26 27-16,1-66 15,39 52-15,-27-52 16,1 0-16,79 39 16,-39-66-16,-41-13 0,1 0 15,383-529-15,-820 1058 0,424-529 0,-1-26 16</inkml:trace>
  <inkml:trace contextRef="#ctx0" brushRef="#br0" timeOffset="140578.15">14989 1773 0,'53'66'0,"66"93"0,-93-120 0,1 14 16,-1 40-16,-26-1 15,0-39-15,0 0 0,-26 40 16,26-40-16,-14-27 16,1 14-16,0-14 0</inkml:trace>
  <inkml:trace contextRef="#ctx0" brushRef="#br0" timeOffset="141073.29">15240 2170 0,'132'-146'15,"-79"67"1,13-1-16,-39 54 0,-1-1 15,14-26-15,-27 40 16,0-13-16,1 13 0,-1-1 16</inkml:trace>
  <inkml:trace contextRef="#ctx0" brushRef="#br0" timeOffset="141350.96">15438 1574 0,'146'106'16,"-93"-40"-16,-40-39 0,27 79 16,-27-80-1,-26 27-15,13-13 0,-13-1 16</inkml:trace>
  <inkml:trace contextRef="#ctx0" brushRef="#br0" timeOffset="148327.23">17304 5186 0,'-53'145'15,"40"-105"-15,-1 0 0,1-1 16,0-12-16,-14 39 0,14-13 16,0-27-16</inkml:trace>
  <inkml:trace contextRef="#ctx0" brushRef="#br0" timeOffset="148676.17">17238 5146 0,'-53'13'0,"26"-13"16,14 14-16,-53 12 0,-53 27 16,92-40-1,-12 0-15,12 1 0,14-1 16,0-13-16,-14 13 0,67-26 31,-14 13-31,1-13 16,-1 13-16,1-14 0,39 28 15,13-1 1,1 13-16,-14 1 16,13 39-16,-52-40 15,26 14-15,-14-13 16,-26-14-16,14 0 0,-14 0 15,27 0-15</inkml:trace>
  <inkml:trace contextRef="#ctx0" brushRef="#br0" timeOffset="164900.97">1918 8705 0,'27'0'78,"277"0"-62,-92 0-1,39 0 1,40 0-16,106 0 0,-40 0 16,0 0-16,40 0 15,-106 0-15,-39 0 16,105 0 0,-225 0-16,-26 0 15,-14 0 1,-39 0-16,-13 0 0,-27 0 15</inkml:trace>
  <inkml:trace contextRef="#ctx0" brushRef="#br0" timeOffset="165701.97">1759 7792 0,'27'0'62,"26"0"-46,251 26-1,-132-26-15,357 0 16,-238 0 0,66 0-16,40 0 15,-26 0-15,52 0 16,-66 0-16,-66 0 15,-66 0-15,-66 0 16,-27 0-16,1 0 16,-67 0-16,-27 0 15,-25 0-15,12 0 16,-26 14 62,13-14-62,-13 13-16</inkml:trace>
  <inkml:trace contextRef="#ctx0" brushRef="#br0" timeOffset="166238.64">6747 7964 0,'0'26'32,"0"54"-32,0 26 0,0 13 15,0 0-15,0 13 16,0-53 0,0 1-16,0-27 15,0-14-15,0 1 16,0-27-16,-27-13 78,1-13-62</inkml:trace>
  <inkml:trace contextRef="#ctx0" brushRef="#br0" timeOffset="167195.96">1257 7938 0,'-13'0'31,"13"145"-16,0-39-15,0-14 16,0 120 0,0-159-16,-14 26 15,1-12 1,13-41-16,0-13 16,0 14-16,-13-27 62</inkml:trace>
  <inkml:trace contextRef="#ctx0" brushRef="#br0" timeOffset="167978.75">1561 8731 0,'13'0'110,"40"0"-95,-40 0-15,14 0 16,-14 0 0</inkml:trace>
  <inkml:trace contextRef="#ctx0" brushRef="#br0" timeOffset="168958.18">6297 8731 0,'27'0'15,"-14"0"1,40 0-16,-14 27 16,1-27-16,-13 0 15,12 0-15,1 0 16,-27 0 0,14 0-1,-27-27 63</inkml:trace>
  <inkml:trace contextRef="#ctx0" brushRef="#br0" timeOffset="169563.84">6284 7739 0,'26'0'31,"-12"0"-31,-1 0 0,0 0 16,0 0-1,14 0-15,-14 0 0,0 0 16,0 0-1,1 0-15,-1 0 16,13 0-16,-12 0 16,12 0-16,-13 0 15</inkml:trace>
  <inkml:trace contextRef="#ctx0" brushRef="#br0" timeOffset="170453.99">1310 7832 0,'26'0'79,"-13"0"-64,54 0 1,-54 0-16,0 0 15,13 0 1,-12 0 0</inkml:trace>
  <inkml:trace contextRef="#ctx0" brushRef="#br0" timeOffset="-212260.64">9565 8493 0,'-14'0'47,"-25"0"-31,-14 0-16,-13 0 15,-40 0-15,-13 0 16,-27 0-16,-26 0 15,-53-26 1,-26-27-16,-80 13 16,-211-26-16,224 0 15,14 53 1,53 13-16,92 0 16,40 0-16,40 0 15</inkml:trace>
  <inkml:trace contextRef="#ctx0" brushRef="#br0" timeOffset="-210892.85">6588 8043 0,'-40'0'31,"-92"14"-15,66-14-16,-13 13 16,12 13-16,-25-26 15,65 0 1,1 0-1,13 0-15,13 27 188,79 12-172,-26-12-1,93 52 1,-67-52-16,0 12 15,-39-12-15,13-1 16,-13-26 0,-27 14-16</inkml:trace>
  <inkml:trace contextRef="#ctx0" brushRef="#br0" timeOffset="-210132.88">7435 6826 0,'-13'40'31,"-54"39"-31,-105 107 16,80-107 0,-67 13-16,80-25 15,-27-1-15,13 0 16,1 13-16,52-52 16,-13-1-16</inkml:trace>
  <inkml:trace contextRef="#ctx0" brushRef="#br0" timeOffset="-209404.5">6496 7461 0,'0'13'47,"0"40"-32,0-26 1,0-14-16,0 14 15,0-14-15,0 0 16,0 0 15,13 0 126,79-13-142,54 0 1,-27 0-1,-79 0 1</inkml:trace>
  <inkml:trace contextRef="#ctx0" brushRef="#br0" timeOffset="-208690.09">6932 7964 0,'13'0'47,"80"0"-32,39 0-15,27 0 0,39-53 16,14 13-16,66-26 15,-27 0-15,14-13 16,-93 39 0,13-26-16,-66 53 0,-13 13 15,-53-14-15,-13 14 16,-40-13 0</inkml:trace>
  <inkml:trace contextRef="#ctx0" brushRef="#br0" timeOffset="-207613.87">7157 7818 0,'-13'14'16,"-27"-1"15,-39 13-15,52 1-1,-52-1 1,39 1-16,27-14 16,-14 13-16,-25 1 15,38-14-15,-12 0 16,13 1 46,13-1-15,0 13-31,26-13 0,27 1-16,26 25 15,-26-25 1,53-1-16,-13 0 0,-1 14 15,1-14-15,-40-13 16,-27 0-16,1 0 16,-1 0-16,1 0 15,-14 0 1</inkml:trace>
  <inkml:trace contextRef="#ctx0" brushRef="#br0" timeOffset="-201340.87">10425 9419 0,'13'0'94,"53"0"-79,40 13-15,0 14 16,13-14-16,225-13 16,53 0-1,251 0 1,-40 0-1,-131 0 1,-147 0 0,-224 0-1,-66 0 1</inkml:trace>
  <inkml:trace contextRef="#ctx0" brushRef="#br0" timeOffset="-200530.88">16232 11232 0,'-26'0'31,"-107"0"-31,-52 0 0,0 39 15,-27-39 1,-26 53-16,0-26 16,79-1-16,14-13 15,65 14 1,54-14-16</inkml:trace>
  <inkml:trace contextRef="#ctx0" brushRef="#br0" timeOffset="-199923.96">14618 11152 0,'-13'13'16,"-13"14"-16,-14 13 15,-13-14-15,13 14 16,27-27-16,0 13 16,0 1-1,13-1 16,0-12-15,0 12 0,26-13-1,0 0 1,41 1-16,-14-1 0,79 13 16,-106-26-1,14 0 1,0 14-16</inkml:trace>
</inkml:ink>
</file>

<file path=ppt/ink/ink19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33:00.527"/>
    </inkml:context>
    <inkml:brush xml:id="br0">
      <inkml:brushProperty name="width" value="0.05292" units="cm"/>
      <inkml:brushProperty name="height" value="0.05292" units="cm"/>
      <inkml:brushProperty name="color" value="#0070C0"/>
    </inkml:brush>
  </inkml:definitions>
  <inkml:trace contextRef="#ctx0" brushRef="#br0">1389 2950 0,'13'0'78,"27"0"-62,13 0-16,26 0 15,54 0-15,25 0 0,199 0 32,-171 0-32,-80 0 15,-27 0-15,-39 0 16,-27 0 0</inkml:trace>
  <inkml:trace contextRef="#ctx0" brushRef="#br0" timeOffset="5483.39">10081 2871 0,'-14'0'0,"54"0"31,79 0-15,-53 0-16,14-13 0,184-1 15,-158 14-15,251-26 16,-238 13-16,-13 13 16,-13-14-16,13 14 0,185-13 15,-212 13-15,133-13 16,-159 13-16,0 0 15,-14 0-15,-12 0 0,39 0 16,-66 13-16,26-13 16</inkml:trace>
  <inkml:trace contextRef="#ctx0" brushRef="#br0" timeOffset="5743.7">11086 3122 0,'185'-13'15,"-119"0"-15,1 13 0,12-14 0,0 14 16,80-13-16,-80 13 0,-12 0 15,-1 0-15,-13 0 0,0 0 16,-1 0-16,68 0 16,-81 0-16,-12 0 15</inkml:trace>
  <inkml:trace contextRef="#ctx0" brushRef="#br0" timeOffset="14743.69">6350 6456 0,'0'-13'0,"0"52"16,-13 27 0,13-39-1,-13 13-15,13-1 0,-14 1 0,14 0 16,0-14-16,-13 1 0,13-1 0,0 0 15,-13 1-15,13-14 0,0 14 16,0-14-16,0 0 0,0 0 16,0 1-16,0-1 0</inkml:trace>
  <inkml:trace contextRef="#ctx0" brushRef="#br0" timeOffset="15525.75">6337 6575 0,'-13'0'15,"13"-13"-15,0-1 16,26 1-16,0-13 16,-12 26-16,25-13 15,-25 13-15,-1 0 0,13 0 16,-12 0-16,-1 0 0,0 0 0,0 0 15,0 13-15,-13 0 16,14 0-16,-28 0 0,14 1 0,-13 12 16,0 1-16,-13-1 0,12 1 0,-12-1 15,-1 0-15,1-12 16,13 12-16,-1-13 0,-12 1 0,13-1 16,0-13-16,-1 26 0,1-26 15,13 13-15,-13 1 0,13-1 16,0 0-16,13 0 15,0 1-15,1-14 0,-1 13 16,13 0-16,1 0 16,-14 1-16,0-14 15,0 0-15,1 0 0,-1 0 16,0 0-16,0 0 0,1 0 16</inkml:trace>
  <inkml:trace contextRef="#ctx0" brushRef="#br0" timeOffset="15873.68">6773 6760 0,'-39'0'16,"12"13"-1,14 1-15,0-1 0,13 0 0,-13 0 0,13 0 16,0 1-16,0-1 15,0 0-15,0 0 0,0 1 16,13-1-16,0 0 16,0-13-1,0 0-15,1 0 0,-14-13 16,13 13-16,-13-13 0,0-1 16,0 1-16,0 0 0,0 0 15,0-1-15,-13 1 0,13 0 16,-14 0-16,14 0 0,-13-1 15,0 14 1,0-13 0</inkml:trace>
  <inkml:trace contextRef="#ctx0" brushRef="#br0" timeOffset="16318.62">6853 6535 0,'0'-13'0,"0"39"47,0 14-31,-14 53 0,1-54-16,13-12 15,0 13-15,0-27 16,13 0-16,-13 13 0,0-12 0,14-14 15,-14 13-15,13 0 0,0 0 16,14-13 0,-27-13-16,13 13 0,0-13 0,0 13 15,-13-13-15,14-1 0,-1 1 0,-13-13 16,26-14 0,-26 27-16,13 13 0,-13-13 15,14-1-15,-14 41 31,0-1-15,0-12-16,0-1 0,0 0 0,0 0 16,13-13-16,-13 13 0,0 1 15,0-1-15,0 0 0,13 0 0,-13 1 16,0-1-16,0 0 16,13-13-16,-13 13 15,0 1-15,14-14 0</inkml:trace>
  <inkml:trace contextRef="#ctx0" brushRef="#br0" timeOffset="16505.93">7236 6866 0,'14'13'0,"-28"0"15,28 1-15,-28-1 16,14 13 0</inkml:trace>
  <inkml:trace contextRef="#ctx0" brushRef="#br0" timeOffset="16659.45">7276 6773 0,'-13'-13'0,"0"13"0</inkml:trace>
  <inkml:trace contextRef="#ctx0" brushRef="#br0" timeOffset="16945.78">7435 6826 0,'-13'13'0,"26"-26"0,-26 40 16,13-14-1,0 0-15,0 0 16,0 1-1,13-14 32,0 0-31,0 0 0,0 0-16,14 0 15,-14-14 1,0 1-1</inkml:trace>
  <inkml:trace contextRef="#ctx0" brushRef="#br0" timeOffset="17225.7">7607 6826 0,'13'53'16,"-13"-26"-16,0-14 15,0 27-15,-13-27 0,13 0 16,-13 13 0,-1-12-16,14-1 15,0-40 17,0 14-32,14 13 0,-14-13 15,13 0-15,0 13 0,-13-13 16,13-1-16,0 1 0,1 13 0,-1-13 15,0 13-15,14-13 0,-14-1 0,0 14 16,14 0-16,-1-13 0</inkml:trace>
  <inkml:trace contextRef="#ctx0" brushRef="#br0" timeOffset="17567.59">8453 6747 0,'67'13'32,"-41"-13"-17,-13 0-15,14 0 0,-14 0 16,0 0-16,14 0 0,-14 0 0,0 0 16,14 0-16,-14 0 0,0 0 0,0 0 15,0-13-15,1 13 0,-1 0 16,0 0-16,0 0 0</inkml:trace>
  <inkml:trace contextRef="#ctx0" brushRef="#br0" timeOffset="18020.66">9194 6601 0,'14'-13'0,"-41"26"31,14 1-15,13-1-16,0 0 15,0 14 1,13-14 0,-13 0-16,13-13 0,-13 13 0,14 0 15,-14 1-15,13-1 0,-13 0 16,0 0-16,0 1 15,0-1-15,-13-13 16,-1 13-16,1-13 16,13 13-16,-13-13 15,0 0-15,-1 0 0,-12 0 0,26-13 16,-13 13-16,-1 0 0</inkml:trace>
  <inkml:trace contextRef="#ctx0" brushRef="#br0" timeOffset="18315.74">8731 6588 0,'27'13'16,"-27"1"-16,26-1 15,-13 0-15,1-13 0,-1 13 16,0 1-16,0 12 16,1-13-16,-1 0 0,-13 1 0,13 12 15,-13 1-15,0-14 0,0 0 16,-13 0-16,-40 40 16,26-26-16,-12-14 0,12 13 15,-52 1-15,13 12 16,26-39-16</inkml:trace>
  <inkml:trace contextRef="#ctx0" brushRef="#br0" timeOffset="19905.74">6972 5728 0,'-13'-13'15,"39"26"1,-13-13-16,0 0 16,27 0-1,-27 0-15,1 0 0,12 0 0,-13 0 16,1 0-16,12 0 0,27-13 16,-40 13-1,27 0-15,-27-13 0,0 13 16,0 0-16,1-13 0,-1-1 15,-13 1 1,0 0-16,0 0 0,0-1 16,-13 14-16,-1-13 15,14 0-15,-13 13 16,-26 13 0,39 0-16,-27 14 15,14-14-15,0 0 16,-1 1-16,1 25 15,0-26-15,0 1 0,13-1 16,-13 0-16,13 14 0,-14-14 16,14 0-16,-13 14 0,13-14 0,-26 26 15,26-12-15,-14-14 16,14 0-16,-13 1 0,13-1 0,0 0 16,-13 0-16,13 0 0,0 1 15,-13-14-15,13 13 16,0 0-16,-14 0 15,14 1 1,27-28 31,-14 1-31</inkml:trace>
  <inkml:trace contextRef="#ctx0" brushRef="#br0" timeOffset="21590.48">4842 5821 0,'-40'-13'16,"27"13"-16,0 13 0,-1 0 15,1 0-15,0 14 0,0-14 0,0 27 16,-1-14-16,14 1 0,-13-1 16,13-13-16,0 14 0,0-14 0,13 13 15,-13-12-15,14-1 0,-1 0 0,0 0 16,0-13-16,27 14 16,-14-28-16,1 14 0,26-13 0,-14 0 15,1 0-15,0-1 0,-14 1 16,14-13-16,13-1 0,-27 14 15,-12 13-15,-1-13 0,0 0 16,0 13-16,1 13 16,-14 13-1,13-13 1,13 27-16,-26-27 16,53 1-1,-40-1-15,1-13 0,-1 0 0,13 0 16,-12 0-16,-1-13 0,13 13 15,-13-14-15,1 1 0,-14 0 0,13 0 16,-13-1-16,0-12 0,-13 13 16,-1 0-16,1-1 0,-13 1 15,13 0-15,-14 13 0,1-13 16,12 13-16,-12 0 0,-1 0 0,14 13 16,0-13-16,0 0 0,0 13 15,-1-13-15,14 13 0,14 1 16,-1-14-16,0 0 0,13 0 15,1 0-15,-1 0 0,1 0 16,-1 0-16,1 0 0,-1 13 0,1-13 16,-1 0-16,-13 0 0,14 13 0,-14-13 15,0 13-15,14 0 16,-14-13-16,-13 14 0,13-1 0,0 0 16,-13 0-16,14 1 0,-14-1 0,0 0 15,13-13 1,-13 13-16,0 1 0,13-14 15</inkml:trace>
  <inkml:trace contextRef="#ctx0" brushRef="#br0" timeOffset="21717.71">5689 5794 0,'-14'-13'0,"1"13"0,0 13 31</inkml:trace>
  <inkml:trace contextRef="#ctx0" brushRef="#br0" timeOffset="22038.63">5953 5940 0,'-26'53'16,"12"-40"-16,14 0 15,0 0 1,-13 1-16,40-28 47,-14 14-47,0 0 0,14-13 15,-14 13-15,0 0 16,0 13-16,0-13 16,1 0-16,-1 14 0,0-14 0,14 13 15,26 27 17,-27-40-32,-13 13 0,0-13 15</inkml:trace>
  <inkml:trace contextRef="#ctx0" brushRef="#br0" timeOffset="22321.45">6337 5966 0,'26'14'32,"-13"-14"-32,1 0 0,-1 0 0,0 0 15,0 0-15,1 0 0,-1 0 0,0 0 16,0-14-16,1 14 15</inkml:trace>
  <inkml:trace contextRef="#ctx0" brushRef="#br0" timeOffset="22543.77">6482 5821 0,'27'13'15,"-27"0"-15,13-13 16,-13 14-16,13-1 0,0 0 0,-13 13 16,14 14-1,-14-27-15,0 1 0,0 12 0,-14-13 16,14 0-16,-13 1 0,0 12 0,13-13 16,-26 1-16,12-1 0,1 0 15,0-13-15</inkml:trace>
  <inkml:trace contextRef="#ctx0" brushRef="#br0" timeOffset="31582.84">12700 5622 0,'-13'27'16,"13"-14"-16,0 0 0,-13 14 0,13-1 0,0 1 16,-14 26-16,1-14 0,13-12 15,0-1-15,-13 1 0,13-14 16,0 13-16,-13 1 0,13-14 0,0 0 16,0 0-16,0 14 0,-14-14 15,14 0-15,0 1 0,0-1 16,14-13-1</inkml:trace>
  <inkml:trace contextRef="#ctx0" brushRef="#br0" timeOffset="32230.1">12700 5636 0,'13'-27'16,"0"14"-16,14 0 16,-1-1-16,-12 14 0,-1 0 15,13 0-15,-12 0 0,-1 14 0,13-14 16,-13 13-16,1-13 0,-14 13 0,13 14 16,-13-1-16,0-13 15,-13 1-15,-1 12 0,1 0 0,-40 14 16,40-27-16,0 14 0,-14-14 15,14-13-15,0 13 16,0 1-16,-1-14 0,14 13 0,-13-13 16,0 0-16,13 13 15,0 0 1,26 0 0,-26 1-16,14-14 0,-1 13 0,0-13 15,0 13-15,1 0 0,-1-13 16,0 14-16,0-1 0,1-13 0,-1 13 15,0-13-15,0 0 16,0 13-16,1-13 0</inkml:trace>
  <inkml:trace contextRef="#ctx0" brushRef="#br0" timeOffset="32610.49">13176 5861 0,'-39'0'0,"39"13"16,-14 0-16,1 0 16,13 0-16,0 1 0,-13-1 15,26 0-15,-13 0 16,13 1-1,1-14-15,-1 13 0,26-26 16,-12-1 0,-14 14-16,0-26 15,1 13-15,-14-1 16,0 1-16,0 0 0,-14 0 0,14 0 16,0-1-16,-13 1 15,0 0-15,0 0 0,-1 13 16,1 0-1,0 0-15,0 0 16,0 13 0</inkml:trace>
  <inkml:trace contextRef="#ctx0" brushRef="#br0" timeOffset="33267.79">13428 5569 0,'0'-13'16,"0"0"-1,0 39 1,0-12-16,0-1 0,0 0 16,-14 0-16,14 14 0,-13-1 0,0 40 15,13-39 1,0-14-16,-13 14 0,13-14 15,0 0-15,13 0 0,-13 1 0,0-1 0,0 0 16,13 0-16,0 0 16,1-13-16,-14 14 15,13-14-15,0-14 0,0 14 16,1 0-16,-14-13 16,13 0-16,0 0 0,27-67 15,-40 67-15,13-27 16,0 27-16,-13 0 15,0 0-15,13 0 0,-13-1 0,0 1 16,14 0-16,-14 0 0,0-1 16,0 41 15,0-14-31,-14 40 16,14-40-16,0 40 15,0-26 1,0-14-16,14 13 0,-14-12 15,0-1-15,13 0 0,-13 0 16,13-13-16,0 13 0,0-26 16,1 0-1,-1 0-15,0 0 16,-13-1-16,13 14 16,-13-13-16,14 13 15,-14 13 1,13 1-1,-13-1 1,0 0-16,0 0 0,0 0 16,13-13-16,-13 14 15,0-1-15,0 0 16</inkml:trace>
  <inkml:trace contextRef="#ctx0" brushRef="#br0" timeOffset="33415.51">13785 5755 0,'-13'-14'0,"-1"28"16</inkml:trace>
  <inkml:trace contextRef="#ctx0" brushRef="#br0" timeOffset="34070.22">13891 5781 0,'0'40'0,"0"-27"0,0 0 15,0 1-15,0-1 16,0 0-16,-14 0 0,14 0 16,0 1-16,0-1 15,14-40 17,-1 27-17,0-13 1,0 13-16,1 0 0,-1 0 15,0 0 1,0 0-16,0 0 16,14 0-1,-14 0-15,14 0 16,-14-13 0,0 0-16,0 0 31,1-1-16,-14 28 1,13-1 0,-13 0-16,0 0 15,0 0-15,-13 27 16,13-13-16,-14-14 16,14 0-16,-13 0 0,13 0 0,-13 1 15,0-1-15,-1 0 0,1 14 16,0-27-16,13 13 15,-13-13-15,13-27 16,13 27 0,-13-13-16,13 0 0,-13 0 15,13 13-15,1-14 0,-1 1 16,-13 0-16,13 0 0,14 0 0,-14 13 16,0-27-1,0 14-15,0 13 0,1 0 0,-14-13 16,13 13-16,0-14 0,0 14 15</inkml:trace>
  <inkml:trace contextRef="#ctx0" brushRef="#br0" timeOffset="34544.65">14790 5662 0,'-13'0'0,"0"0"0,0 13 0,-1-13 16,1 14-16,0-14 0,0 13 0,-1 0 15,1 0-15,-13 0 16,26 1-16,-14-1 0,14 0 16,-13-13-16,26 13 15,1-13 1,-1 0-16,0 0 0,0-13 0,14 13 15,-14 0-15,0 0 0,1 0 16,-1 0-16,0 0 0,0 13 16,0-13-16,1 0 0,-1 14 15,0-14-15,0 13 16,1-13 0,-14 13-16,13-13 15</inkml:trace>
  <inkml:trace contextRef="#ctx0" brushRef="#br0" timeOffset="35662.8">15716 5450 0,'-13'27'0,"0"-14"16,13 0-16,-13 14 0,-1-14 0,14 13 15,-13 1-15,13-14 0,-13 14 16,13-1-16,0-13 0,0 1 0,-13 12 15,13-13-15,13 0 0,-13 1 0,0-1 16,0 0-16,0 0 16,-13-39 15,13 13-15,-14-1-16,14 1 15,-13 13-15,0-13 0,0 13 16,-14 13-16,14 0 15,0-13-15,0 14 16,-1-1-16,1 0 0,13 0 16,0 1-1,13-1 1,1-13-16,-1 0 0,0 0 16,14-13-16,-14 13 0,13 0 0,-13-14 15,1 14-15,12-13 0,-13 13 16,1-13-16,-1 13 0,0 0 15,0 0-15,-13 13 16,13 0 0,-13 14-1,0-1 1,14-12 0</inkml:trace>
  <inkml:trace contextRef="#ctx0" brushRef="#br0" timeOffset="35814.92">15941 5636 0,'-13'-14'16,"13"1"-16,-27 26 31</inkml:trace>
  <inkml:trace contextRef="#ctx0" brushRef="#br0" timeOffset="36201.07">16113 5649 0,'0'-13'0,"-40"39"32,27-13-32,0-13 15,13 14-15,-13-1 0,0 0 16,-1 0-16,14 0 0,-13 1 0,13-1 16,0 0-16,0 0 0,13 1 15,1-14 1,25 0-1,-26-14-15,1 14 0,-1 0 16,0 0-16,0-13 16,1 13-16,-1 0 0,0 0 15,0 13 1,0-13 0,1 0-16,-14 14 0,13-14 15,0 0-15,0 0 16,1 0-16,25 0 15</inkml:trace>
  <inkml:trace contextRef="#ctx0" brushRef="#br0" timeOffset="36698.48">16920 5847 0,'-40'-53'0,"40"27"0,0 13 16,0-14-16,0-12 0,0-1 0,0 0 15,14 0-15,-1-39 16,0 53-16,0-14 0,1 14 0,-1 12 16,-13 1-16,13 0 0,0 0 0,0 13 15,-13-14-15,14 14 0,-1 14 16,-13-1-16,0 0 16,-13 14-16,-1-14 15,1 0-15,0 13 0,-13 1 16,-1-1-16,1 1 0,-1-14 0,1 13 15,13-12-15,-14 12 16,1 1-16,12-14 0,1 0 16,13 0-1,27-13 1,-14 0-16,0 0 0,14-13 16,25 13-1,-25 0-15,-1 0 0,-12 0 0,25 0 16,-12 0-16,-14 0 0,0 0 15</inkml:trace>
  <inkml:trace contextRef="#ctx0" brushRef="#br0" timeOffset="38190.51">17926 5596 0,'0'-13'0,"-14"-1"16,1 14-16,0 0 0,0 0 15,-1 0-15,1 0 0,-13 0 0,-1 0 16,1 0-16,-1 14 0,1-14 15,-1 13-15,1-13 0,13 13 0,-1-13 16,1 13-16,0 1 0,0-14 16,13 13-16,-13-13 0,26 13 15,-13 0-15,13-13 0,0 14 16,27-1-16,-14 0 0,-12-13 16,12 13-16,1 0 0,-14 1 0,13-1 15,-13-13-15,1 13 0,-1 0 16,0 1-16,-13-1 0,13 0 0,-13 0 15,0 1-15,-13-1 0,0 0 16,13 0 0,-13-13-16,-1 13 0,1-13 31,26-13-15,1 0-16,25-13 15,1-1 1,-13 1-16,-1 12 0,0-12 15,1 13-15,26-40 16,-40 40-16,0-1 0,14-12 16,-27 13-16,13-1 0,-13 1 15,13 0-15,-13 0 16,-26 39 15,13 1-15,13-14-16,0 13 15,0-12-15,0-1 16,13 0-16,0 0 16,0-13-16,-13 13 0,13-13 15,1 0-15,-1 0 0,13 0 16,-12-13-16,-1 13 0,0 0 0,0-13 16,0 0-16,1 0 0,12-1 15,-13 1-15,1-13 0,-1-1 0,13 1 16,-12-1-16,-1 1 0,0-1 0,-13 14 15,13-13-15,0 12 0,-13 1 16,14-13-16,-14-1 16,13 14-16,-13 0 15,-13 39 1,-1-26 0,1 53-16,0-40 15,-13 54 1,26-54-16,0 13 0,0 14 15,0-27-15,0 0 0,13 1 16,0-1-16,0 0 16,0-13-16,1 0 0,-1 0 15,0 13-15,-13-26 0,27 13 16,-14 0-16,0-13 0,0 0 0,1 13 16,-1-14-16,0 1 0,0 0 0,-13-14 15,13 14-15,1 0 16,-14 0-16,13 0 0,-13-1 15,0 1-15,13 13 0,-13-13 0,-13 26 47,0 27-31,13-27-16,-14 27 16,14-27-16,0 0 15,14 0 1,25-13-1,-12 0 1,-14 0 0,0 0-16,0 14 15,1-1 1,-14 0 0,13-13 15</inkml:trace>
  <inkml:trace contextRef="#ctx0" brushRef="#br0" timeOffset="38350.47">18931 5503 0,'0'-13'16</inkml:trace>
  <inkml:trace contextRef="#ctx0" brushRef="#br0" timeOffset="38561.25">18336 5543 0,'26'0'16,"-13"0"0,14 0-16,-14 0 0,0 0 15,14 0-15,-1 0 0,-13 0 0,14 0 16,-14 0-16</inkml:trace>
  <inkml:trace contextRef="#ctx0" brushRef="#br0" timeOffset="38877.44">18931 5609 0,'0'27'16,"0"-14"-16,0 13 15,13-12 17,0-14-17,1 0 1,-1-14-1,0 14-15,0 0 16,1 0 0,-1 0-16,0 14 15</inkml:trace>
  <inkml:trace contextRef="#ctx0" brushRef="#br0" timeOffset="39994.69">19606 5741 0,'66'-52'0,"-53"25"16,0 14-16,14 0 0,-27-14 0,13 14 16,13-27-1,-26 27-15,14 0 0,-14 0 0,0-1 16,0 1 0,-27 26-1,14 1 1,13-1-16,-13 0 0,13 0 0,0 0 15,0 14 1,13-14-16,-13 0 0,13-13 16,-13 14-16,13-1 0,1-13 0,-1 0 0,0 0 15,0 13-15,1-13 0,-1-13 16,0 13-16,0 0 16,0-13-16,1 13 0,-14-14 0,13 14 15,0-13-15,0 13 16,1-13-16,-1 13 15,13 13 17,-26 0-32,13-13 0,-13 14 15,14-1-15,-1 0 16,13-13 15,-26-13-15,14 13-16,-14-13 15,13 13-15,0 0 0,-13-14 0,13 14 16,1-13-16,-1 0 0,0 13 16,-13-13-16,13 13 0,0-14 15,-39 28 32,13-1-31,13 0-1,0 0 1,13-13 0,0 0-1,0 0 1,1 0-16,-1 0 16,0 0-16,0 0 15,1 0-15,-1 14 31,0-14-15,0 13 15,1-13 1,-1 0-17,0 0 1,-13-13-16,13 13 15,0 0-15,-13-14 16,14 14-16,-1 0 16,0-13-16,0 13 15</inkml:trace>
  <inkml:trace contextRef="#ctx0" brushRef="#br0" timeOffset="40546.31">20796 5490 0,'0'27'16,"0"-14"-1,0 0-15,0 0 16,0 0-16,0 1 15,0-1 1,27-26 15,-14-1-15,0 14 0,-13-13-16,13 13 0,1 0 15,-14-13-15,13 13 0,0 0 16,0 13-1,-13 0 1,14-13-16,-14 14 0,0-1 16,13-13-1,0 13-15,0-13 16,0 13-16,14-13 16,-14 0-1</inkml:trace>
  <inkml:trace contextRef="#ctx0" brushRef="#br0" timeOffset="41460.61">21127 5530 0,'-13'0'0,"13"-13"15,-13 26 17,-1 0-32,14 0 15,-13-13 1,13 13-16,0 1 15,0-1 1,0 0 0,13-13-16,14 0 15,-14-13 1,0 13 0,0-13-1,1 13-15,-14-14 16,13 14-16,0-13 15,0 13 17,-13-13-17,0 26 63,0 0-78,0 1 32,14-14-32,-14 13 15,26-13 32,-13-13-31,0-1 15,1 14-15,-1 0-1,-13 14 1,13-14 0,-13 13-1,13-13 1,1 0-1,-1 0 1,0 0 0,0 0-16,1 0 0,-1 13 15,0-13 1,0 0 0,-13 13-1,13-13-15,1 0 16,-14-13-1,13 13-15,0-13 16</inkml:trace>
  <inkml:trace contextRef="#ctx0" brushRef="#br0" timeOffset="41830.65">21669 5278 0,'0'27'31,"-13"-14"-31,13 0 0,0 1 0,0 12 16,0-13-16,-13 1 15,13 12-15,0-13 16,0 0-16,0 1 16,0-1-1,13-13-15,0 0 16,1 0-16,12 13 15,-13-13 1,1 27 0,-14-14-16,-14 13 31,1-26-31,13 13 0,-13-13 0,0 14 16,-14-1-1,14-13-15,13 13 16</inkml:trace>
  <inkml:trace contextRef="#ctx0" brushRef="#br0" timeOffset="42369.95">21908 5569 0,'52'-26'15,"-38"13"-15,-1 0 16,-26-1 15,-1 28-15,1-14-16,13 13 0,-13 0 15,0 0 1,13 0-16,0 1 16,13-1-1,0-13 1,14-13 0,-14 13-16,0 0 15,0-14-15,1 14 16,12 0-1,-13 14 1,0-1 0,-13 0 15,0 0-15,14-13-1,12-26 1,1-1-1,-14 27-15,0-13 0,0 0 0,1 0 16,12 0-16,-13-1 0,0 1 16,1 0-1</inkml:trace>
  <inkml:trace contextRef="#ctx0" brushRef="#br0" timeOffset="43797.87">16325 6443 0,'0'-14'16,"0"1"-1,-13 13 1,-1 27 0,14-14-1,0 0-15,0 0 0,0 1 16,14 12-16,-14-13 0,0 40 15,0-26-15,0-14 0,0 27 16,0-27-16,-14 13 16,14-13-16,0 1 0,0-1 15,-13 0-15,26 0 32,-13 1-17,14-1-15,-14 0 16,-14 27-16,1-1 15,13 1-15,-13 0 0,0-1 0,-14 1 0,14 0 16,0-14-16,-1 14 0,-12 26 16,26-39-16,-13-14 15,13 13-15,-13-13 0,13 1 0,0-1 16,0 0-16,0 0 0,13-13 16,13-13-1,1 0-15,12 0 0</inkml:trace>
  <inkml:trace contextRef="#ctx0" brushRef="#br0" timeOffset="45026.83">18243 6456 0,'13'0'0,"0"13"16,-13 0 0,-13-13-16,13 14 0,0-1 0,-13 0 15,13 0-15,-13 14 0,13-14 0,-13 13 16,-1-12-16,14-1 0,0 13 16,-13-12-16,13-1 0,0 0 0,0 0 15,0 0-15,13 1 0,14-14 31,-14 0-31,0 0 0,14-14 16,-14 14-16,0 0 16,0-13-16,1 13 15,-1 0-15,0 0 0,-13 13 16,0 1-16,0-1 0,0 0 16,0 0-16,0 14 0,-13 12 0,13 1 15,-13 0-15,-1 0 0,1-1 16,0 1-16,-27 66 15,27-80-15,0 14 0,-14-27 0,27 14 16,-13-14-16,0 0 0,0 0 16,-1-13-16,1 0 0,-13 13 15,13-13-15,-1-13 0,1 13 16,-13-13-16,12 13 16,1-13-16</inkml:trace>
  <inkml:trace contextRef="#ctx0" brushRef="#br0" timeOffset="45965.7">16550 6813 0,'13'-13'0,"0"13"0,-39 13 0,65-26 16,-25 13-16,-14 13 16,13-13-16,0 13 0,-13 0 15,-13 1-15,13-1 16,-13 0-16,-27 14 15,27-14-15,-1 0 0,1-13 16,13 13-16,-13-13 0,0 14 0,0-1 16,-1-13-1,14 13 1,14-13 0,12 0-1,-13 0-15,0 0 0,1 0 0,-1 0 16,0 0-16,27 0 15,-14-13-15,-12 13 0,-1 0 16,0-13-16</inkml:trace>
  <inkml:trace contextRef="#ctx0" brushRef="#br0" timeOffset="46145.59">16788 6932 0,'13'-13'0,"0"13"0,-39 13 16,66-13 0,-27 0-16,-13 13 15,0 1-15,0-1 0,13-13 16,-13 13-16,0 0 0,-13 0 15,13 1-15,-13 25 16,-1-25-16,1 12 16,0-26-16,0 13 0,-1 1 15</inkml:trace>
  <inkml:trace contextRef="#ctx0" brushRef="#br0" timeOffset="46479.59">17277 6853 0,'-53'53'16,"14"-27"-1,25 1-15,1-14 16,0 0 0,0-13-16,13 13 15,0 0-15,26-13 32,-13 0-32,1 0 0,-1 0 15,0 0-15,0 0 0,1 0 0,-1 0 16,0 0-16,0 0 0,1-13 15,12 0-15,-13 13 16,0-13-16,-13 0 0</inkml:trace>
  <inkml:trace contextRef="#ctx0" brushRef="#br0" timeOffset="46678.5">17383 6853 0,'-26'39'31,"26"-25"-31,-14 12 16,14-13-16,-13 14 0,13-14 15,-13 13-15,0-12 0,0 12 0,13-13 16,-14 1-16,14-1 0,-13 0 0,13 0 16,-13 1-16,13-1 15</inkml:trace>
  <inkml:trace contextRef="#ctx0" brushRef="#br0" timeOffset="46917.44">17489 6959 0,'26'13'16,"-26"0"-1,0 13 1,0-12-16,-13 12 16,0-13-16,13 1 0,-13-1 15,-1 0-15,14 0 0,-13-13 0,0 27 16,0-14-16</inkml:trace>
  <inkml:trace contextRef="#ctx0" brushRef="#br0" timeOffset="47230.75">17714 6800 0,'-13'39'16,"13"-25"-16,-14 25 15,28-25-15,-1 12 32,-13-13-32,13 1 0,0-14 0,1 0 15,-1 0-15,0 0 16,0-14 0,-39 1-1,13 0 1,-1 13-16,1 0 0,0 0 15,0 0-15,-1 13 16,1-13-16</inkml:trace>
  <inkml:trace contextRef="#ctx0" brushRef="#br0" timeOffset="47804.43">18653 7025 0,'66'0'16,"-53"0"-16,1 0 0,-1 0 15,0 0-15,14 0 0,-14 0 0,27-14 16,-27 14 0,-13-13-16,13 13 0,0-13 0,0 13 15,1-13-15,-14-14 0,13 14 16,-13 0-16,13-14 0,-13 1 0,0-1 15,13-39-15,-13 27 16,0-1-16,0 14 0,14-1 0,-14 14 16,0-14-16,0 1 0,0 13 15,0-1-15,0 1 0,0 0 0,0 0 16,-14 0-16,1 13 16,13-14-1,-13 14-15</inkml:trace>
  <inkml:trace contextRef="#ctx0" brushRef="#br0" timeOffset="48029.52">19010 6456 0,'-26'26'16,"-1"-12"-1,14-1-15,-13 0 0,12 0 16,-25 14-16,26-14 0,-40 27 31,26-14-31,14-13 16</inkml:trace>
  <inkml:trace contextRef="#ctx0" brushRef="#br0" timeOffset="48182.65">18944 6535 0,'40'0'16,"-27"13"-16,0-13 0,-13 14 15,14-14-15,-1 13 0,0 0 16,0 0-16,14-13 16,-14 14-16,0-14 0,0 13 0,14-13 0,-14 13 15,0-13-15,14 0 16</inkml:trace>
</inkml:ink>
</file>

<file path=ppt/ink/ink19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34:03.662"/>
    </inkml:context>
    <inkml:brush xml:id="br0">
      <inkml:brushProperty name="width" value="0.05292" units="cm"/>
      <inkml:brushProperty name="height" value="0.05292" units="cm"/>
      <inkml:brushProperty name="color" value="#0070C0"/>
    </inkml:brush>
  </inkml:definitions>
  <inkml:trace contextRef="#ctx0" brushRef="#br0">13137 3003 0,'0'13'110,"13"-13"-95,79 13-15,14-13 0,53 0 16,39 14-16,14-14 15,119 0 1,-14 0-16,-26 0 16,67 0-16,-28 0 15,-39 0-15,0 0 16,-39 0-16,-120 0 16,66 0-1,-105 0-15,-93 13 31</inkml:trace>
  <inkml:trace contextRef="#ctx0" brushRef="#br0" timeOffset="976.82">18164 3056 0,'13'0'62,"119"0"-46,0 0-16,14 0 15,251 0 1,-133 0-16,67 0 16,-13 0-16,118 0 15,173 0-15,-226-66 16,28 26-16,-28-26 16,-118 40-1,-1-1-15,-26-26 0,120 13 31,-266 27-31,-39 0 0,-13 13 16,-27 0 0</inkml:trace>
  <inkml:trace contextRef="#ctx0" brushRef="#br0" timeOffset="4196.62">16867 397 0,'0'13'0,"-13"14"16,13-14-1,0 0-15,0 0 0,-13 0 16,13 14-16,0-14 0,0 0 16,0 14-16,-13-14 0,13 0 0,0 1 15,0-1-15,0 0 0,0 0 16,0 0-16,0 1 15</inkml:trace>
  <inkml:trace contextRef="#ctx0" brushRef="#br0" timeOffset="4391.45">16986 622 0,'13'0'16,"1"13"-1,-14 0-15,0 0 16,0 1-16,0-1 16,0 0-16,-14-13 0,14 13 15,0 1-15,-13-14 0,13 13 16,0 0-16,-13 0 0</inkml:trace>
  <inkml:trace contextRef="#ctx0" brushRef="#br0" timeOffset="4615.29">17277 476 0,'14'13'16,"-14"1"-1,0 12-15,0-13 0,0 1 0,0-1 16,0 0-16,-14 0 16,14 14-16,0-14 0,-13 0 0,13 14 15,0-14-15</inkml:trace>
  <inkml:trace contextRef="#ctx0" brushRef="#br0" timeOffset="5747.41">16828 979 0,'26'0'0,"-26"-13"15,26 13-15,-12 0 16,-1 13 0,-13 0-16,0 0 0,0 1 15,0-1-15,0 0 16,-13 0-16,13 1 0,-14 12 16,1-13-16,13 0 0,-13 1 15,13-1 1,0 0-1,13-13 1,0 0-16,1 0 0,-1-13 16,0 13-16,14-13 0,-14 13 15,0-14-15,13 1 0,-12 13 0,-1-13 16,13 13-16,1-13 0,-14 0 16,0 13-16,1 0 15,-1 0-15,13 0 16,-13 0-16,-13 13 15,14 0-15,-14 0 16,13-13-16,-13 13 16,0 1-16,0-1 15,0 0-15,0 0 16</inkml:trace>
  <inkml:trace contextRef="#ctx0" brushRef="#br0" timeOffset="5982.32">17423 992 0,'0'13'16,"0"1"0,0-1-16,0 0 0,-13 0 15,13 1 1,0-1-16,0 0 15,13-13-15,0 13 16,0-13-16,0-13 16,1 13-16,-1 0 0</inkml:trace>
  <inkml:trace contextRef="#ctx0" brushRef="#br0" timeOffset="6656.26">17039 1442 0,'13'0'16,"-13"13"-1,-13 0 1,13 1-16,13-1 16,-13 0-1,14 0-15,-14 1 16,13-14-1,0 13-15,0 0 16,-13 0 0,0 1-16,-13-1 15,0 0-15,0 0 0,-1 0 16,1-13-16,0 14 0,0-14 16,13 13-1</inkml:trace>
  <inkml:trace contextRef="#ctx0" brushRef="#br0" timeOffset="6964.4">17277 1455 0,'40'0'15,"-27"0"-15,0 0 16,1 13-1,-1 1 1,-13-1 0,13 0-1,-13 0-15,0 1 16,13-14-16,-13 26 16,0-13-1,0 14 1,-13-27-1,13 13-15,-13-13 0,13 13 16,-13-13-16</inkml:trace>
  <inkml:trace contextRef="#ctx0" brushRef="#br0" timeOffset="7616.7">17026 1984 0,'-40'27'15,"27"-14"-15,0 0 16,13 1-16,-13-14 16,13 13-16,0 0 15,0 0 1,0 0-16,26-13 15,-13 0-15,0 0 0,1 0 16,-1 0-16,27 0 16,-27 0-16,13-13 0,-12 0 15</inkml:trace>
  <inkml:trace contextRef="#ctx0" brushRef="#br0" timeOffset="7761.41">17185 1945 0,'-14'39'16,"14"-25"-16,-13-1 15,13 0-15,0 0 0</inkml:trace>
  <inkml:trace contextRef="#ctx0" brushRef="#br0" timeOffset="7916.41">17343 2051 0,'14'13'0,"-28"0"16,14 0-16,-13-13 15,13 13-15</inkml:trace>
  <inkml:trace contextRef="#ctx0" brushRef="#br0" timeOffset="8156.29">17568 1931 0,'-13'14'16,"0"-1"-1,13 0-15,-13-13 16,-1 27-16,1-27 0,13 26 16,-13-26-16,13 13 15,0 1-15,0-1 16,13-13-16,0 0 16,14-13-16</inkml:trace>
  <inkml:trace contextRef="#ctx0" brushRef="#br0" timeOffset="8311.96">17687 1958 0,'-39'66'16,"39"-53"-16,0 1 16,-14-1-16,14 13 15,0-13-15,0 1 16</inkml:trace>
  <inkml:trace contextRef="#ctx0" brushRef="#br0" timeOffset="8826.67">18389 1138 0,'0'-14'0,"-27"28"16,14-14-16,-14 13 15,27 0-15,-26 0 16,13 1-16,13-1 15,0 13-15,13-12 16,0-1 0,0 13-16,1-13 15,-1 1-15,0-1 0,-13 0 16,13 0-16,-26 14 16,0-14-16,0 0 15,-1 1-15,-12-1 16,26 0-16,-13-13 0,-1 13 15</inkml:trace>
  <inkml:trace contextRef="#ctx0" brushRef="#br0" timeOffset="8991.11">18534 1323 0,'13'13'0,"-13"14"31,0-14-31,-13 13 16,0-12-16,13-1 0,-13-13 15,13 13-15</inkml:trace>
  <inkml:trace contextRef="#ctx0" brushRef="#br0" timeOffset="9311.04">18838 1124 0,'-66'14'0,"26"12"15,27-13 1,13 1-1,0-1-15,0 13 0,0 1 16,13-14 0,-13 13-16,0-12 15,0-1-15,0 0 16,-13-13-16,13 13 0,-13 14 16,0-14-16,0 0 15,-1-13-15,1 27 16,0-14-16</inkml:trace>
  <inkml:trace contextRef="#ctx0" brushRef="#br0" timeOffset="10152.2">18508 1733 0,'-53'26'16,"39"-12"-16,1 25 0,0-12 15,0-14-15,13 14 0,-13-1 16,13-13-16,0 0 0,0 1 16,13-1-16,-13 0 0,26 14 15,-13-27 1,1 0-16,-1 0 15,-13-14 1,0 1-16,0 0 31,-13 0-31,-1 13 16,1-14 0</inkml:trace>
  <inkml:trace contextRef="#ctx0" brushRef="#br0" timeOffset="10348.46">18640 1905 0,'13'40'15,"-26"-14"1,13-13-16,-13 1 0,13-1 15,-14 0-15,1 0 16,13 1-16,-13-1 16</inkml:trace>
  <inkml:trace contextRef="#ctx0" brushRef="#br0" timeOffset="10654.37">19024 1654 0,'-14'53'16,"1"-27"-16,13 0 0,0-12 16,0 12-16,0-13 0,0 1 15,13-14-15,-13 13 0,14 0 16,-1 0-16,0 1 15,-39-41 32,12 40-47,-12-13 16,13 14 0,-1-14-1</inkml:trace>
  <inkml:trace contextRef="#ctx0" brushRef="#br0" timeOffset="21746.28">17489 556 0,'26'0'16,"-12"0"-16,-1 0 16,0 0-16,0-14 15,1 14-15,-1 0 0,0 0 0</inkml:trace>
  <inkml:trace contextRef="#ctx0" brushRef="#br0" timeOffset="22050.88">17661 1045 0,'40'-13'16</inkml:trace>
  <inkml:trace contextRef="#ctx0" brushRef="#br0" timeOffset="22312.26">17661 1495 0,'53'0'0,"-27"0"15</inkml:trace>
  <inkml:trace contextRef="#ctx0" brushRef="#br0" timeOffset="22562.33">17846 2103 0,'53'14'0,"-40"-28"0,1 14 15</inkml:trace>
  <inkml:trace contextRef="#ctx0" brushRef="#br0" timeOffset="22871.07">19275 1191 0,'53'0'0</inkml:trace>
  <inkml:trace contextRef="#ctx0" brushRef="#br0" timeOffset="23090.35">19301 1654 0,'53'-14'31,"-26"14"-31,-14 0 0,0 0 16,14 0 0</inkml:trace>
  <inkml:trace contextRef="#ctx0" brushRef="#br0" timeOffset="28499.52">16947 198 0,'-53'-13'15,"13"0"-15,0 13 16,1 0-16,12 0 0,-105 26 31,52 1-31,41-14 16,-54 40-16,53-26 15,14-14-15,-27 40 16,13-14-16,1 1 16,-14 53-16,40-67 15,-1 14-15,-25 26 16,-1 27-16,14-27 15,12-27-15,14-12 16,-26 79-16,13-40 16,13-27-16,0 1 15,-14 40-15,14 12 32,0-52-1,67 410 16,-54-424-47,79 106 15,-78-118-15,78 65 0,-65-79 16,12 26 0,-12-12-16,65 12 0,1-13 15,-67 1 1,27-14-16,0 13 15,27 0 1,-41-13-16,-12 0 16,-14 13-16,14-13 0,12 13 15,-26-13-15,1 0 0,39 14 16,-14-1 0,1 0-16,0 0 46,-27-13-46,225 27 16,-212-27-16,67 0 16,-53 0-16,-14 0 15,80 0-15,-80 0 16,1 0-16,39 0 0,-39 0 16,25 0-1,-25 0-15,26 0 0,0 0 16,0 0-16,13 0 15,-26 0 1,-14 0-16,67 0 16,-67 0-16,40-13 0,40 13 15,-27-14 1,1 14-16,39-13 16,-66 13-16,39 0 15,-52 0-15,13-13 16,26 13-16,1 0 15,-14 0-15,-40-13 0,27 13 16,27-14-16,39 1 16,-80 13-16,27-13 15,40-13 1,-26 12-16,-54 14 16,14-13-16,39-13 15,-13-1-15,-39 1 16,26-1-16,0-12 15,-27 12-15,1 14 16,39-80-16,-40 67 16,-13-1-16,40-52 15,-26 13 1,-14 13-16,-13 13 16,0 1-16,0 25 15,0-12-15,-40-133 16,1 80-1,25 52-15,1-12 16,-53-54-16,0 0 16,26 40-16,14 53 15,-1-26-15,-39-27 16,40 40-16,-40-27 16,-1 1-16,41 25 0,-53-12 15,12-14-15,1 14 16,-40-14-1,67 27-15,-80-14 16,39 14 0,14 0-16,-40-14 15,53 27 1,27-13-16,-1 13 0,1-13 0,-27 13 16,0-13-1,-13-1-15,-13 1 16,39 13-16,-53-13 15,1 0 1,39 0-16,26 13 16,1 0-16,-80-14 15,80 1-15,-1 13 16,1 0-16,-54-13 16,41 13-16,25 0 15,-12-13-15,-67 13 0,54-14 16,12 14-16,-12-13 15,12 13-15,1 0 16,12 0-16,-12-13 0,-14 13 16,14 0-16,-1-13 0,1 13 15,-1 0-15,14 0 0,-13-13 16,-1 13-16,1 0 16,13 0-16,-27 0 0,0-14 15,1 14-15,25 0 16,-25-13-16,25 13 15,1 0-15,0 0 0,-14-13 16,14 13-16,0 0 0,-13 0 16,12-13-16,-12 13 15,13 0-15,-14-14 16,1 14 0,-1-13-1,1 13 1,13 0-1,-1-13 1,1 13 0,0 13-16,0-13 31</inkml:trace>
  <inkml:trace contextRef="#ctx0" brushRef="#br0" timeOffset="29937.3">17317 10504 0,'0'40'15,"0"-27"-15,0 0 0,0 0 16,0 1-16,0-1 0,13 0 16,-13 13-16,0-12 0,-13 12 15,13-13-15,0 1 0,0-1 16,0 0-16,0 14 0</inkml:trace>
  <inkml:trace contextRef="#ctx0" brushRef="#br0" timeOffset="30153.01">17476 10689 0,'13'0'16,"-13"13"-16,0 1 16,0-1-16,0 0 0,0 0 15,0 1-15,-13-1 0,-1 13 16,14-13-16,-13 1 16,13-1-16,-13 0 0</inkml:trace>
  <inkml:trace contextRef="#ctx0" brushRef="#br0" timeOffset="30338.98">17634 10544 0,'14'79'16,"-14"-53"-16,-14 1 15,14-1-15,0-12 16,0 12-16</inkml:trace>
  <inkml:trace contextRef="#ctx0" brushRef="#br0" timeOffset="31347.72">17330 11152 0,'53'0'0,"-40"13"16,1 1-16,-14-1 0,0 0 15,0 0-15,-27 53 16,14-52 0,13-1-16,-13 13 15,-1-12-15,1-1 16,13 0 0,13 0-1,1 1-15,12-14 16,-13 0-1,1-14 1,12 14-16,-13-13 0,0 13 16</inkml:trace>
  <inkml:trace contextRef="#ctx0" brushRef="#br0" timeOffset="31509.34">17568 11284 0,'40'-26'0,"-27"39"15,0-13-15,-13 13 16,0 1-1,0-1-15,0 13 0,0-12 16,0-1-16,0 13 16,-13-12-16,13-1 0,-13 0 15,13 0-15,0 0 16</inkml:trace>
  <inkml:trace contextRef="#ctx0" brushRef="#br0" timeOffset="31809.22">17793 11165 0,'27'27'0,"-27"-1"16,-14 1-16,14-14 15,-26 27-15,13-14 0,0-13 16,-1 14-16,1-27 0,13 13 16,-13 0-16,13 1 15,13-1-15,0-13 16,1 0-16,12 0 16,14 0-16,-27-13 15,13 13-15,-12 0 0,12 0 16,-13-14-16,27 14 0,-27 0 15</inkml:trace>
  <inkml:trace contextRef="#ctx0" brushRef="#br0" timeOffset="32835.83">17489 11748 0,'26'13'16,"-26"0"-16,0 0 16,-13 0-16,13 1 15,0-1-15,0 0 16,0 0-1,13-13-15,-13 14 0,14-1 16,-14 0-16,13 0 16,-13 0-16,0 1 15,-13-1-15,13 0 0,-14-13 16,14 13-16,-26 1 0,13-1 16,-1-13-16,14 13 15,-13-13 1,26-26-16,1 26 15,-14-14-15,26 1 16,1 0-16,-14 0 16,0 13-16,0 0 0,14-14 15,-14 14 1,0 14-16,0-14 0,1 26 16,-14-13-1,0 1-15,0 12 16,0-13-16,-14 1 15,14-1-15,0 0 16</inkml:trace>
  <inkml:trace contextRef="#ctx0" brushRef="#br0" timeOffset="33143.37">17833 11827 0,'-13'13'0,"-1"0"16,28 1 0,-14-1-1,13-13-15,-13 13 16,13-13-16,0 13 0,1 0 15,-14 1 1,13-1-16,-13 0 16,-13 0-16,13 1 15,0-1 1,-14 0-16,1 0 0,0 1 16</inkml:trace>
  <inkml:trace contextRef="#ctx0" brushRef="#br0" timeOffset="34304.12">17462 12449 0,'-13'13'0,"0"0"0,0-13 0,13 13 15,-13-13-15,-1 27 0,1-27 16,0 13-16,13 0 0,-13 0 15,13 1-15,-14-1 16,28 0 0,-1 0-1,0-13-15,0 0 16,14 14-16,-1-14 16,-13 0-16,1 0 15,-1 0-15,0-14 0,14 14 16,-14 0-16</inkml:trace>
  <inkml:trace contextRef="#ctx0" brushRef="#br0" timeOffset="34488.12">17595 12462 0,'-27'26'0,"27"-12"0,-13 12 16,13 0-16,-13 1 15,0-1-15,-1 54 32,1-54-32,13-13 15</inkml:trace>
  <inkml:trace contextRef="#ctx0" brushRef="#br0" timeOffset="34675.01">17701 12594 0,'13'0'15,"-13"13"-15,13 14 16,-26-14-16,13 0 16,0 14-16,-13-14 0,-14 27 31,27-27-31</inkml:trace>
  <inkml:trace contextRef="#ctx0" brushRef="#br0" timeOffset="34993.93">17965 12528 0,'-13'26'16,"0"-26"-16,0 27 15,-1-27-15,14 13 0,-13 0 16,13 1-16,-13-1 16,13 0-16,0 14 31,13-14-16,0-13 1,1 0-16,-1 0 16,0 0-16,0-13 15,0 13-15</inkml:trace>
  <inkml:trace contextRef="#ctx0" brushRef="#br0" timeOffset="35176.94">18031 12568 0,'-53'26'15,"53"-13"-15,0 1 0,-13-1 0,0 13 16,13-12-16,-13 12 16,13-13-16,0 0 15,0 27-15,0-27 16</inkml:trace>
  <inkml:trace contextRef="#ctx0" brushRef="#br0" timeOffset="36108.06">17529 13044 0,'26'-13'15,"-13"0"-15,1 13 16,-14-14 0,-27 28 15,14-1-31,0-13 15,-1 13-15,1-13 16,13 13 0,0 0-1,13-13-15,-13 14 0,14-14 16,12 13-16,-13 13 16,1-12-1,-14 12 1,-14-26-16,14 13 0,-13 0 15,0 1-15,0-14 16,13 13 0</inkml:trace>
  <inkml:trace contextRef="#ctx0" brushRef="#br0" timeOffset="36277.42">17714 13123 0,'26'40'0,"-26"-27"16,-13 0-1,13 14-15,0-14 0,-13 0 16,13 1-16,0-1 16</inkml:trace>
  <inkml:trace contextRef="#ctx0" brushRef="#br0" timeOffset="36622.49">18045 13057 0,'-27'13'15,"14"-13"-15,-14 0 0,14 14 16,0-14-16,13 13 0,-26-13 16,26 13-16,0 0 15,0 14 1,13-14-16,0 0 16,0 0-1,0 1-15,-13-1 0,0 0 16,0 0-16,0 1 15,0-1-15,-13-13 0,0 26 16,0-26-16,0 27 16,-1-27-16,1 13 0,-13 0 15,12 14-15</inkml:trace>
  <inkml:trace contextRef="#ctx0" brushRef="#br0" timeOffset="37076.19">17701 13467 0,'-27'14'15,"27"-1"-15,-13 0 0,13 0 16,-13 0-16,-1 14 0,14-14 16,0 14-16,-13 12 0,13 1 15,0-27-15,0 27 16,0-27-16,13 0 15,14 14-15,-14-27 16,0 0-16,1 0 16,-1 0-16,-13-13 0,13-1 15,-26-12 1,0 26 0,13-13-1,-14 13-15,1 0 0,0 0 16,0 0-1,-1 0 1</inkml:trace>
  <inkml:trace contextRef="#ctx0" brushRef="#br0" timeOffset="37370.62">17899 13560 0,'0'13'15,"0"0"-15,0 1 16,0 12 0,0 0-16,13 1 0,1-1 15,-1-12 1,0-1-16,13 0 16,1-13-16,-14 0 15,0-13-15,1 0 16,-14-1-1,-14 14 1,14-13-16,-13 13 16,-13 13-1,12-13-15</inkml:trace>
  <inkml:trace contextRef="#ctx0" brushRef="#br0" timeOffset="37552.37">17820 13811 0,'-14'66'15,"14"-52"-15,-13-1 0,13 0 0,0 0 16,-13 1-16</inkml:trace>
  <inkml:trace contextRef="#ctx0" brushRef="#br0" timeOffset="41819.37">17754 11787 0,'-14'0'0,"54"0"62,-14 0-46,-12 0-1,12 0 1,-13 13-16,1 1 16,-14-1-1,-27 13 1,14-26-1,13 14-15</inkml:trace>
  <inkml:trace contextRef="#ctx0" brushRef="#br0" timeOffset="44459.29">17158 10292 0,'-79'14'15,"52"-14"-15,14 13 0,-13-13 16,-1 13-16,1-13 0,13 13 0,-14 0 16,14 1-16,-14-1 0,14 0 0,0 14 15,0-1-15,-14 1 0,14-1 0,0 40 16,13-26-16,0-1 15,-13 1-15,13 13 0,0-13 0,0 13 16,0 0-16,0 0 0,-14 13 0,14 0 16,-13-13-16,-13 13 0,12-13 0,-12 13 15,0-13-15,-1 0 16,-13 0-16,-26 39 0,40-52 16,-14 0-16,0-1 0,14-12 0,-14-14 15,14 14-15,-1-14 0,1 0 16,13-13-16,-14 13 0,14-13 0,0-13 15,-1 0-15,14 0 16,0-1-16,14 1 16,-14 0-16,13 13 0,13-13 0,14-1 15,-27 14-15,14 0 16,12 14-16,1-1 0,0 13 0,0 1 16,-14 12-16,40 41 0,-53-41 15,14 14-15,-14 14 0,0-15 16,1 81-16,-1-67 15,-26 0-15,-1 93 0,1-80 0,0-13 16,-14 14-16,1 78 16,-1-91-16,14 12 0,-13-13 15,-1 53-15,14 0 0,13-79 16,0 0-16,0 13 0,0-27 16,13 14-16,-13-1 0,14-12 15,12-1-15,14 27 0,-27-40 16,13 1-16,-12-14 0,12 13 15,-13-13-15,40 0 0,-26-13 16</inkml:trace>
  <inkml:trace contextRef="#ctx0" brushRef="#br0" timeOffset="45937.29">17965 10319 0,'27'-53'0,"-14"53"16,0 0-16,0-13 0,1 13 16,-1 0-16,0 0 0,14 0 15,-14 13-15,0-13 0,27 13 16,-40 0-16,13 14 0,0-1 0,-13 27 15,0-13-15,0 26 16,-13-13-16,-14 13 0,14-13 16,-26 79-16,-1 1 0,0-1 15,27-79-15,13-14 16,-13 14-16,13-13 0,0 0 0,0-1 16,13 28-16,13-15 15,-12-25-15,-1-14 16,40 27-16,0-40 15,0 0-15,-14-13 16,1-1-16,-14 1 0,14 0 16,13-27-16,-27 27 0,1-27 15,-14 27-15,0 0 16,1 0-16,-14-1 0,0 1 16,-14 40-1,14-14-15,-13 0 16,13 14-16,-13 52 15,0 0-15,13-39 16,13 0-16,-13 13 0,13 39 0,0-39 16,-13-13-16,14 13 15,-1 0-15,0 0 0,0 13 0,1-13 16,-1 0-16,0 52 0,0-65 16,0 66-16,-13-53 15,0 53-15,0-67 16,0 14-16,-13 40 0,13-40 0,0-14 15,-13 1-15,0 40 16,13-41-16,-13 1 0,-1-14 0,14 14 16,-13-14-16,0 1 0,0-1 0,-1 1 15,14-1-15,-39 27 16,-1 0-16,0-13 16,27-27-16,0 0 0,0 1 15,-14-1 1,14 0-16,0-13 0,-14 0 15</inkml:trace>
  <inkml:trace contextRef="#ctx0" brushRef="#br0" timeOffset="50362.32">17529 11470 0,'172'0'15</inkml:trace>
  <inkml:trace contextRef="#ctx0" brushRef="#br0" timeOffset="50792.35">17939 12118 0</inkml:trace>
  <inkml:trace contextRef="#ctx0" brushRef="#br0" timeOffset="52179.93">17740 14036 0,'146'-26'0</inkml:trace>
  <inkml:trace contextRef="#ctx0" brushRef="#br0" timeOffset="56194.28">18825 11496 0,'13'0'15,"14"0"-15,-14 0 16,27 0-16,-14 0 16,-13 0-16,1-13 15,-1 13-15,13 0 0,-12 0 0,-1 0 16,0 0-16,0 13 15</inkml:trace>
  <inkml:trace contextRef="#ctx0" brushRef="#br0" timeOffset="56383.2">18865 11695 0,'13'0'0,"-26"0"16,39 0-16,-26 13 0,13-13 0,1 0 16,-1 0-16,0 0 0,0 0 15,1 0-15,-1 0 0,0 0 16,0 0-16,1 0 0</inkml:trace>
  <inkml:trace contextRef="#ctx0" brushRef="#br0" timeOffset="57641.74">18838 11523 0,'53'-27'15,"-40"27"-15,1 0 0,-1 0 16,0 0-16,0 0 0,1 0 16</inkml:trace>
  <inkml:trace contextRef="#ctx0" brushRef="#br0" timeOffset="57810.57">18891 11734 0,'53'0'0</inkml:trace>
  <inkml:trace contextRef="#ctx0" brushRef="#br0" timeOffset="58906.13">20439 11205 0,'66'13'0,"-53"-13"16,-13 14-16,0-1 16,0 0-1,0 0-15,-13 0 0,13 1 16,0-1-16,0 0 16,13 0-1,14 14 1,-1-14-16,-26 0 15,14 1 1,-28 12 0,1-13-16,0 0 0,-14 1 15,14-1-15,-13 0 16,13-13-16,-1 0 16,14-13-1</inkml:trace>
  <inkml:trace contextRef="#ctx0" brushRef="#br0" timeOffset="59154.02">20770 11179 0,'0'13'16,"0"13"0,0 27-16,0-40 15,0 1-15,13 12 16,0-13-16,0 1 15,1-1-15,-1-13 16,0 0-16,0 0 16,1 0-16,-14-13 15,-14-1 17,-12 28-32,13-14 15</inkml:trace>
  <inkml:trace contextRef="#ctx0" brushRef="#br0" timeOffset="59586.97">20505 11642 0,'93'-27'0,"-14"1"15,-39 13 1,39-14-16,54-13 15,-94 27-15,1 0 16,39-14-16,-52 1 16,65-40-16,-39 13 15,-26 26-15,-1-39 16,-13 0-16,-13 0 16,-26-13-16,-40-1 15,26 41-15,-66-28 16,53 41-16,-26 13 15,13 0-15,-106-1 0,0 28 16,93-1-16,-14 0 0,14 13 0,-14 1 16,-66 52-16,0 67 15,120-107 1,12 14-16,-12 40 0,52 0 16,13-54-16,662 213 0,-1310-411 15,728 238-15,27-13 16,-67-39-16,13-1 15,0-12-15,67 12 0,-27-13 16,-66-13-16</inkml:trace>
  <inkml:trace contextRef="#ctx0" brushRef="#br0" timeOffset="61209.38">21087 11642 0,'14'0'0,"12"0"0,-13 0 15,14 13-15,-14-13 0,13 13 0,1-13 16,-1 13-16,27 1 16,-26-14-16,-1 13 0,27 0 15,-40-13-15,0 13 0,14-13 0,-14 14 16,0-14-16,1 13 15,-1-13-15,0 0 16</inkml:trace>
  <inkml:trace contextRef="#ctx0" brushRef="#br0" timeOffset="61449.33">21524 11615 0,'13'0'0,"14"13"16,-27 1-16,13-1 0,0 0 15,0 0-15,14 14 0,-27-14 16,13 14-16,-13-14 0,13 0 16,-13 13-16,0-12 0,-26 25 15,-14 14-15,14-26 16,-1-1-16,-13 1 0,1-1 15,-27 14-15</inkml:trace>
  <inkml:trace contextRef="#ctx0" brushRef="#br0" timeOffset="65856.12">20002 9935 0,'0'-13'0,"0"39"31,0-12-15,0 12-16,-13-13 0,0 53 15,0-39-15,0-1 0,-1 1 16,1 12-16,0-12 0,0-1 0,-1-12 15,1 12-15,0 14 0,0-27 16,13 0-16,-27 27 16,27-27-16</inkml:trace>
  <inkml:trace contextRef="#ctx0" brushRef="#br0" timeOffset="66395.3">20029 9909 0,'-79'39'15,"65"-39"-15,1 14 0,-13-14 16,26 13-16,-14-13 0,1 0 16,26-27 15,1 14-15,-1 13-16,0 0 15,0 0 1,1 13-16,-1-13 15,-13 14-15,13-14 0,-13 13 16,13-13 0,-13 13-16,13-13 0,1 0 0,-14 13 0,13-13 15,0 13-15,0-13 16,-13 14-16,14-1 16</inkml:trace>
  <inkml:trace contextRef="#ctx0" brushRef="#br0" timeOffset="67423.39">19592 10517 0,'-26'13'16,"26"1"-16,-27 12 31,14-13-31,13 1 0,-13-1 16,0 13-1,13-13-15,-13 1 16,39-28 15,-13 14-15,-13-13-16,27 0 16,-14 0-16,0 13 0,0 0 0,-13-13 15,27 13-15,-14 0 16,0 0-16,1 13 15,-1-13 1,-13 13 0,13 0-16,0-13 31,0 0-15,1-13-1,-1 13-15,0-13 16,0 13-16,1 0 15,-1 0-15,0 0 16,0 0-16,1 13 16,-1-13-1,-13 13-15,0 0 47,0 1-47</inkml:trace>
  <inkml:trace contextRef="#ctx0" brushRef="#br0" timeOffset="68462.48">22834 10014 0,'39'14'0,"-39"25"16,-13 1-16,13-13 16,-13-1-16,13-13 0,-13 40 15,-1-26-15,1-1 0,0 1 16,0-14-16,-1 13 0,14-13 15,-13 1-15,0 12 0,13-13 0,-13-13 16,13 14-16</inkml:trace>
  <inkml:trace contextRef="#ctx0" brushRef="#br0" timeOffset="68694.99">22913 10081 0,'-106'26'0,"93"-13"16,-14 1-16,14-1 0,0 0 0,-14-13 16,14 13-16,0 0 0,-13 1 15,12-1-15,1 0 16,13 0-1</inkml:trace>
  <inkml:trace contextRef="#ctx0" brushRef="#br0" timeOffset="69295.27">22741 10716 0,'-13'-27'16,"26"27"-1,-13 13 17,0 14-1,0-14-31,0 0 15,0 1 1,-13-1 0,39-13 31,-13-13-32,1 13-15,-1 0 16,0 0-1,0 0 1,-13 13-16,14 0 16,-14 0 15,13-13-15,0 0-1,0-13 1</inkml:trace>
  <inkml:trace contextRef="#ctx0" brushRef="#br0" timeOffset="71346.28">19579 8572 0,'0'14'0,"0"-1"16,0 0 47,0 0-17,13-13-30,14 0 0</inkml:trace>
  <inkml:trace contextRef="#ctx0" brushRef="#br0" timeOffset="72814.42">23693 9234 0,'14'26'16,"-28"-26"-1</inkml:trace>
  <inkml:trace contextRef="#ctx0" brushRef="#br0" timeOffset="73888.28">20836 12938 0,'0'13'31,"-13"14"-16,13-14 1,-14 0 0,28-26 31,-1 13-32,0 0-15,0 0 16,-13 13-1,14-13 1,-14 14-16,13-14 0,-13 13 16,13-13-1,14 0 17,-14 0-32,0 0 15,0 0-15,27 0 31,-27 13-15,0-13-16,-13 13 16,14 0-1,-1-13 1,0 0-16,0 0 0</inkml:trace>
  <inkml:trace contextRef="#ctx0" brushRef="#br0" timeOffset="74114.45">21458 12898 0,'13'-13'0,"-26"53"16,13-27-1,-14 0-15,1 27 16,0-27-16,13 1 0,-13 12 15,0-13-15,-1 14 0,-12 12 16,13-12-16,13-14 0,-14 0 16,14 0-16,-13-13 15</inkml:trace>
  <inkml:trace contextRef="#ctx0" brushRef="#br0" timeOffset="74319.67">21352 13004 0,'26'14'31,"-12"-1"-15,-1 0-16,-13 0 16,13 0-16,0 1 15,0-1 1,1-13-16,-1 13 15</inkml:trace>
  <inkml:trace contextRef="#ctx0" brushRef="#br0" timeOffset="74722.73">21775 12912 0,'-13'39'16,"13"-25"-16,-13 12 31,13-13-31,0 1 0,13-1 31,0-13-15,0-13-1,1 13-15,-1 0 0,0 0 16,0 0-16,1 0 16,-1 0-1,0 13-15,0-13 0,-13 13 16,14 0-16,-28-13 15,14 13-15,0 1 16,0-1-16,-26 13 0,13 1 16</inkml:trace>
  <inkml:trace contextRef="#ctx0" brushRef="#br0" timeOffset="75010.6">21034 13361 0,'106'-39'0,"-40"39"15,14-13-15,12-1 0,-39 14 16,-13 0-16,-14 0 0,14 0 15,66-13-15,-80 13 16,1 0-16,-14 0 0,14 13 16,-1-13-16,-13 0 15</inkml:trace>
  <inkml:trace contextRef="#ctx0" brushRef="#br0" timeOffset="75924.63">21286 13388 0,'79'-27'16,"-66"14"-16,53 13 15,-39 0-15,-1 0 16,54-13-16,79 13 15,-120 0-15,14 0 0,0 0 16,0 0-16,0 0 16,0 0-16,39 0 0,-39 0 15,-13 0-15,39 0 0,-39 0 16,13 0-16,-27 0 16,1 0-16,26-13 15,-40 13-15,13-27 16,-12 27-16,-1-13 0,0-13 15,0 12-15,1 1 0,-1-40 16,-13 14-16,13-41 16,14-26-16,12-13 15,-12 13-15,-14 54 16,0-41-16,0-13 16,-13 93-16,14-40 15,-14 40 1,0-14-16,0 14 15,-14 0-15,14 0 16,-13 13 0,-13-14-1,-1 14-15,14 0 0,-13 0 16,-27 0 0,0 0-16,13-13 0,-13 13 0,0 0 15,-13 0-15,0-13 0,-27 13 16,-65-13-16,-28-1 15,1 1-15,0 0 16,92 13-16,-171-26 16,184 12-16,-65 1 15,65 13-15,-39-13 0,67 13 16,-1-13-16,-27 13 16,27 0-16,27 0 0,13 0 15,-40 13 1,39 0-16,1-13 15,0 27-15,13 12 0,-13-12 16,13-1-16,0 14 16,-13-1-16,13 1 0,-27 79 15,14-53-15,-14 53 0,27-52 16,-13-14-16,-13 66 16,-1 39-16,1-78 15,26-1-15,0-52 16,13 25-16,-13-25 15,40 13-15,39-1 16,40-25-16,-39-14 16,92-14-16,-67 1 0,94 13 15,-1-26 1,-105 26-16,-14 0 0,1-14 16,131 14-16,-105-13 15,-40 13-15,-39 0 16,-1 0-16</inkml:trace>
  <inkml:trace contextRef="#ctx0" brushRef="#br0" timeOffset="77357.41">22582 11562 0,'53'-13'0,"-26"0"15,-1 13-15,0-13 16,1 13-16,-1-14 0,1 14 16,13 0-16,-14 0 0,-13 0 15</inkml:trace>
  <inkml:trace contextRef="#ctx0" brushRef="#br0" timeOffset="77576.03">22635 11655 0,'53'0'16,"-40"0"-16,0 0 16,40-13-16,-26 13 0,-1-14 0,1 14 15,-1 0-15,-13 0 0,14-13 16,13 13-16,-14 0 0,1-13 15,-14 13-15</inkml:trace>
  <inkml:trace contextRef="#ctx0" brushRef="#br0" timeOffset="78815.03">23839 11112 0,'-40'80'16,"14"-27"0,26-27-16,-13-13 0,13 14 0,0-14 15,0 27-15,0-27 0,0 0 16,13 1-16,0-14 15,13 26-15,1-13 16,-14-26 0,0 13-16,1-13 15,-28 0 1,-12-1 0,13 1-16,-1 13 0,1 0 15,0 0-15,0 0 0,0 0 0,-1 0 16,1 0-16,0 0 15</inkml:trace>
  <inkml:trace contextRef="#ctx0" brushRef="#br0" timeOffset="79065.57">24223 11284 0,'-27'27'16,"14"-14"-16,-14 0 0,1 1 16,0 12-16,-1 1 0,1-1 15,-1 0-15,-52 27 0,39-26 16,14 13-16,-14-27 0,13 13 16,-12 1-16,-14 26 0,40-40 15,-1 0-15,1 0 0,0 1 16,13-1-16,-13-13 0,0 13 15</inkml:trace>
  <inkml:trace contextRef="#ctx0" brushRef="#br0" timeOffset="79522.28">23932 11800 0,'26'0'0,"-13"0"16,-13 14 0,0-1-16,0 0 15,-13-13-15,13 13 0,0 1 16,-13-1-16,26 0 16,-13 0-1,0 0-15,13 1 16,-13-1-1,-13 0-15,0 0 0,13 1 16,-13-14-16,-1 13 0,1-13 16,-13 13-16,12-13 0,1 13 0,0-13 15,0 0-15,-1 14 0,1-14 0</inkml:trace>
  <inkml:trace contextRef="#ctx0" brushRef="#br0" timeOffset="79801.05">24170 11748 0,'-14'39'16,"1"-39"-16,13 13 0,-13 1 16,13-1-16,0 0 0,-13 0 0,13 14 15,0-14-15,13 0 0,-13 0 16,13 1-16,0-1 15,1 0-15,12-13 0,-13 0 16,1 0-16,-1 0 16,-40-13 15,14 13-31,13-13 16,-26 26-16,12-13 0,1 0 15,0 0-15,-13 0 16</inkml:trace>
  <inkml:trace contextRef="#ctx0" brushRef="#br0" timeOffset="80360.14">24514 11364 0,'53'0'16,"-27"0"-16,0 0 16</inkml:trace>
  <inkml:trace contextRef="#ctx0" brushRef="#br0" timeOffset="80531.37">24487 11509 0,'27'0'31,"-1"0"-31,-13-13 16,1 13-16,12 0 0,-13 0 16,14-13-16,-14 13 0</inkml:trace>
  <inkml:trace contextRef="#ctx0" brushRef="#br0" timeOffset="80923.14">24911 11205 0,'-14'66'16,"1"-53"-16,0 40 15,0-39-15,13-1 0,-14 0 0</inkml:trace>
  <inkml:trace contextRef="#ctx0" brushRef="#br0" timeOffset="81145.39">25175 11351 0,'-79'39'0,"39"-12"16,-26 12-16,39-25 16,-12 12-16,12-13 0,-39 40 15,26-26-15,14-1 0,-27 14 16,13 13 0,14-40-16</inkml:trace>
  <inkml:trace contextRef="#ctx0" brushRef="#br0" timeOffset="81468.57">24963 11695 0,'-39'13'0,"26"0"0,-1 0 16,-39 27-16,40-14 15,-13-12-15,12-1 0,1 27 16,0-27-16,13 0 0,0 0 16,0 0-16,13-13 0,0 14 15,1-1-15,-1-13 16,0 0-16,0-13 16,1 13-1,-14-14-15,0 1 16,-14 13-1,1 0-15,-13 0 16,12 13-16</inkml:trace>
  <inkml:trace contextRef="#ctx0" brushRef="#br0" timeOffset="82037.2">24011 12779 0,'26'-13'15,"1"0"1,-14 13-16,0 0 0,1 0 16,-1 0-16,-13 13 15</inkml:trace>
  <inkml:trace contextRef="#ctx0" brushRef="#br0" timeOffset="82184.23">23958 12925 0,'40'0'31,"-27"-13"-31,13 13 0,-12 0 0,12-14 16</inkml:trace>
  <inkml:trace contextRef="#ctx0" brushRef="#br0" timeOffset="82419.05">24461 12621 0,'-13'26'15,"-1"-26"-15,14 27 16,-13-1-16,13-13 16,-13 14-16,0-1 15,-1 1 1,14-14-16,0 0 0,0 0 16,14 1-1</inkml:trace>
  <inkml:trace contextRef="#ctx0" brushRef="#br0" timeOffset="82721.22">24752 12607 0,'-66'27'16,"26"26"-16,27-40 15,-14 53-15,14-39 16,13-14-16,0 0 16,13 0-16,0 14 15,1-27 1,-1 0 0,-13-13-16,0-1 15,-13 1 16,-1 13-31,1 0 16</inkml:trace>
  <inkml:trace contextRef="#ctx0" brushRef="#br0" timeOffset="82932.73">24963 12621 0,'0'26'15,"-13"1"-15,0-14 16,13 0-16,-26 13 16,12 1-16,1 13 15,-13-27-15,26 0 16,-14 0-1</inkml:trace>
  <inkml:trace contextRef="#ctx0" brushRef="#br0" timeOffset="83079.5">24858 12740 0,'0'-14'0,"0"28"0,-14-28 16,14 1-16,0 0 15</inkml:trace>
  <inkml:trace contextRef="#ctx0" brushRef="#br0" timeOffset="83223.44">25030 12832 0,'13'0'0,"-53"0"31,27 0-15</inkml:trace>
  <inkml:trace contextRef="#ctx0" brushRef="#br0" timeOffset="83659.17">24302 13176 0,'26'0'16,"-12"0"-1,12-13-15,80 0 16,-66 0-16,-1-1 0,1 1 0,66-27 15,0-12-15,-40 25 16,-13 1-16,53-41 16,-27-12-16,-39 39 0,13-26 15,-40 27-15,-13-28 16,-13 28-16,-1-1 16,-12 0-16,-14 1 0,-13 12 0,0 1 15,-13-1-15,-79-12 0,-14 25 16,80 14-16,-14 14 15,-145 38-15,92 1 16,27 27-16,66-27 16,14-14-16,-41 120 15,80-79-15,13-28 16,1 1-16,52 40 0,-40-53 16,14-1-16,39 27 15,-39-39-15</inkml:trace>
  <inkml:trace contextRef="#ctx0" brushRef="#br0" timeOffset="86765.66">2566 4088 0,'159'13'0,"-93"-26"15,1 13-15,12 0 0,0-13 0,14 13 16,-1-14-16,-12 14 0,-1-13 0,173 0 16,-173 0-1,-13 13-15,66-14 16,-79 14-16,0 0 0,0-13 0,-13 13 16</inkml:trace>
  <inkml:trace contextRef="#ctx0" brushRef="#br0" timeOffset="90681.7">6125 5014 0,'13'13'16,"14"-13"-1,-1 13-15,1-13 16,-14 0-16,40 0 16,0 14-16,-27-14 0,1 0 15,39 13-15,-40-13 16,14 0-16,-14 0 0</inkml:trace>
  <inkml:trace contextRef="#ctx0" brushRef="#br0" timeOffset="91112.15">7911 5080 0,'93'13'0,"-67"-13"16,1 0-16,25-13 0,15 13 16,-41 0-16,14 0 0</inkml:trace>
  <inkml:trace contextRef="#ctx0" brushRef="#br0" timeOffset="91577.02">9790 5093 0,'79'0'15,"-53"0"-15,14 0 0,39 0 16,-39 0-16,13 0 15,40 0-15,-40 13 0</inkml:trace>
  <inkml:trace contextRef="#ctx0" brushRef="#br0" timeOffset="91896.04">11483 5186 0,'79'0'16</inkml:trace>
  <inkml:trace contextRef="#ctx0" brushRef="#br0" timeOffset="103595.27">18230 4974 0,'92'-13'16,"-65"0"-16,26 13 0,106 0 16,-107 0-16,1 0 15,0 0-15,0 0 0,0 0 0,0 0 16,0 0-16,-13 0 0,-14 0 15,1 0-15,-1 13 0,-13-13 16,0 0-16</inkml:trace>
  <inkml:trace contextRef="#ctx0" brushRef="#br0" timeOffset="103798.46">18547 5040 0,'-26'0'0,"52"14"31,1-14-15,-1 0-16,-13 0 0,27 0 0,53 0 16,-54 0-16,14 0 15,-13 0-15,-14 0 0,14 0 16,40 0 0,-67 0-16,0 0 0,0 0 15</inkml:trace>
  <inkml:trace contextRef="#ctx0" brushRef="#br0" timeOffset="106330.06">5966 4247 0,'14'-14'15,"-14"1"-15,-14 0 16,14 0-16,-13 13 0,0 0 16,-14 0-1,14 0-15,0 0 0,0 0 0,0 13 16,-1-13-16,1 0 0,-13 13 15,26 0-15,-14-13 0,1 14 16,-13 12 0,26-13-16,-14 0 0,14 14 0,0-14 0,0 14 15,0-14-15,-13 53 16,13-26-16,0-1 0,0 1 16,0 13-16,0-13 0,0-1 15,0 54-15,0-53 0,-13-1 16,13 54-16,-26-14 15,26 1-15,-27-14 16,27-53-16,0 14 0,-13-14 16,13 26-16,-13-25 15,13-1-15,0 0 0,0 0 16,-14 1-16,14-1 16,14-13-1,-1 0 1,0-13-16,27 13 15,13-14-15,-14 1 16</inkml:trace>
  <inkml:trace contextRef="#ctx0" brushRef="#br0" timeOffset="107330.42">19473 4260 0,'119'0'0,"-105"0"15,12 0-15,-13 0 0,1 0 0,12 13 0,0-13 16,1 0 0,-14 0-16,-13 13 0,13-13 15,-13 13 1,0 1-16,0-1 0,0 13 16,0 14-16,-13-27 15,13 14-15,0-1 16,0 27-16,0-26 0,13 65 15,-13-12-15,14-41 16,-1 41-16,-13-41 16,13 41-16,0-27 0,-13-27 15,0 1-15,0-1 0,0-13 16,0 14-16,0-14 0,0 0 16,-13 14-16,13-14 0,-13 0 0,-27 14 15,14-1-15,-27-13 16,13-13-16,-26 0 15,26-13 1,-13 13-16</inkml:trace>
  <inkml:trace contextRef="#ctx0" brushRef="#br0" timeOffset="108001.97">12713 3903 0,'27'0'15,"-1"0"-15,14 0 0,-14 0 16,1 0-16,-1 0 0,40 0 16,-39 0-16,13 0 0,-14 0 15,27 0-15,-13 0 0,-1 0 0,-12 13 16</inkml:trace>
  <inkml:trace contextRef="#ctx0" brushRef="#br0" timeOffset="108280.11">14195 4048 0,'212'-26'15,"-1"12"1,-131 1-16,-1 0 0,106 0 16,-13 0-16,-79-1 15</inkml:trace>
  <inkml:trace contextRef="#ctx0" brushRef="#br0" timeOffset="108450">16682 3929 0,'13'-13'15,"0"13"-15</inkml:trace>
  <inkml:trace contextRef="#ctx0" brushRef="#br0" timeOffset="109615.12">12766 4035 0,'-53'0'0,"40"0"0,0 0 16,-14 0-16,-12 13 16,12-13-16,1 0 0,-27 13 0,13-13 15,-53 14-15,41-14 16,-15 13-16,-12 0 0,13-13 0,0 13 16,0 1-16,-53-1 0,66-13 15,0 13-15,13 0 0,0-13 16,1 13-16,-41 1 15,54-14-15,-1 13 0,1-13 0,-14 13 16,27-13-16,-13 13 16,12-13-16,1 14 15</inkml:trace>
  <inkml:trace contextRef="#ctx0" brushRef="#br0" timeOffset="109949.98">11271 4180 0,'-79'67'0,"66"-54"0,-1 0 16,1 13-16,0 1 0,13-1 15,0-12-15,0 12 16,0-13-16,26 14 16,14-14-16,39 0 15,-52-13 1,52 0-16,-39 0 0,66 0 15</inkml:trace>
  <inkml:trace contextRef="#ctx0" brushRef="#br0" timeOffset="110432.63">14274 4035 0,'-106'132'0,"80"-105"15,13-1-15,-27 27 16,14-13-16</inkml:trace>
  <inkml:trace contextRef="#ctx0" brushRef="#br0" timeOffset="110686.3">13996 4247 0,'-26'26'16,"13"0"-16,0 1 15,13-1-15,0 1 16,13-14-16,13 14 16,1-1-1,-14-26-15,0 0 0,53 13 16,-39-13-16,-1 0 15</inkml:trace>
  <inkml:trace contextRef="#ctx0" brushRef="#br0" timeOffset="111287.41">15637 3956 0,'-27'238'31,"14"-185"-31,13-1 16,-13 15-1</inkml:trace>
  <inkml:trace contextRef="#ctx0" brushRef="#br0" timeOffset="111582.35">15518 4313 0,'13'26'31,"0"1"-15,14-1 0,-14-26-1,0 0-15,0 0 0,14 0 16,-14-13-16,14 0 15,12-1-15,-26 1 16</inkml:trace>
  <inkml:trace contextRef="#ctx0" brushRef="#br0" timeOffset="111813.62">16166 4035 0,'0'0'15,"66"93"1,-53-80-16,14 40 16,-27-40-16,13 27 15,0-14-15,-13 0 16,14 14-16</inkml:trace>
  <inkml:trace contextRef="#ctx0" brushRef="#br0" timeOffset="112090.81">16272 4352 0,'13'27'32,"14"-14"-17,25-26 1,-25-14 15,-14 27-31</inkml:trace>
  <inkml:trace contextRef="#ctx0" brushRef="#br0" timeOffset="112425.06">16669 4022 0,'13'-14'0,"0"14"16,0 14-16,1-14 15,39 26-15,26 14 16,-39-27-16,-1 0 0,14 14 0,66 12 15,-26 1 1,-53-27-16,-1 14 0,14-14 0,13 13 16,14 1-16,-27-14 15,-40 0-15,27 1 16,-14-1-16,0-13 16,-12 13-1,-1-13-15</inkml:trace>
  <inkml:trace contextRef="#ctx0" brushRef="#br0" timeOffset="112659.97">17502 4299 0,'13'0'15,"14"14"-15,-14-14 0,0 13 16,1 0-16,-1 0 16,-13 1-16,0-1 0,-13 0 15,13 0-15,-27 1 0,1 12 16,-14-13-16,-53 40 0,27-26 16,-53 12-16,53-25 0</inkml:trace>
  <inkml:trace contextRef="#ctx0" brushRef="#br0" timeOffset="115802.31">9856 6363 0,'-27'0'16,"80"0"-1,0 0-15,-26 0 16,78 0-16,-52 0 0,0 0 16,93 0-16,-80 0 15,93 0-15,-93 13 0,13-13 16,40 0-16,0 0 16,-66 0-16,27 0 15,-28 14-15,-12-14 16</inkml:trace>
  <inkml:trace contextRef="#ctx0" brushRef="#br0" timeOffset="116066.29">10147 6469 0,'66'0'0,"-26"0"0,-14 0 16,80 0-16,-53 0 0,66 13 15,-66-13-15,0 0 16,53 0-16,-14 14 16,-26-14-16,-26 0 15,-27 0-15,14 13 0,-14-13 16,0 0-16,-13 13 15</inkml:trace>
  <inkml:trace contextRef="#ctx0" brushRef="#br0" timeOffset="118277.02">2447 6363 0,'14'-13'16,"25"13"-1,-12 0 1,65 0 0,-25 0-1,-15 0 1,28 13-16,-1-13 15,27 0-15,-66 0 16,-14 0-16,120-13 16,-107 13-16,67 0 15,-13-26 1,-14 12 0,-52 1-16,52-13 15,-13-1-15,-26 1 16,0 12-16,12-25 15,-12 12 1,-13 14-16,-1-13 16,-13 12-16,14-25 15,12-1 1,-25 0-16,-1 14 16,-13-1-16,0 1 15,0-14-15,0 14 16,-27-27-16,14 40 15,0-14-15,-13 1 16,-1-1-16,-26-12 16,13 12-1,-12 1-15,38 26 16,-52-27-16,26 27 0,-65-26 16,-1 13-1,40-1 1,-27 14-16,-13 0 15,80 0-15,-14 0 16,14 0-16,-27 0 16,13 0-16,-39 14 15,-1-1-15,67 0 16,-66 0 0,-1 14-16,14-1 15,40-26 1,12 13-16,1 1 0,-26-1 15,-14 13 1,39-12-16,-12 12 0,13-26 16,-1 13-16,-25 27 15,12-27 1,14 0-16,0 1 0,0-1 16,-1 13-16,-12 1 15,13-1 1,-1-13-16,1 1 15,13-1-15,-13 0 16,0 14-16,13-14 0,-13 0 16,13 0-16,0 0 15,-14 27-15,14-13 16,0-1-16,0 14 16,14-27-16,-14 0 15,13 14-15,-13-1 16,26-13-16,-13 14 15,1-14-15,-1 0 16,27 14 0,-27-14-16,27 0 15,-27-13-15,13 0 16,1 13 0,-1 1-16,-13-14 15,1 0-15,12 0 16,-13 13-1,1-13-15,12 0 16,-13 0-16,0 0 16,1 13-1,-1-13 1,0 0-16,0 0 16,1 0-16,-14 13 15,13-13-15,0 0 31,-13 14 1,13-14-1,-13-14 63,0 1-79,0 0 1,27 0-16,-14-1 0,13 1 16,27 0-16</inkml:trace>
  <inkml:trace contextRef="#ctx0" brushRef="#br0" timeOffset="119406.71">2408 6416 0,'-93'-26'0,"40"26"16,0 0-16,14 0 15,-14 0-15,-53 0 0,-13 13 16,39 0-16,-65 14 15,66-14-15,12 0 0,-78 40 16,79-40-16,-292 172 31,292-132-31,-66 53 0,79-66 16,0 26-16,14-13 0,-67 119 16,79-106-16,1-13 0,-1 66 15,27-13 1,0-66-16,27 65 0,26-12 15,26-14-15,53-12 16,-65-28-16,12-12 0,40-1 16,106 14-16,26-14 15,-118-13-15,-1-13 16,0 0-16,278 0 16,-278-13-16,133 0 15,-133 13-15,1-13 0,211-27 16,-159 27-16,-93 0 15,94-1-15,-28-12 16,-25 13-16,-54 0 16,-39-1-16,-14 14 15,-13-13 1,1 13-16,-14-13 16,0 0-16</inkml:trace>
  <inkml:trace contextRef="#ctx0" brushRef="#br0" timeOffset="119781.31">3916 7633 0,'40'13'15,"12"14"1,-25-14-16,39 14 0,0 12 15,-13 1 1,-26-27-16,-14 14 0,0 12 16,-13-12-16,-13 65 15,-331-449-15,635 794 0,-357-358 16,26-39-16,-53 39 16,1-26-16,52-26 15</inkml:trace>
  <inkml:trace contextRef="#ctx0" brushRef="#br0" timeOffset="122516.44">5583 7051 0,'79'13'0,"-52"-13"0,12 0 16,14 0-16,0 0 0,0 0 0,0 0 16</inkml:trace>
  <inkml:trace contextRef="#ctx0" brushRef="#br0" timeOffset="124464.34">14076 7078 0,'92'13'32,"-52"0"-17,26-13-15,0 0 0,14 13 0,-1-13 16,14 0-16,-1 0 0,213 14 15,-200-14-15,-12 0 16,13 13-16,-13-13 0,92 13 16,-106-13-16,80 13 15,-53-13-15,-67 0 16,-12 0-16,-1 0 0,1 13 0,-14-13 0,0 0 16,0 0-1,1 0-15,-1 0 0,-40 14 31,14-14-31,0 13 0,-27 0 16,14-13-16,13 13 0</inkml:trace>
  <inkml:trace contextRef="#ctx0" brushRef="#br0" timeOffset="124891.17">15743 7329 0,'13'0'16,"0"0"-1,-13 13-15,13-13 16,-13 13-16,0 1 0,0-1 16,14 13-16,-14-12 0,0 12 15,-14-13-15,14 27 0,0-14 16,0-12-16,0 12 15,0 1-15,0-1 0,0-13 16,0 14-16,0-14 0,0 0 16,0 0-16,14-13 15,-14 14-15,0-1 16,0 0-16,-14-13 16,1 0-1,0 0-15,-27 13 16,14-13-16,13 0 15,-14 0-15,14 0 0,-14 0 16,14 0-16,-13 0 0,13 0 0,-1 14 16,-12-14-16,13 0 15,-14 0 1,14 0-16,13-14 16</inkml:trace>
  <inkml:trace contextRef="#ctx0" brushRef="#br0" timeOffset="125145.34">15584 7633 0,'-13'-13'0,"0"26"16,-1 0-16,1-13 0,0 14 0,0-1 15,-1 0-15,107-66 0,-199 119 0,93-39 16,13-14-16,0 0 0,0 1 15,0-1-15,13 13 0,0-13 16,40 27-16,-26-27 0,12 1 16,1-1-16,106 27 15,-93-27-15,-14 0 0,14 0 16,-13-13-16,39 27 16,-39-27-16</inkml:trace>
  <inkml:trace contextRef="#ctx0" brushRef="#br0" timeOffset="127716.21">10980 10663 0,'304'-53'16,"-237"40"-16,-41 13 16</inkml:trace>
  <inkml:trace contextRef="#ctx0" brushRef="#br0" timeOffset="128145.62">13547 10782 0,'158'-13'0,"-12"-14"16,-80 14-16,13 13 0,-12-13 0</inkml:trace>
  <inkml:trace contextRef="#ctx0" brushRef="#br0" timeOffset="128832.24">11218 11562 0,'133'-39'0</inkml:trace>
  <inkml:trace contextRef="#ctx0" brushRef="#br0" timeOffset="144039.66">2090 11192 0,'0'-13'0,"-13"39"31,0 27-16,13-40 1,-27 53 0,27-39-16,-13-1 0,13 1 0,-13-14 15,13 13-15,-13 14 16,13-27-16,0 1 0,0 25 16,13-25-1,0-14-15</inkml:trace>
  <inkml:trace contextRef="#ctx0" brushRef="#br0" timeOffset="144370.29">2262 11258 0,'-13'-26'0,"13"39"15,0 26 1,0-25-16,0 12 15,13 14-15,0-27 16,-13 0-16,14 1 0,-1-1 16,0-13-16,27 13 15,-27-13-15,13 0 16,-12-13-16,-1 0 16,-13-14-1,0 14-15,0 0 0,0-1 0,-13 1 16,13 0-16,-14 13 0,1-13 15,13-1-15,-13 14 0,0 0 0,0 0 16,-1 0-16,1 0 16,-13 14-16,12-14 15</inkml:trace>
  <inkml:trace contextRef="#ctx0" brushRef="#br0" timeOffset="144646.89">2500 11271 0,'0'13'16,"14"1"-16,-14-1 0,39 13 15,-39-12-15,13-14 16,14 13 0,-14-13-16,0 13 0,1-13 0,-1 0 0,0 0 15,0-13-15,1 13 16,-1-13-16,-13-1 0,0-12 15,-13-1 1,-1 14-16,1 13 0,13-13 16,-13 13-16,0-13 15,-1 13-15,1 0 16,13 13 0</inkml:trace>
  <inkml:trace contextRef="#ctx0" brushRef="#br0" timeOffset="144977.04">3268 11218 0,'-14'0'0,"67"-13"16,-26 13-1,-14 0-15,13-13 0,-12 13 0,12 0 16,-13 0-16,1-13 0,-1 13 15,0 0-15,0 0 0,0-14 0,1 14 16,-1 0-16,0 0 0,0-13 16</inkml:trace>
  <inkml:trace contextRef="#ctx0" brushRef="#br0" timeOffset="145207.71">3492 11046 0,'40'14'0,"-27"-14"16,1 13-16,-1-13 0,0 13 16,0 0-16,14 0 0,-14 14 15,-13-14-15,0 14 0,0-14 16,0 13-16,-13-12 0,0 25 15,-1-26-15,1 14 0,0-14 0,-14 27 16</inkml:trace>
  <inkml:trace contextRef="#ctx0" brushRef="#br0" timeOffset="145865.73">4379 11814 0,'0'-14'15,"0"41"-15,0-14 0,13 0 16,-13 14-16,0-14 0,13 13 0,-13-12 15,0 12-15,0 1 0,14-1 16,-14 1-16,0 25 0,0-38 16,13 12-16,-13 1 0,13-27 15</inkml:trace>
  <inkml:trace contextRef="#ctx0" brushRef="#br0" timeOffset="146287.93">4829 11761 0,'-67'-13'0,"54"26"16,-13 0-16,13 0 0,-1 0 0,1 1 15,0-1-15,0 0 0,13 0 16,-14 1-16,14-1 0,0 0 16,0 0-16,14-13 0,-1 0 15,0 0-15,0 0 0,1 0 16,12-13-16,-13 13 16,0-13-16,14 0 0,-14-1 0,0 14 15,1 0-15,-1-13 0,0 26 16,0-13-16,-13 14 15,14-1-15,-14 0 16,13 0-16,-13 0 0,0 1 16,0-1-16,0 0 0,0 0 15,0 1-15,0-1 0,0 0 16,0 0-16,0 1 0,0 12 16,0-13-1</inkml:trace>
  <inkml:trace contextRef="#ctx0" brushRef="#br0" timeOffset="147028.35">4591 12369 0,'79'0'15,"-13"-13"-15,-26 0 0,-1-14 16,67-12-16,-53 12 0,53-39 16,-27 13-16,-39 13 15,0 14-15,13-40 0,-40 39 16,13-12-16,-12-1 16,-14 14-16,13-54 0,-13 27 15,-27-39-15,14 26 16,-13 13-16,-40-40 0,-27 14 15,-79-1 1,40 54-16,65 13 0,-12 13 16,-80 13-16,80 13 15,-119 27-15,105-13 0,14 0 16,-1 12-16,14 1 16,-40 53-16,40 0 15,40-40-15,-14 40 0,53-13 16,0-40-16,14-1 15,26-12-15,53 40 0,-27-41 16,80 1-16,13 0 16,-80-40-16,1 13 0,66-13 15,-80-13-15,-13 13 0,0-14 16,0 1-16,-13 0 0,-13 0 16,0-1-16,-1-12 0</inkml:trace>
  <inkml:trace contextRef="#ctx0" brushRef="#br0" timeOffset="149091.26">5543 11443 0,'0'13'15,"0"27"-15,13 0 16,-13-14-16,0-12 16,13 38-16,-13-25 15,14 13-15,-14-27 16,13 13-16,-13-12 15,13-1-15,-13 0 16,-13-13 0,0 0-1,-14 0-15,14 0 16,-27 13-16,27 0 16,-13 1-1,-1 12-15,14-13 16,13 1-16,0-1 0,-13-13 15,26 13-15,-13 0 16,13-13-16,0 0 0,14 0 16,13-13-16,-14 0 15,-13 0-15,14-14 0,12 1 16,-25-1-16,12 1 16,-26 13-16,13-1 0,1 1 15,-1 0-15,-13 0 16,13 26 15,-13 0-15,13 0-16,-13 1 0,13-14 15,1 13-15,-1-13 16,0 0-16,0 0 16,14-13-16,-14 13 0,-13-14 15,13 14-15,1-13 0,-14 0 16,0 0-16,13-1 0,-26 1 15,13 0-15,0 0 0,-14 13 16,14-14-16,-13 14 0,0 0 16,0 0-16,-1 0 15,1 0-15,0 14 0,0-1 16,-1-13-16,14 13 16,0 0-16,0 1 15,14-14 1,12 0-16,-26-14 15,13 14-15,14-13 16,-1 13-16,-12 0 0,-1-13 0,13 13 16,-13 0-1,1 0-15,-1 0 16,0 0-16,0 0 0,1 0 16,-1 0-16,0 0 15,-13 13-15,26-13 16,-12 0-16,-1 0 15,0-13-15,14 13 16,-14-13 0,0 13-16,-13-14 15,13 14-15,-13-13 0,14 13 16,-14-13-16,0 0 0,13 13 16,-13-13-1,13 39 32</inkml:trace>
  <inkml:trace contextRef="#ctx0" brushRef="#br0" timeOffset="150049.41">6271 12502 0,'-14'26'15,"14"0"1,0-12-16,0 25 0,0-25 0,0 12 16,0 1-16,0-14 0,14 0 15,-14 13-15,0-12 0,13-1 16</inkml:trace>
  <inkml:trace contextRef="#ctx0" brushRef="#br0" timeOffset="150460.12">6562 12343 0,'-14'0'16,"-12"0"0,13 0-16,0 13 0,-1 0 15,1-13-15,0 13 0,-14 14 16,14-14-16,0 0 16,13 1-16,0-1 0,26 13 15,-12-26 1,-1 0-16,0 0 15,0-13-15,1 13 0,-1-13 16,13 13-16,1-13 0,-14 13 16,13 0-1,-12 0-15,-14 13 16,13 0-16,-13 14 16,0-14-16,0 0 0,0 0 15,0 14-15,0 26 16,-13-40-16,13 0 15,13 0 1</inkml:trace>
  <inkml:trace contextRef="#ctx0" brushRef="#br0" timeOffset="150677.14">6985 12211 0,'-13'13'16,"0"0"-16,13 0 15,-14 27-15,1-14 0,13-12 16,-13 25-16,0-12 0,-1 39 16,1-26-16,0-14 15,13-13-15,-13 14 0,13-14 0,-14 0 16</inkml:trace>
  <inkml:trace contextRef="#ctx0" brushRef="#br0" timeOffset="150807.21">6839 12396 0,'0'-14'15,"-13"1"-15,26 40 0</inkml:trace>
  <inkml:trace contextRef="#ctx0" brushRef="#br0" timeOffset="150955.4">7170 12449 0</inkml:trace>
  <inkml:trace contextRef="#ctx0" brushRef="#br0" timeOffset="151595.35">6165 13322 0,'211'-27'16,"-118"1"-16,26-14 15,-66 14-15,66-27 16,-13-13-16,0 0 16,0-14-16,-14-12 15,-12-14-15,-41 53 16,1 0-16,13-79 16,-13-1-16,-27 1 15,-13 53-15,0-1 0,0 14 16,-27 0-16,-39-27 15,13 54-15,-13 25 0,-93 1 16,67 40-16,-27-1 0,-133 67 16,1 39-16,132-53 15,13 14-15,-278 277 16,265-198-16,66-26 16,40-80-16,13-13 15,13 0-15,1 0 0,65 26 16,120 1-1,-41-54-15,-65-13 16,66-13-16,-14-13 16,-92 0-16</inkml:trace>
  <inkml:trace contextRef="#ctx0" brushRef="#br0" timeOffset="154271.1">24328 13361 0,'-26'14'0,"13"-14"0,0 13 0,-1 0 16,-12 0-16,13 1 15,-40 39-15,13-14 0,27-26 16,-14 14-16,14-14 0,-13 0 16,12 1-16,-12 12 0,26-13 15,-13 0-15,-1 1 0,1-1 16</inkml:trace>
  <inkml:trace contextRef="#ctx0" brushRef="#br0" timeOffset="154757">24223 13282 0,'13'-26'32,"0"26"-17,0 0-15,1 0 0,-1 0 16,13-14-16,-13 14 15,1 0-15,-1 0 16,0 0-16,0 0 0,1 0 16,-1 0-16,0 0 15,14 0-15,-14 14 16,-13-1 0,0 13-16,0-12 0,0-1 15,0 0-15,-13 13 16,-1 1-16,1-1 15,13-12-15,-13 12 16,13-13-16,-13 14 0,13-14 16,0 13-16,0 1 15,13-27 1,-13 13-16</inkml:trace>
  <inkml:trace contextRef="#ctx0" brushRef="#br0" timeOffset="158240.24">24183 13256 0,'-13'0'16,"52"0"47,-39 13-63,14-13 15,12 0-15,-13 0 16,14 0-16,-1 0 15,-13 0-15,1 0 16,-1 0-16,13 0 16,-12 0-16,-1 0 15,0 0 1,0 0 0,1 13-1,-14 0 1,0 1-16,0-1 15,0 0-15,0 13 0,0 1 16,0-14-16,-14 0 16,14 14-16,0-14 0,0 14 15,-13-1-15,13 0 16,0 1-16,-13-1 16,13-12-1,0-1-15,0 0 16,0 0-16,0 0 31,13 1 0,-13-41 63,13-12-78,-13 25-16,0 1 0,14-13 15,-1 12-15,-13 1 16,0 0-16,13 0 0,-13 0 16,13-14-16,0 1 15,-13 12-15,14 1 16,-14 0-1,13 0-15,-13-1 16,0 1 0,13 13-16,-13-13 15,0 0 17,-13 13 30,0 0-46,-14-13-1,-12 13 1,-14 0 0,39 0-16,-39 0 15,40 0 1,-13 0-16,-1 0 31,14 0-15</inkml:trace>
  <inkml:trace contextRef="#ctx0" brushRef="#br0" timeOffset="159491.65">24567 13322 0,'-53'-27'47,"0"1"-47,-13-1 0</inkml:trace>
  <inkml:trace contextRef="#ctx0" brushRef="#br0" timeOffset="160464.57">7646 13216 0,'67'119'16,"-54"-106"-1,13 53-15,-12-26 0,-1 0 16,0-14-16,-13 1 15,0-14-15,0 0 16,0 14-16</inkml:trace>
  <inkml:trace contextRef="#ctx0" brushRef="#br0" timeOffset="160811.82">7766 13216 0,'-40'13'16,"27"0"-16,13 1 16,-14-1-16,1 0 0,0 0 0,0 14 15,-27 12 1,40-25-16,-13-14 15,13 13-15,13-40 32,13 14-32,1 0 15,-1 13-15,1 0 16,-1 0-16,-12 0 16,25 13-16,1 0 15,0 1-15,13 12 16,-27-26-16</inkml:trace>
</inkml:ink>
</file>

<file path=ppt/ink/ink1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36:58.093"/>
    </inkml:context>
    <inkml:brush xml:id="br0">
      <inkml:brushProperty name="width" value="0.05292" units="cm"/>
      <inkml:brushProperty name="height" value="0.05292" units="cm"/>
      <inkml:brushProperty name="color" value="#0070C0"/>
    </inkml:brush>
  </inkml:definitions>
  <inkml:trace contextRef="#ctx0" brushRef="#br0">4326 2593 0,'26'0'16,"1"0"-1,-1 0-15,40 0 0,-26 0 16,13 0-16,13 0 0,-13 0 15,26 0-15,146-13 16,-145 13-16,-1 0 0,-13 0 0,53 0 16,-52 0-16,-15 0 15,1 0-15,0 0 0,53-14 16,-53 14-16,-13 0 0,13 0 16,-27 0-16,-13 0 0,1 0 15,12 0-15,-13 0 0,0 0 16,1 0-16</inkml:trace>
  <inkml:trace contextRef="#ctx0" brushRef="#br0" timeOffset="1455.22">10663 2593 0,'79'13'16,"-52"-13"-16,-1 0 15,120 0-15,-80-13 16,0 13-16,13 0 0,93 0 15,13-13-15,14-1 16,-93 14-16,26-13 16,119 0-16,-118 13 15,78 0-15,1-13 0,-14 13 16,-92 0-16,-13 0 16,-14 0-16,80 0 15,-53 0-15,-53 0 16,-14 0-16,-12 13 0,26-13 15,-27 0-15,14 0 16,-27 0-16,0 0 0,1 0 16</inkml:trace>
  <inkml:trace contextRef="#ctx0" brushRef="#br0" timeOffset="3798.06">18997 2381 0,'40'0'15,"-1"0"1,-25 0-16,12 13 0,1-13 15,39 14-15,0-1 16,-40-13-16,14 0 0,-13 13 16,25-13-16,-25 13 15,-1-13-15,27 0 0,-40 14 16,1-14-16,12 0 0,-13 0 0,14 0 16,-14-14-16,0 14 15,14 0-15,-14-13 16,0 13-1,-13-13-15,13 13 16,1 0-16,-14-13 0,13 13 16,-13-14-16,13 14 15,-13-13-15,13 13 16,-13-13-16,14 13 16,-1-13-16,0 0 0,0-1 31,1 1-31,-1-13 0,-13 12 31,13 1-31,-13 0 0,13-14 16,-13 1-16,0 13 15,0-14-15,0 14 16,13 13-16,-13-13 0,0 0 16,0-1-16,-13 1 15,13 0-15,0 0 16,0 0-16,0-1 15,0 1 1,13 13-16,-13-13 16,0 0-16,0-1 0,0 1 15,0 0 1,14 0-16,-14-1 16,0 1-1,0 0 1,0 0-16,0 0 15,-14 13-15,14-14 16,-13 1-16,0 0 16,0 0-1,-14 13-15,1-14 16,-14 1-16,27 13 16,-14-13-16,-12 13 0,-1 0 15,-13-13-15,40 13 16,-14 0-16,1 0 0,-27 0 15,13-14-15,14 14 16,0 0-16,-1 0 0,1 0 16,12 0-16,-25 0 0,12 0 15,14 0-15,-27 0 0,1 0 16,25 0 0,-12 0-16,13 0 0,-14 0 0,-12 0 15,-1 14-15,13-14 16,1 0-16,13 0 15,-14 0-15,14 0 0,0 0 16,-14 0-16,14 13 16,0-13-1,0 0-15,-1 13 0,1-13 16,13 13-16,-13-13 0,0 14 16,13-1-1,-14 0-15,1 0 0,13 14 16,-13-27-1,13 26-15,-13-13 16,13 1-16,0-1 0,0 0 16,-13 14-1,13-1-15,0-13 0,-14 27 16,14-14 0,0-12-16,0-1 15,0 13-15,14 1 16,-14-14-16,0 13 15,0-12 1,13-14-16,-13 13 0,0 0 16,13-13-16,-13 13 0</inkml:trace>
  <inkml:trace contextRef="#ctx0" brushRef="#br0" timeOffset="5487.27">635 3082 0,'-26'-13'0,"65"26"32,-12-13-32,26 14 15,-14-14-15,1 0 0,0 0 16,65 13-16,1-13 16,-53 0-16,66 0 15,0 0-15,-52 0 16,38-13-16,-12 13 15,-14-14-15,-52 14 16,-1-13-16,1 13 0,-14 0 0,13-13 16,1 13-1,-14 0-15,0-13 0,1-1 16,-1 1-16,-13 0 16,0 0-16,0 0 15,0-1-15,0 1 0,0 0 0,0 0 16,0-1-16,0-38 15,-13 12-15,-1-26 16,14 39 0,-13 1-16,13-1 0,-13 14 15,13 0-15,0-14 16,0-12-16,0 25 16,13-12-16,-13 13 15,0 0-15,0-14 0,0 14 16,13 0-16,-13-1 15,0 1-15,-13 0 16,13 0 0,-13-1-16,0 14 15,-14-13-15,1 13 16,-14 0-16,-13 0 16,27 0-16,-1 0 15,-92 13-15,40-13 16,-1 14-16,14-14 15,0 0 1,0 0-16,39 13 16,-78-13-16,78 0 15,1 13-15,-14-13 16,-26 13-16,39-13 16,14 14-16,-26-1 15,12 0 1,14 0-16,0 1 0,13 12 15,-14 0 1,14-12-16,0-1 0,-13 27 16,13-1-16,13 27 15,1-13 1,-1-39-16,53 65 16,0-39-16,13-14 15</inkml:trace>
  <inkml:trace contextRef="#ctx0" brushRef="#br0" timeOffset="6378.69">6390 4008 0,'26'-13'16,"1"13"-16,65-13 16,14 13-1,0-13-15,-53 13 0,92-13 16,-105 13 0,13-14-16,13 14 0,-39 0 15,65-13-15,-26 13 16,-39 0-16</inkml:trace>
  <inkml:trace contextRef="#ctx0" brushRef="#br0" timeOffset="6930.65">9485 3969 0,'27'13'0,"-14"-13"16,106 13-1,53-13-15,-119 0 16,79 0-16,-66 0 15,120 0-15,-67 0 16,-13 0-16,-40 0 16,-27 0-16,-12 0 15</inkml:trace>
  <inkml:trace contextRef="#ctx0" brushRef="#br0" timeOffset="14648.61">14459 3770 0,'14'-13'15,"-1"13"-15,13 0 16,-26 13-16,14-13 16,-1 0-16,-13 14 15,13-1-15,-13 0 0,0 0 16,0 0-16,-13 1 16,0 12-16,-1-26 0,14 13 15,0 1-15,-13-14 16,13 13-16,13-13 15,-13 13-15,14-13 16,-1 0-16,0 0 0,0 13 16,1-13-16,-1 14 0,0-1 15,-13 0-15,0 0 16,0 0-16,-13 1 16,0 12-16,-1-13 15,1-13-15,-27 27 0,27-27 16,0 13-16,0-13 15,-1 13-15,1-13 0</inkml:trace>
  <inkml:trace contextRef="#ctx0" brushRef="#br0" timeOffset="14896.43">15108 3784 0,'-66'66'16,"39"-27"-16,1 14 15,-1-26-15,14-14 16,0 27-16,-14-1 15,14-25-15,0-1 0,13 0 16</inkml:trace>
  <inkml:trace contextRef="#ctx0" brushRef="#br0" timeOffset="15169.38">14803 3929 0,'27'13'15,"13"14"1,-27-27-16,0 13 0,-13 0 0,40 0 15,-14 1 1,1-1-16,-14 0 0,0-13 16</inkml:trace>
  <inkml:trace contextRef="#ctx0" brushRef="#br0" timeOffset="15643.9">15425 3889 0,'-26'14'15,"13"-1"-15,-1-13 16,1 13-16,0 14 15,-14-1-15,14 0 16,0-26-16,13 14 0,-13 12 16,13-13-16,0 1 0,13-14 15,-13 13-15,0 0 0,13-13 0,27 13 16,-27 1-16,0-14 16,1 0-16,-1 0 15,0 0-15,13 0 0,1-14 0,-1 14 16,-12 0-16,-1-13 0,0 13 15</inkml:trace>
  <inkml:trace contextRef="#ctx0" brushRef="#br0" timeOffset="15815.41">15491 3889 0,'-26'133'16,"26"-107"-16,0 1 0,0-1 0,-13 1 16,13-1-16,0 14 0,0 13 15,0-27-15</inkml:trace>
  <inkml:trace contextRef="#ctx0" brushRef="#br0" timeOffset="16622.66">18944 3717 0,'0'80'0,"0"-67"16,0 40-16,-13-27 0,13 27 16,-13-26-16,13-14 15,0 13-15,0 1 0,-14-14 16,14 14-16,0-1 16,0-13-16,0 1 15</inkml:trace>
  <inkml:trace contextRef="#ctx0" brushRef="#br0" timeOffset="17309.54">19010 3704 0,'40'-13'0,"-27"13"0,40 26 0,-40-12 16,1-1-16,-14 0 0,0 0 15,-14 1-15,1 25 0,-27 14 16,14-26-16,13-1 16,-14-13-16,1 14 0,-1-1 15,14-26-15,13 13 0,-13 1 16,0-14-16,-1 13 16,41 0-1,-14-13 1,0 0-16,1 0 0,-1 0 15,13 0-15,1 0 0,-1 0 16,1 0-16,-14 13 16,0-13-16,0 14 15</inkml:trace>
  <inkml:trace contextRef="#ctx0" brushRef="#br0" timeOffset="18240.43">18931 4366 0,'-66'39'16,"66"-25"-16,-27 12 0,14-13 0,0 27 15,0-27-15,13 0 0,-14 1 16,14-1-16,0 0 16,14 0-16,-1 1 15,0-14-15,14 0 16,-1 0-16,-13 0 0,0 0 0,14 0 15,-1 0 1,-12 13-16,-1 0 0,0 0 16,-13 0-16,13 1 15,-13 12-15,0-13 16,14 1-16,-14-1 16,0 0-16,13-13 0,-13 13 15,13 0-15</inkml:trace>
  <inkml:trace contextRef="#ctx0" brushRef="#br0" timeOffset="18832.43">18825 4987 0,'13'27'16,"1"-1"-1,-1-26-15,-13 14 16,26-14-16,-13 13 0,1-13 16,12-13-16,27-1 15,-13-12-15,-27 26 16,13-13-16,1-1 16,-14 28-1,-26-1 1,13 0-16,-13 0 15,-1 1-15,1 25 0,0-12 16,-13 12-16,-1 1 16,14-27-16,-14 27 0,14-14 15,0 14-15,0-40 16,13 13-16,0 1 0</inkml:trace>
  <inkml:trace contextRef="#ctx0" brushRef="#br0" timeOffset="20715.5">18918 5583 0,'0'26'31,"0"-13"-31,0 1 16,-14-1-16,14 0 0,0 0 15,0 1-15,-13-1 0,13 13 16,0 1-16,-13-14 16,13 0-16,0 0 0,0 1 15,0-1-15,0 0 32</inkml:trace>
  <inkml:trace contextRef="#ctx0" brushRef="#br0" timeOffset="21667.91">18838 5675 0,'0'-13'0,"14"0"16,-14 0 0,13 13-16,0 0 15,-13-14-15,26 14 0,-12 0 16,-1 0-16,-13-13 0,26 26 16,-12-13-1,-14 14-15,0-1 0,0 0 16,-14 0-1,14 1-15,0-1 16,14 0 0,-1-13-16,-13 13 15,13-13-15,14 27 16,-14-27-16,0 13 16,-13 0-1,-13 0-15,13 1 0,-13-1 16,-1 0-16,1-13 15,0 13-15,0-13 16,-1 0-16,1 14 0,0-14 0,0 0 16</inkml:trace>
  <inkml:trace contextRef="#ctx0" brushRef="#br0" timeOffset="22871.4">18680 3029 0,'-40'0'16,"27"0"0,13 14-16,26 25 15,-26-25 1,27 25-16,-27-25 15,26 12-15,-13 0 16,-13-12-16,0 12 16,0-13-16,0 1 15,-13-1-15,0 0 16,-14 0-16,1 1 0,13-14 16,-1 0-16,1 13 15,0-13 1</inkml:trace>
  <inkml:trace contextRef="#ctx0" brushRef="#br0" timeOffset="23276.19">18812 2977 0,'0'-14'16,"0"41"-16,0 26 0,0-40 16,-13 27-16,13-27 15,0 13-15,0-12 0,0 12 16,0-13-16,0 0 15,0 1-15,13-1 16,0-13 0,0 0-1,1 0-15,-1 0 16,0 0-16,0 0 0,0 13 16,1-13-1,-14 13-15,13-13 16,0 14-1,0-14-15,1 0 0,-1 0 16</inkml:trace>
  <inkml:trace contextRef="#ctx0" brushRef="#br0" timeOffset="23420.2">19090 3241 0,'-14'13'46,"14"1"-46,14-41 16</inkml:trace>
  <inkml:trace contextRef="#ctx0" brushRef="#br0" timeOffset="23545.28">19063 3096 0,'-26'-14'0</inkml:trace>
  <inkml:trace contextRef="#ctx0" brushRef="#br0" timeOffset="24021.74">19222 3135 0,'13'0'16,"-13"14"-16,0-1 15,0 0-15,0 0 16,13-13 0,1-13 30,12-13-30,-26 12 0,13 1-16,1-13 0,-1 12 15,-13 1-15,13 0 16,0-14-16,1-12 16,-1 26-16,0-14 15,-13 14 1,-13 39 15,13-12-31,0-1 0,0 0 16,-13-13-16,13 13 0,0 0 0,0 1 15,0-1-15,0 0 16,0 0 0,13-13-1,0 0-15,0 0 16,14 0-1,-27-13-15,13 13 0,0 0 0</inkml:trace>
  <inkml:trace contextRef="#ctx0" brushRef="#br0" timeOffset="24820.87">21339 2977 0,'-14'26'16,"14"-13"-16,-13 40 15,13-40-15,0 14 16,0-1-16,0-12 16,0-1-16,0 0 0,0 0 15,0 0-15,0 1 16</inkml:trace>
  <inkml:trace contextRef="#ctx0" brushRef="#br0" timeOffset="25099.23">21458 2884 0,'66'40'16,"-79"-1"0,13-25-16,-27 12 0,14-13 15,0 0-15,-1 1 16,-25 12-16,12-13 0,14 1 16,0-1-16,0-13 0</inkml:trace>
  <inkml:trace contextRef="#ctx0" brushRef="#br0" timeOffset="25790.91">21259 3625 0,'-26'39'16,"13"-25"-16,-1 12 0,14-13 16,0 14-16,-13 13 15,13-27-15,-13 13 0,13-13 0,0 1 16,-13 52-1,13-53-15,0 0 0,0 1 16,0-1 0</inkml:trace>
  <inkml:trace contextRef="#ctx0" brushRef="#br0" timeOffset="26911.77">21167 3770 0,'0'14'47,"-14"-14"0,1 13 0,40-40 31,-27 14-78,13 0 16,0 0-16,0-1 15,1 1-15,12 0 0,-13 0 16,40-14-16,-40 14 16,1 13-16,-1 0 0,0 0 15,0 0-15,-13 13 16,0 0 0,0 1-16,-13-14 15,13 13-15,-13-13 0,0 26 16,13-12-16,-14-14 15,14 13 1,0 0-16,14-13 16,-14 13-16,39 14 15,-39-14-15,14 0 16,-1-13-16,-13 13 16,13 14-16,-26-14 15,-40 14 1,40-27-16,-27 13 15,0 0-15,14 0 16,13-13-16,-1 0 16</inkml:trace>
  <inkml:trace contextRef="#ctx0" brushRef="#br0" timeOffset="27740.3">21259 4458 0,'-13'27'16,"13"-14"-16,-13 27 16,0-14-1,13 1-15,-14-1 16,14 0-16,0-12 0,0-1 16,-13 0-16,13 0 0,0 14 15,0-14 1</inkml:trace>
  <inkml:trace contextRef="#ctx0" brushRef="#br0" timeOffset="28502.63">21206 4511 0,'40'0'0,"-14"0"15,1 0-15,-14 13 0,27 1 31,-27-1-31,0 0 0,1 14 16,-14-14-16,13 13 0,-26 1 16,-1-14-1,14 13-15,-39 1 0,25-14 16,-25 13-16,25-12 0,1-1 16,0 0-16,-13 0 0,12-13 15,1 14-15,0-14 16</inkml:trace>
  <inkml:trace contextRef="#ctx0" brushRef="#br0" timeOffset="28804.68">21709 4538 0,'0'-14'16,"0"54"-16,-13-13 15,13-14-15,-13 40 31,13-40-31,0 0 0,0 0 0,0 1 16,0-1 0,0 0-16</inkml:trace>
  <inkml:trace contextRef="#ctx0" brushRef="#br0" timeOffset="29505.41">21696 4471 0,'79'0'0,"-66"0"15,1 14-15,-28-1 16,14 0-16,-13 14 16,0-27-16,13 13 15,-13 0 1,13 0-16,13 1 15,-13-1-15,26 0 16,-12-13-16,-1 0 16,0 13-16,0 0 0,1-13 15,-1 14-15,-13-1 16,0 0-16,-13 0 16,-1-13-16,1 14 0,0-1 15,0-13-15,-1 13 0,1-13 0,0 13 16,0-13-16,0 13 0,-1-13 15</inkml:trace>
  <inkml:trace contextRef="#ctx0" brushRef="#br0" timeOffset="30718.42">21352 5239 0,'0'26'16,"0"-13"0,0 1-16,-13-14 0,13 13 15,0 0-15,0 0 0,-14-13 16,14 27-1,-13-14 1,13 0-16,0 1 0,-13-1 16,13 0-1,-13 0 1</inkml:trace>
  <inkml:trace contextRef="#ctx0" brushRef="#br0" timeOffset="31732.18">21325 5252 0,'53'-13'16,"-39"13"-16,-1 0 0,-13 13 15,13-13-15,-13 13 0,13-13 16,-13 13-16,0 1 0,-13-14 16,13 13-16,0 0 0,-13 0 15,13 1-15,0-1 16,0 0 0,13-13-1,-13 13-15,13-13 0,-13 14 16,13-14-16,-13 13 15,14 0-15,-14 0 16,-14 0-16,1 1 16,0-1-16,0-13 15,13 13-15,-13-13 0,-1 13 16,1-13-16,0 0 0,0 0 16,-1 0-1</inkml:trace>
  <inkml:trace contextRef="#ctx0" brushRef="#br0" timeOffset="31949.43">21590 5252 0,'0'-13'16,"-13"52"-1,13-25 1,0 12-16,-13-13 0,13 1 0,-14-1 16,14 13-16,0-12 0,0-1 0,0 0 15,0 0-15,0 0 0,14-13 16,-14 14-16</inkml:trace>
  <inkml:trace contextRef="#ctx0" brushRef="#br0" timeOffset="32615.53">21815 5371 0,'-13'0'0,"26"0"0,-53 0 15,27 0 1,0 0-16,0 13 16,-1-13-16,1 14 0,0-1 15,0-13 1,13 13-16,13-13 15,0 0 1,0 0-16,1 13 16,-1-13-1,0 0-15,0 13 16,-13 1 0,13-14-16,1 0 15,-1 0-15,0 0 16,0 0-16,1-14 15,-1 14-15,0 0 16,-13-13-16,13 13 0,1 0 16,-1-13-16,0 13 15,0 0 1,14 0 0,-1-13-1,-13 0-15,14-1 16,-14 1-16,0 0 15,14-27-15,-14 27 16,0-14-16,0-12 0,14-1 16,-14 14-16,0 12 15,14-12 1,-27 39 15,0 14-31,-13-14 16,13 0-16,-14 0 15,1 27 1,13-27-16,0 0 16,0 1-16,13-1 15,1-13 1,-1 0-16,0 0 0,13 13 16,-12-13-16,-1 0 15,0 13-15</inkml:trace>
  <inkml:trace contextRef="#ctx0" brushRef="#br0" timeOffset="34377.37">21497 5874 0,'-13'13'0,"-13"0"16,12 14-16,-12 12 16,26-25-1,-13-1-15,0 13 0,13-13 0,0 14 16,13-27-1,13 13-15,1 0 16,-14-13-16,27 14 16,-27-14-16,0 0 0,0 0 15,1 13-15,-1 0 0,0-13 0,0 13 16,0 1-16,1-1 0,-14 0 16,0 0-16,13 0 15,-13 1 1</inkml:trace>
  <inkml:trace contextRef="#ctx0" brushRef="#br0" timeOffset="34940.51">21815 6019 0,'13'13'16,"-13"1"-16,13 12 15,-13-13 1,0 1-16,14-14 31,-1-14-31,0 1 16,14 0 0,-1 0-16,-13-1 15,0 28 1,1-1-1,-1-13 17,0 0-17,0 0-15,-13-13 0,14 13 16,-1-14 0,0 14-16,-13 14 46,13-14-30,-13 13-16,13-13 16,1 0-16,12 0 15,-13 0 1,1 13 0,-1-13-16,13 13 15,-12-13-15,-1 14 16,0-14-16,0 0 0,0 13 15,1-13 1,25-13 0,-25 13-16,-1 0 15,13 0-15</inkml:trace>
  <inkml:trace contextRef="#ctx0" brushRef="#br0" timeOffset="35283.07">21762 6482 0,'26'27'16,"-26"-14"-16,0 0 15,-13 0-15,13 27 0,0-13 16,0 26-16</inkml:trace>
  <inkml:trace contextRef="#ctx0" brushRef="#br0" timeOffset="35401.51">21934 6998 0,'13'66'0,"-13"-52"16,0-1-16,0 0 15,0 0-15,0 40 0</inkml:trace>
  <inkml:trace contextRef="#ctx0" brushRef="#br0" timeOffset="35495.11">22013 7474 0,'0'53'0,"0"-39"16,-13 12-16,0-13 15,13 1-15,-13-1 16</inkml:trace>
  <inkml:trace contextRef="#ctx0" brushRef="#br0" timeOffset="37245.21">20505 3836 0,'199'-52'0,"-173"52"16,-13 0-16</inkml:trace>
  <inkml:trace contextRef="#ctx0" brushRef="#br0" timeOffset="37852.16">20082 3982 0,'331'-106'16,"-265"93"-16,-13-14 0,13 14 0,132-40 15,-158 53 1,-14-13-16,14 13 16,-27-13-16,1 13 15</inkml:trace>
  <inkml:trace contextRef="#ctx0" brushRef="#br0" timeOffset="38632.21">20029 4008 0,'212'93'0,"-159"-66"15,-1-1-15,1 0 0,0 14 16,-13 0-16,13-14 0,53 40 16,-53-26-16,0-13 0,-1 12 0,1-12 15,0-1-15,66 27 16,-79-40-16,0 14 0,-14-27 16,-13 13-16,14-13 0,-27 13 0,13-13 15,0 0-15,-13 13 16,14-13-16</inkml:trace>
  <inkml:trace contextRef="#ctx0" brushRef="#br0" timeOffset="39290.26">20108 4035 0,'146'145'16,"-93"-105"-16,-14 13 15,1 0-15,26 13 0,27 40 16,-27-40-16,-26-26 0,13 13 0,0-14 16,-14 14-16,14-13 0,-13 0 15,0-14-15,-14 1 0,0-1 0,1 0 16,13 14-16,-27-27 15,0 1-15,0-1 0</inkml:trace>
  <inkml:trace contextRef="#ctx0" brushRef="#br0" timeOffset="39963.08">20307 4141 0,'119'304'0,"-93"-238"0,40 106 15,54 79 1,-81-171-16,41 92 16,-1-53-16,-39-53 15,-14-13-15,14 13 0,-14-26 16,1 13-16,12 26 0,-12-39 15,-14-14-15,0 1 0,1 12 16,-14-12-16,0-1 16,13-26-16,-13 14 0,0-1 15,0 0-15</inkml:trace>
  <inkml:trace contextRef="#ctx0" brushRef="#br0" timeOffset="40633.76">20214 4180 0,'53'239'16,"-26"-160"-16,-1 0 0,14 14 16,-14 13-16,14-14 0,39 120 15,-39-106-15,0 0 0,-1 0 0,14-1 16,-13 14-16,0-13 0,-1 0 16,41 119-16,-41-119 0,1 0 15,0-1-15,-14 1 0,14 0 16,0-13-16,-1-1 0,-12-12 15,39 52-15,-40-66 0,1 0 16,-14-13-16,13 13 0,-12-26 0,12 39 16,-13-52-16,-13-1 15,14 1-15,-14-14 0,13 0 0,-13 0 16,0 1-16,13-1 0,-13 0 16,0 0-1,13 1 1</inkml:trace>
  <inkml:trace contextRef="#ctx0" brushRef="#br0" timeOffset="43949.11">21921 6681 0,'-93'106'16,"80"-80"-16,0-13 0,13 0 15,0 1-15,0 12 0,0-13 0,13 1 16,0-1-16,27 0 15,-14-13-15,1-13 0,-1 0 16,1-1-16,12-12 0,-12-14 16,-1 14-16,1-14 0,-1 14 0,-13-14 0,1 14 15,-14 12-15,13 1 16,-26-13-16,13 12 0,-14 14 16,1-13-16,-13 13 0,-1 0 15,14 0-15,-13 0 0,-1 13 16,14-13-16,0 0 0,-1 14 0,1-14 15,0 0-15,53-14 32,-27 1-32,0 13 0,-13-13 15,13 13-15,1 0 0,-1 13 16,0-13-16,-13 13 16,0 1-16,0-1 0,0 0 0,0 14 15,0-14-15,0 13 16,0-13-16,0 14 0,0-14 0,0 0 15,13 1-15,-13 12 0,0-13 0,0 0 16,13 1-16,1-1 0,-14 13 16,26 14-16,-26-27 0,13 27 15,1-14-15,-1 14 0,0-13 0,-13 12 16,13 1-16,-13-14 16,14 14-16,-14-13 0,0-1 0,13 0 0,-13-12 15,0 12-15,0-13 0,0 14 16,0-14-16,0 0 0,0 1 0,0-1 15,13 0-15,-13 0 0,0 0 16,13 1-16,-13-1 0,13 0 16,1-13-1,-1 13-15,0-13 0,0 0 16,1 0-16,-1 14 0,0-14 16,0 0-16,-26 13 31,0 0-31,0-13 15,-1 0-15,1 0 16,0 13-16,0-13 0,-1 0 16,1 0-16,0 0 15,0 0 1,26-13 15,-13 40 32,-13-41-32</inkml:trace>
  <inkml:trace contextRef="#ctx0" brushRef="#br0" timeOffset="44563.27">21497 7025 0,'14'-27'16,"-14"14"0,-14 0-1,1 26 1,0-13-16,0 0 15,-1 13-15,1 0 0,0 1 0,0-1 0,0 0 16,-1 0-16,1 1 0,13-1 16,-13 0-16,39-26 31,-12 0-31,-14-1 0,13 1 16,-13 0-16,13-14 15,-13 14-15,0 0 0,0 0 16,-13 13-16,13-13 0,-27 13 15,14 0-15,0 0 16,0 13-16,-1-13 0,-12 13 16,13 0-16,26 0 31,0 1-31,27 12 16,-40-13-16,13 1 0,-13-1 15,13 0-15,-13 14 0,0-14 16,14 0-16,-14 13 0,0-12 15,0 25-15,0-25 0,0-1 16,0 0-16,0 0 0,0 0 16,0 1-16,0-1 15</inkml:trace>
  <inkml:trace contextRef="#ctx0" brushRef="#br0" timeOffset="45517.07">19447 4577 0,'-27'14'15,"54"-28"1,-1 1-1,14 0-15,0-27 0,13 14 0,13-1 16,0-12-16,0-14 0,27 13 0,65-79 16,-65 66-16,-14-13 15,1 13-15,-27 13 0,53-26 16,-27 13-16,-53 40 0,1 0 16,-14-1-16,0 1 15,1 13-15,-41 27 16,1-1-1,-1 1-15</inkml:trace>
  <inkml:trace contextRef="#ctx0" brushRef="#br0" timeOffset="46059.75">19315 4630 0,'92'13'0,"-52"-13"0,79 0 16,-40 0-16,14 0 0,-14 0 16,14 0-16,-1 0 15,107-13-15,-106 13 0,79 0 16,-93-13-16,0 13 0,-13 0 15,-13 13-15,0-13 0,0 0 16,-13 0-16,-14 0 0,1 0 0,-14 13 16,0-13-16,0 0 0</inkml:trace>
  <inkml:trace contextRef="#ctx0" brushRef="#br0" timeOffset="46469.14">19460 4604 0,'238'172'0,"-185"-133"15,27 14-15,-1 13 0,0-13 16,159 133-16,-145-120 15,-27-13-15,14 0 0,-1 0 16,-26-14-16,0 1 0,0 0 0,39 12 16,-39 1-16,-40-39 15,14-1-15,-14 0 16</inkml:trace>
  <inkml:trace contextRef="#ctx0" brushRef="#br0" timeOffset="47072.4">19407 4789 0,'291'291'16,"-158"-159"-16,-81-66 15,94 67-15,-80-54 16,66 53-16,1-13 16,-14-13-16,-27-13 15,-39-40-15,0-14 16,-13 1-16,39 26 0,-52-39 15,12 12-15,-12-12 0,-14-14 16,0 0 0,1 1-16,-1-1 0,0 0 15,-13 0 1</inkml:trace>
  <inkml:trace contextRef="#ctx0" brushRef="#br0" timeOffset="47972.79">19182 5120 0,'14'-27'16,"12"27"-16,14-39 16,-1 25-16,14-12 0,0-1 15,0-12-15,13-1 0,14 0 16,12 1-16,67-67 0,-80 53 16,14 0-16,92-53 0,-92 53 15,-1 0-15,-12 0 0,-1 0 16,53-39-16,-13 13 15,-79 52-15,40-26 0,-41 27 16,1-1-16,-14 14 16,-12 0-16,-1 13 15,-40 13 1,14-13 0,-13 13-16,-1 14 0,1-14 0</inkml:trace>
  <inkml:trace contextRef="#ctx0" brushRef="#br0" timeOffset="48475.54">19156 5106 0,'185'-26'15,"-132"13"-15,13-14 16,80 1-16,12-14 16,-12 0-16,26 14 15,-13 0-15,13-1 16,-106 14-16,79-14 15,-52 14-15,-40 0 16,26 0-16,-52-1 16,-1 14-16,1-13 15,-14 0-15,13 0 0,-13 13 16</inkml:trace>
  <inkml:trace contextRef="#ctx0" brushRef="#br0" timeOffset="48885.23">19209 5159 0,'264'80'15,"-65"-1"1,-27-13-16,26 0 15,1 1-15,-120-41 16,80 27 0,-14-13-16,-12-1 0,-41-12 15,14 12 1,-80-39-16,-12 0 16,25 14-16,-25-14 15,-1 13-15</inkml:trace>
  <inkml:trace contextRef="#ctx0" brushRef="#br0" timeOffset="49332.35">19275 5239 0,'93'66'0,"-67"-40"16,67 41-16,12-1 16,28 39-16,-54-52 15,-13 14-15,27-1 0,79 66 16,132 66-16,-92-65 16,-1-14-16,-118-53 15,92 40-15,-66-40 16,-66-26-16,0-14 0,13 14 15,-39-27 1,-1 13-16,1-12 16,-14-1-16,0-13 15,-13 13-15,-26-13 16</inkml:trace>
  <inkml:trace contextRef="#ctx0" brushRef="#br0" timeOffset="50043.26">19050 5675 0,'13'-13'0,"0"0"0,14 0 15,26-27-15,-13 0 16,39-39-16,27-27 15,-40 27-15,0 13 16,80-80-16,-80 67 0,0-1 0,0 1 16,79-80-16,-78 93 0,78-80 15,-79 94 1,53-41-16,-26 27 0,-14 0 16,-52 52-1,-1 1-15,-12 0 0,-1 0 0,13 13 16,-13 0-1,-26 26 1,0-13-16,-40 40 16,27-26-16</inkml:trace>
  <inkml:trace contextRef="#ctx0" brushRef="#br0" timeOffset="50568.34">19341 5622 0,'410'-224'16,"-238"118"-16,-93 66 15,14-13-15,0 13 0,79-52 16,-106 65-16,66-39 15,0 13-15,-65 27 0,25-14 16,-12 14-16,-54 12 16,14-12-16,-14 26 0,1-27 15,-14 27-15,0 0 16</inkml:trace>
  <inkml:trace contextRef="#ctx0" brushRef="#br0" timeOffset="50949.45">19076 5728 0,'106'13'15,"0"-26"-15,40 0 16,-67 0-16,14 0 16,-1-14-16,14 14 0,132-40 15,-13 13-15,-106 14 0,-13-1 16,-27 14-16,14-13 0,79-1 15,-106 14-15,13 0 0,-12 13 16,78-13-16,-92 13 16,-40 0-16,14 0 15,-1 13-15</inkml:trace>
  <inkml:trace contextRef="#ctx0" brushRef="#br0" timeOffset="51303.99">19315 5834 0,'568'146'16,"-462"-107"-16,0-12 0,66 39 15,-79-40-15,-14 1 0,53 26 16,-65-27-16,38 27 16,-65-26-16,26-1 15</inkml:trace>
  <inkml:trace contextRef="#ctx0" brushRef="#br0" timeOffset="53581.46">20227 2712 0,'-53'-40'15,"40"40"1,-13 0-16,-14-13 0,-13 13 15,-39-13-15,-14 13 16,40 0-16,-40-13 0,-27-1 16,81 14-16,-15 0 15,-131-13-15,79 13 16,-13 13-16,65 1 16,1-1-16,0 0 0,0 0 15,13 14-15,-66 12 16,-40 54-16,80-27 15,-40 40 1,92-66-16,-39 79 16,40-13-16,-1 39 15,27-52 1,14-40-16,-14 52 16,26 1-16,1 13 15,-14-26-15,0-53 0,0 13 16,-13 0-16,13-14 0,-13 54 15,14-1 1,-14-12-16,-14 12 16,14-25-16,-13-28 15,-13 67-15,-1-27 16,1-12-16,-1 12 16,14-53-16,0 41 15,13-15-15,0-25 16,0-1-16,0 1 0,40 65 15,-27-52-15,13-13 16,1 12-16,-1-12 0,80 92 16,-27-53-1,1 13-15,-41-39 16,94 119 0,-41-27-16,-78-92 15,25 39-15,-12-39 0,-14 13 16,13 26-16,-12-26 15,25 119-15,27 0 16,-39-106-16,-14-13 16,14 13-16,52 53 15,-39-39-15,66 52 16,92 27-16,-119-106 16,-13-14-16,173 54 15,25-53-15,-171-27 16,-1-13-16,107 13 15,-93-26-15,0 13 0,145-13 16,-26-14 0,-133 27-16,199-53 0,-105 0 15,-94 14 1,-12-1-16,52-66 0,-66 53 16</inkml:trace>
  <inkml:trace contextRef="#ctx0" brushRef="#br0" timeOffset="54729.5">22013 2566 0,'93'-26'16,"-53"26"-1,-14 0-15,27 13 0,0-13 16,-27 13-16,1 1 0,13-1 15,-27 0-15,13 14 16,-13-1-16,1 1 0,-1 39 16,-13-27-16,0 1 0,0 13 15,0 40-15,0 12 16,0 94-16,13-133 16,-13 0-16,13 0 0,1 67 15,12 91 1,-13-144-16,0-14 0,1 80 15,-1-1-15,0 1 16,14 52 0,-1-79-16,-13-66 15,14 13-15,-14-13 0,27 40 16,-1 39 0,-25-92-16,-1-1 0,13 41 15,-26-54-15,14 14 0,-1 79 16,-13-53-1,0-40-15,-13 54 0,-1-40 16,1 26-16,-27 40 16,14-67-16,-1 14 15,-12 13-15,-1 27 16,27-67 0,0 14-16,-14 13 15,14-13-15,13 13 16,0-27-16,13 53 15,14 1-15,-1-1 16,53 67 0,-52-107-16,-1 14 0,1-13 0,13 53 15,-14-1 1,-13-12-16,-26 131 16,0-145-1,0-13-15,-40 66 16,26-66-16,-52 66 0,39-66 15,-13 13-15,-39 53 0,-14-13 16,66-40-16,-53 40 16,14 0-16,26-53 15,-79 92-15,53-65 16,12-1 0,1-26-16</inkml:trace>
  <inkml:trace contextRef="#ctx0" brushRef="#br0" timeOffset="56637.11">7170 4723 0,'291'-13'16,"-225"13"-16,93-14 0,13 14 16,-106 0-16,14 0 15,-1 0-15,40 0 0,-13 0 16,-53-13-16,26 13 15,-52 0-15</inkml:trace>
  <inkml:trace contextRef="#ctx0" brushRef="#br0" timeOffset="56861.41">7422 4868 0,'172'14'15,"-67"-14"-15,14 0 16,-13 0-16,13 0 16,-66-14-16,-13 14 0,26 0 15</inkml:trace>
  <inkml:trace contextRef="#ctx0" brushRef="#br0" timeOffset="60848.43">6059 6204 0,'13'14'31,"0"-14"-31,1 0 15,39 0-15,-40 0 0,13 0 0,14 0 16,-14 0-16,14 0 0,-13 0 16,-1-14-16,0 14 0,14 0 0,-13 0 15,-1 0-15,1 0 0,-14 0 16,40-13-16,-40 13 0,13 0 16,1 0-16,-14 0 0</inkml:trace>
  <inkml:trace contextRef="#ctx0" brushRef="#br0" timeOffset="61793.72">9604 6271 0,'40'13'16,"-27"-13"-16,14 0 16,79 0-16,-54 0 15,15 0-15,-14 0 0,26 0 16,-13 0-16,66 13 0,1-13 16,-14 0-16,-13 0 15,-67 0-15,27 0 16,-26 0-16,-27 0 15,14 0-15,39 0 0,-53 0 16,0 0-16,1 0 16</inkml:trace>
  <inkml:trace contextRef="#ctx0" brushRef="#br0" timeOffset="62720.62">13203 6191 0,'26'0'0,"27"13"16,-13 1-16,13-14 0,0 0 15,26 13-15,14-13 0,-14 0 16,106 13-16,27 0 16,13 1-16,-133-1 15,41 0-15,-41-13 0,107 13 16,-14 1-16,-26-14 16,-80 13-16,40-13 15,-26 0-15,-14 0 16,-52 0-16,12 0 0,1 0 15,-27 0 1,0 0-16,1 0 16,-1 0-16,-13-13 15</inkml:trace>
  <inkml:trace contextRef="#ctx0" brushRef="#br0" timeOffset="66636.28">4485 6866 0,'53'13'16,"-27"-13"0,-13 0-16,27-13 15,-14 13-15,-12 0 16,39-13-16,-27 13 0,-13 0 15</inkml:trace>
  <inkml:trace contextRef="#ctx0" brushRef="#br0" timeOffset="66804.25">4551 6972 0,'79'-13'0,"-39"-1"0</inkml:trace>
  <inkml:trace contextRef="#ctx0" brushRef="#br0" timeOffset="67783.99">5913 6879 0,'40'13'16,"0"1"-16,-27-14 0,13 0 16,1 0-16,13 13 15,13 0-15,-27-13 16,27-13-16,-27 13 0,1 0 0,-1 0 16,-12 0-16,12-13 15,27-1-15,-13 1 16,-27-13-16,13-1 15,14-65 1,-27 52-16,0-13 16,1 27-1,-14 12-15,13-25 0,-13-14 16,0 26 0,-13-12-16,-14-1 15,27 27-15,-39-27 16,-14 0-1,39 27-15,-25 0 16,-1 0-16,14-1 0,12 14 16,-12-13-16,-14 0 0,14 13 15,-40-13 1,39 13-16,1 0 16,-14 0-16,0 0 15,-26 13-15,53-13 16,-27 13-16,27-13 15,-13 0-15,-14 13 0,13 1 16,-12-1 0,-1 13-16,14-12 15,12-1-15,-12 13 16,13 14-16,-14 0 16,14-14-1,0 14-15,-1-1 16,14 28-1,27-1-15,-14-27 16,0-25-16,14 12 16,-1-13-16,80 40 15,-26-26-15,-41-14 16,27-13-16,27 13 16,-67-13-16,41 13 15,-41-13-15,0 0 16,1 0-1,-14 0-15,0 0 16</inkml:trace>
  <inkml:trace contextRef="#ctx0" brushRef="#br0" timeOffset="69367.27">10345 6919 0,'40'0'16,"-14"0"-16,54 0 15,-14 0-15,0 0 0,13 0 16,1-13-16,12 13 0,-12 0 0,12 0 16,160 0-16,-160 0 15,-12 0-15,-1 0 16,80 0-16,-106 0 0,79 13 16,-79-13-16,0 13 0,-13-13 0,12 0 15,1 13-15,-13-13 16</inkml:trace>
  <inkml:trace contextRef="#ctx0" brushRef="#br0" timeOffset="69667.55">14301 7038 0,'291'0'0,"-199"0"0,94 0 16,12 0-16,-92 13 15,119-13-15,0 27 16,-120-27-16,94 26 16,-120-13-16</inkml:trace>
</inkml:ink>
</file>

<file path=ppt/ink/ink1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38:23.969"/>
    </inkml:context>
    <inkml:brush xml:id="br0">
      <inkml:brushProperty name="width" value="0.05292" units="cm"/>
      <inkml:brushProperty name="height" value="0.05292" units="cm"/>
      <inkml:brushProperty name="color" value="#0070C0"/>
    </inkml:brush>
  </inkml:definitions>
  <inkml:trace contextRef="#ctx0" brushRef="#br0">15941 979 0,'-40'13'47,"54"-26"-1,12 13-30,-13 0 0,14 0-16,-14 0 15,0 13-15,1 0 32,-14 1-17,0-1-15,13-13 0,0 13 16,0 0-1,0 1-15,1-1 16,-1 0-16,0 0 0,-13 0 16,13-13-16,-13 14 0,0-1 15,0 0-15,0 0 16,-13-13-16,13 14 0,-13-1 16,-14 0-16,1 0 15,13-13-15,0 0 16,-1 0-16</inkml:trace>
  <inkml:trace contextRef="#ctx0" brushRef="#br0" timeOffset="447.31">16179 913 0,'0'-13'15,"0"39"1,13-13-16,-13 0 16,0 1-16,14 25 0,-14 14 15,0-26-15,13-1 16,-13 27-16,0-26 0,0-1 16,13 14-16,-13-27 0,0 0 15,0 0-15,0 1 16,0-1-16,0 0 0,0-39 47,13 12-47,-13 1 0,0-13 15,0-1-15,14-12 0,-1-1 16,0 27-16,-13-1 16,13 1-16,1 0 0,-14 0 15,13 13-15,0 0 0,0-13 16,-13 26-1,-13 0 1,13 0 0,-13-13-16,0 13 0,-1 1 15</inkml:trace>
  <inkml:trace contextRef="#ctx0" brushRef="#br0" timeOffset="1282.64">17198 794 0,'-40'13'15,"40"13"1,0-12-16,13 25 16,1 1-16,-1-14 15,0 1 1,-26-14-16,13 0 16,-13 1-16,-14-1 15,1 0-15,13 0 16,-14 1-16,1-14 15,12 0-15,1 13 16,0-13-16,0 0 0</inkml:trace>
  <inkml:trace contextRef="#ctx0" brushRef="#br0" timeOffset="2715.2">16113 2024 0,'0'-13'16,"27"26"-1,-14 0 1,0 1-1,-13-1-15,13-13 0,-13 26 16,13-26-16,-13 13 16,14 1-16,-14-1 15,13 0 1,-13 0 0,0 1 30,0-1 64,26-40 124,-26 14-234,27-13 16,-14-1-1,0 27-15,1-26 16,-14 13-16,13-14 16,0 14-1</inkml:trace>
  <inkml:trace contextRef="#ctx0" brushRef="#br0" timeOffset="3738.15">16140 2037 0,'-14'0'16,"14"14"0,-13-14 77,13-14 142,0 1-204,13 13-15,1-13-1,-1 13-15,0-13 16,0 13-16,14 0 16,-14 0-16,0-14 0,0 14 15,1 0-15,-1 0 0,0 0 16</inkml:trace>
  <inkml:trace contextRef="#ctx0" brushRef="#br0" timeOffset="4745.16">17013 2024 0,'0'13'0,"-14"1"47,1-14-15,-13-14-17,13 14-15,13-13 16,-14 13-16,14-13 0,-13 0 15,13-1-15,0 1 0,0 0 16,0 0-16,0-1 0,0 1 16,13 13-16,-13-13 0,14 0 15,-1 13 1,-13-13 0,13 13-1,0 0 32,0-14-31,1 14-16,-1 0 0,-13-13 15,26 13-15,1 13 32,-14-13-32,0 0 0,1 14 15,-1-14-15,0 0 16,0 13-16,14 0 0,-14-13 15,-13 13-15,13-13 0,0 13 16,1 1 0,-1-1-16,-13 0 15,0 0 1,-13-13-16,13 14 0,-14-14 16,1 13-16,0-13 0,0 0 15,-1 13-15,1-13 16</inkml:trace>
  <inkml:trace contextRef="#ctx0" brushRef="#br0" timeOffset="8006.07">18349 3135 0,'40'-26'16,"-1"-1"-16,-26 27 0,14-13 16,-1 0-16,14 0 0,-27-1 15,14 1-15,-1 0 0,1 13 0,26-26 16,-40 12-16,0 14 0</inkml:trace>
  <inkml:trace contextRef="#ctx0" brushRef="#br0" timeOffset="8200.92">18719 2858 0,'27'13'0,"-27"0"15,13-13-15,-13 13 0,0 0 0,13 1 16,-13-1-16,0 13 16,13 1-16,-26 12 15,13-25-15,-13-1 0,13 13 16,0-12-16</inkml:trace>
  <inkml:trace contextRef="#ctx0" brushRef="#br0" timeOffset="8628.06">18018 3678 0,'106'79'0,"0"-13"0,-53-26 15,26 13-15,-13 13 0,14-13 16,65 53-16,-66-67 0,-12 1 16,-1 0-16,0-1 0,0-12 15,-13-1-15,53 27 0,-53-26 0,-14-1 16,-12-13-16,-1-13 0</inkml:trace>
  <inkml:trace contextRef="#ctx0" brushRef="#br0" timeOffset="8892.15">19222 4167 0,'93'66'0,"-40"-13"16,-40-26-16,0 12 0,0-12 0,0 13 16,1-14-16,-14 0 0,-14 14 15,1 0-15,0 13 0,-13-14 0,-14 14 16,0-13-16,-13 13 0,-66 26 15,66-39-15,-13 0 0,0-1 0</inkml:trace>
  <inkml:trace contextRef="#ctx0" brushRef="#br0" timeOffset="11795.12">3691 4048 0,'-13'0'0,"52"0"31,-25 0-31,12 0 0,1 13 16,-1-13-16,27 0 0,-13 0 0,65 14 16,-52-14-16,0 13 15,0-13-15,40 0 0,-40 0 16,-14 0-16,41 0 0,-54 0 16,14 0-16,-14 0 0,1 0 15,-14 0-15,14 0 0,-14 0 0,0 0 16,0 0-16,0 0 0,1 0 0,-1 0 15,0 0-15,0 0 16,1 0-16,-1 0 0,13-13 16</inkml:trace>
  <inkml:trace contextRef="#ctx0" brushRef="#br0" timeOffset="15339.11">4141 4617 0,'-13'0'0,"39"0"16,-13 13-16,14-13 16,-1 0-16,14 0 0,13 0 15,0 13-15,0-13 0,13 0 0,0 0 16,13 0-16,1 0 0,-1 0 0,0 0 16,107-13-16,-94 13 0,1 0 15,-1-13-15,94 0 16,-94 0-16,1 13 0,-1-14 15,1 1-15,-14 13 0,80-13 0,-93 0 16,-13 13-16,0 0 16,-26-14-16,12 14 0,-26 0 0,14 0 15,-1 0-15,-12 0 0,-1 0 16,0 0-16,0 0 16</inkml:trace>
  <inkml:trace contextRef="#ctx0" brushRef="#br0" timeOffset="18135.31">11417 4260 0,'39'-27'16,"-25"27"-16,-1 0 0,0 0 15,0-13-15,14 13 0,-1 0 0,1 0 16,-1 13-16,14-13 16,-27 14-16,0-14 0,-13 13 15,0 0-15,0 0 0,-13 14 16,0-1-16,-14-13 16,14 14-16,-13-14 0,13 0 15,-1 1-15,1-1 0,0 0 0,0 0 16,-1 0-16,1 1 0,0-14 15,13 13 1,26-13 0,-12 0-16,12 0 15,-13 0-15,14 0 0,-1 0 16,27-13-16,13-1 16,0 1-16,-39 13 0,-1 0 0,1-13 15,52 0 1,-66 0-16,14 13 0,-14-14 0</inkml:trace>
  <inkml:trace contextRef="#ctx0" brushRef="#br0" timeOffset="21195.32">12502 3995 0,'0'-13'0,"0"39"62,0 1-46,0-14-16,0 0 15,0 1-15,13-1 0,-13 0 16,0 0-16,0 1 16,0-1-16,0 0 31,0 0-15,0 0 46,13-13 47,0-13 360,0-13-453,1 26-16,-1-13 15,13-1 1,27 1-16,-13 26 16,-27-13-1,0 14-15,1-1 16,-1-13-16,-13 13 0,0 0 16,-13 0-1,-40 14 1,40-14-16,-1-13 15,1 0-15,0 13 0,0-13 16,-1 0-16,1 0 0,0 0 16,0 14-16</inkml:trace>
  <inkml:trace contextRef="#ctx0" brushRef="#br0" timeOffset="21514.32">12872 4075 0,'-13'26'31,"0"1"-15,13-14-1,13-13-15,-13 13 0,13 0 16,0-13-16,0 0 15,14 0 1,-14-13-16,0 0 16,-13 0-1,0-14-15,-13 14 16,13 0-16,0-1 16,-13 1-16,0 0 0,13 0 15,-14 13-15,1-14 0,13 1 16,-13 0-1</inkml:trace>
  <inkml:trace contextRef="#ctx0" brushRef="#br0" timeOffset="22259.26">13137 3784 0,'13'13'0,"-13"0"15,0 13-15,13 1 16,-13-1-16,0-12 0,0-1 16,0 13-16,0-12 0,0 12 0,0-13 15,13 0-15,-13 1 0,0 12 16,0-13-16,13 1 0,-13-1 16,0 0-1,-13 0 1,0-13-1,-13 0 1,12-13-16,1 13 16,-13 13-16,12-13 0,1 0 15,0 14 1,0-14-16,13 13 0,-13-13 16,13 13-16,0 0 15,0 0 1,26-13-1,-13 0-15,0 0 0,1 0 0,-1 0 16,0-13-16,14 13 16,-14-13-16,0 13 0,0 0 0,0-13 15,1 0-15,-1 13 16,0 0 0,-13-14-16,13 14 0,1 14 31,-14-1 0,26-26-15,1 13-1,-14 0-15,0 0 16,13 0 0,1 26-1,-14-26-15,-13 13 0,0 0 16,0 1-16,13-1 15,-13 0-15,-13 14 0,13-14 0,0 0 0,-13 0 16,0 0-16,13 14 0,-14-14 16,-12 0-16,13 1 15,0-1-15,-1-13 0,1 13 16,0-13-16,0-13 0,-1 0 31,14-1-31,0 1 0,0 0 0,14 0 16,-14-1-16,13 1 0,0-13 15</inkml:trace>
  <inkml:trace contextRef="#ctx0" brushRef="#br0" timeOffset="22556.22">13652 3823 0,'-13'0'16,"0"13"-16,13 1 16,13 12-16,-13-13 15,13 1-15,-13 12 0,14-13 0,-1 14 0,-13-14 16,13 13-16,0 1 16,-13-14-16,0 0 0,0 1 15,0-1-15,0 0 0,0 0 16,0 1-16,0-1 0,-13-13 0,0 13 15,0 0-15,-1-13 0,14 13 16,-26-13-16,13 0 16,13-13-1</inkml:trace>
  <inkml:trace contextRef="#ctx0" brushRef="#br0" timeOffset="22774.08">13864 3717 0,'13'-13'0,"1"26"15,-14 1-15,0-1 16,0 27-16,0-27 0,13 13 16,-13-13-16,0 14 0,0-1 15,0-12-15,0 52 16,0-40-16,0-13 0,0 1 0,-13-1 15,13 0-15,0 0 0,0 1 16</inkml:trace>
  <inkml:trace contextRef="#ctx0" brushRef="#br0" timeOffset="23732.24">13785 3995 0,'13'-13'0,"0"0"0,0 13 16,1-13-16,-1 13 0,0 0 15,14-14-15,-1 1 0,40-13 31,-53 26-31,14-14 0,-14 1 32,0 13-32,-13-13 0,14 13 0,-14 13 62,-14 0-62,14 1 0,0-1 31,0 0-31,14-13 16,-14 13-16,13-13 16,0 0-16,0 0 15,14 0 1,-14 0-16,0 0 16,0 14-1,-13 12-15,14-26 0,-14 13 0,0 0 16,0 1-16,13-1 0,-13 13 15,-13-12-15,13-1 0,-14 13 16,14-12-16,-13-1 0,0 0 16,0 0-16,13 0 0,-13-13 15,13 14-15,-14-14 0,14 13 0,-13-13 16,26-27 15,1 14-31,-1 0 16,0-13-16,13-1 15,-12 14-15,12-14 0,1-12 16,-14 12-16,27-39 16,-27 40-16,13-27 0,-26 39 15,13-12-15,14 0 16,-27 12-16,13 1 0,-13 0 0,0 0 16,13-14-16,-13 14 15,14 13 1,-28 26-1,14-12-15,0-1 16,-13 13-16,13-12 0,0-1 16,0 0-16,0 27 0,0-27 15,0 0-15,0 0 0,0 1 16,13-1-16,1 0 0,-1-13 16,0 0-16,13 0 15,-12 0 1,-1-13-16,0 13 0,0 0 15,1-13-15,-1 26 16,0 0 0,0-13-1,-13 13-15,14-13 0,-1 0 16,0 0-16,0 0 16,14 0-16,-14 0 15</inkml:trace>
  <inkml:trace contextRef="#ctx0" brushRef="#br0" timeOffset="24659.78">12118 5133 0,'53'-27'16,"-40"27"0,-39 14 15,12-14-31,-12 13 0,13-13 16,-1 26-16,1-26 15,13 14 1,13-1-1,1 0-15,-1-13 0,0 13 16,27 1 0,-27-1-16,0 0 15,-13 0-15,0 0 16,-13 1 0,13-1-16,-13-13 0,0 13 0,-1-13 0,1 13 15,0-13-15,0 14 0,-14-14 16,14 0-16,0 13 15,0-13-15,-1 0 0,1-13 16</inkml:trace>
  <inkml:trace contextRef="#ctx0" brushRef="#br0" timeOffset="26003.11">13057 4855 0,'-26'27'16,"13"-27"-16,-1 26 0,1-13 15,13 14-15,-13-14 0,0 13 0,-1 1 16,14-1-16,0-12 16,-13 12-16,13-13 0,0 0 15,13 14-15,-13-14 16,14 0-16,-1-13 0,0 0 16,14 0-16,-14 0 15,0-13-15,0 13 16,0 0-16,1-13 15,-1 26 1,0-13-16,-13 13 0,13 1 16,-13-1-16,14-13 0,-1 13 15,0 0 1,0-13-16,14 0 16,-14 0-16,0 0 0,0-13 15,1 13-15,-14-13 0,13 13 0,0-13 16,-13-1-16,0 1 0,13 0 0,-13 0 15,0-1-15,-13 1 16,13-13-16,-13 13 16,0 13-16,-1 0 15,1 0-15,0 0 0,0 13 16,-1 0-16,1-13 16,13 13-16,0 0 0,0 1 15,0-1-15,13-13 16,1 0-16,-1 0 15,0 0-15,0 0 0,1 0 0,-1-13 16,27-1-16,-14-12 16,-13 13-16,0 0 15,1-1-15,12-12 0,-13 13 16,1-27-16,-14 27 0,13-1 16,-13 1-16,13 13 0,-13-26 15,13 26-15,-13-13 0,-13 26 47,0 26-31,13-25-16,0 12 0,0 1 15,0-1-15,0-13 0,0 1 16,0-1-16,0 0 0,0 0 16,13 0-16,0 1 0,1-1 15,-1-13-15,0 0 16,13 0-16,-12-13 15,-1 13-15,0-14 0,14 1 16,-27 0-16,13 13 16,-13-13-16,13 13 0,0-13 15,0 26 17,-26 0-17,26 0-15,-13 0 16,0 1-16,14-1 15,-1 0 1,0-13-16,0-13 16,1 13-16,-14-13 15,13 13-15,0-14 16,-13 1-16,0 0 0,0 0 0,0 0 16,0-1-1,-13 1-15,0 0 16,39 39 46,-13-12-62,1-1 16,-1 0 0,-13 0-16,13 0 31,-13 1-31,13-14 0,0-14 47,1 14-47,-14-13 0,13 0 15,0 0 1,0 0-16,1 13 0,-14-14 16,13 1-1,0 13-15,-13-13 16,13 13-16</inkml:trace>
  <inkml:trace contextRef="#ctx0" brushRef="#br0" timeOffset="26199.23">13957 4987 0,'13'14'31,"-13"-1"-15,0 0-16,13 0 15,-13 27 1,13-27-16,-13 0 0,0 1 15,0-1-15,0 0 16,-13-13-16,0 27 0,0-14 16,-14 0-16,14-13 15,-13 13-15,12-13 16</inkml:trace>
  <inkml:trace contextRef="#ctx0" brushRef="#br0" timeOffset="27393.41">12554 6059 0,'40'0'15,"-13"-13"-15,-27 26 0,26-13 16,-13 0 0,-13 13-16,-13 14 15,0-14-15,13 0 16,-13-13-16,13 13 0,-14 1 16,14-1-1,14-13 1,-1 13-16,0-13 0,0 0 15,1 0-15,-1 0 0,0 13 16,0-13-16,0 0 0,-13 13 0,14-13 16,-28 14-1,14-1-15,-13 0 0,0-13 16,0 13-16,-14 1 0,14-14 0,-13 13 16,-1 0-16,1-13 0,-14 13 15,27 1-15,0-14 0,-1 0 16,1 0-16,0 0 0,0 0 15,13-14-15</inkml:trace>
  <inkml:trace contextRef="#ctx0" brushRef="#br0" timeOffset="28462.79">13533 5953 0,'14'40'0,"-1"-1"16,-13-25-16,0-1 16,0 0-1,13 0-15,-13 1 16,0-1 0,13-40-1,1 1 1,-1 13-16,-13-1 15,13 14-15,-13-13 16,13 13-16,0 0 16,1 0-16,12 27 15,-26-14 1,13 0 0,-13 0-16,14 1 15,-14-1-15,13-26 31,0 13-15,-13-14-16,0 1 16,13 13-16,1-13 0,-14 0 0,13 13 15,0-14-15,0 1 0,0 13 16,1 0-16,12 0 16,-13 13-1,-13 1-15,14-14 0,-14 13 0,13 0 16,-13 0-16,13 1 15,-13-1-15,13-13 0,-13 13 16,14-13-16,-1 0 0,0 0 16,13 0-16,-12 0 15,-1-13-15,0 13 0,-13-13 0,27-14 16,-14 14-16,0 0 16,-13-1-16,13 1 15,-13 0-15,0 39 47,0-12-47,14 12 16,-14-13-16,13-13 15,-13 14-15,13-14 16,0 0-16,0 0 0,1 0 16,-1 0-16,0-14 15,-13 1 1,0 0-16,-13 0 0,0-1 15,13 1-15,-27 0 16,14 13-16,0-13 0,0 13 16,-1 0-16,1-13 0,0 13 15,0 0-15,-1-14 16,1 1 0</inkml:trace>
  <inkml:trace contextRef="#ctx0" brushRef="#br0" timeOffset="29379.57">14340 5649 0,'14'0'0,"-1"26"16,-13 1-16,0-1 0,0-13 16,0 14-16,0 26 15,0-27-15,0 1 0,13-1 0,-13 1 16,0-1-16,0-13 0,13 40 15,1-40-15,-14 1 16,0-1-16,13 0 16,-26-26 31,-1 13-32,1-13-15,0 13 0,0 13 16,-1-13-16,1 13 15,0 0 1,13 1 0,13-14-1,0 0-15,1 0 0,25 0 16,-25 0-16,25-14 16,1-12-16,-14 13 15,-12-1-15,-1 1 0,0 0 16,0 0-16,1 0 0,-1-1 15,0 1-15,-13 0 0,13 13 16,-13-13-16,-13 26 31,0 0-31,13 0 16,0 1 0,0-1-16,0 0 15,13 0-15,0-13 16,0 0-16,1 0 15,12 0-15,-13-13 16,14 0-16,-14 0 0,0-1 16,1-12-16,12-1 15,0-25-15,-26 25 16,14 14-16,-1-40 0,-13 40 16,13-14-16,-13 14 0,0 0 0,0 0 15,0-1-15,13 1 16,-26 40-1,0-14 1,13 0-16,0 13 0,-13 1 16,13-1-16,-14-12 0,14 12 15,0-13-15,0 1 0,0-1 16,0 0-16,14 0 0,-14 0 0,13-13 0,0 14 16,0-14-1,1 0-15,12-14 0,-13 14 0,27 0 16,-27 0-16,27 0 15,-27 14-15,0-14 0,14 0 16,-1 13-16,-26 0 16,27 0-16,-27 1 0,0-1 15,0 0 1,-14 0-16,1 0 16,0 1-16,-13-1 0,-1 13 15,14-26 1,-14 14-16,14-1 0,-40 0 0</inkml:trace>
  <inkml:trace contextRef="#ctx0" brushRef="#br0" timeOffset="29655.19">13573 6469 0,'106'-13'0,"-53"0"0,13-1 16,0 1-16,0 0 0,14-14 0,65 1 15,-65 13-15,-1 0 16,0-1-16,-13-12 0,14 26 16,39-27-16,-66 27 0,26-13 15,-39 0-15,-14 13 16,1 0-16,-54 0 31</inkml:trace>
  <inkml:trace contextRef="#ctx0" brushRef="#br0" timeOffset="29845.15">14076 6390 0,'-27'13'0,"54"-26"15,-1 13-15,1-14 0,52-12 16,14 0 0,-14-1-16,-26 14 0,-13-14 15,26-12-15,-40 12 16,1 14-16,-1-27 16,-13 27-16,-13 0 0</inkml:trace>
  <inkml:trace contextRef="#ctx0" brushRef="#br0" timeOffset="30128.58">13137 5450 0,'145'-39'0,"-105"39"15,13-13-15,66-1 0,-53 1 0,66-13 16,0 12-16,-65 1 16,-14 0-16,132 0 15,-132-1 1,-40 14-16</inkml:trace>
  <inkml:trace contextRef="#ctx0" brushRef="#br0" timeOffset="30306.76">13361 5398 0,'120'-14'0,"-28"1"16,14 0-16,66-27 16,-66 0-1</inkml:trace>
  <inkml:trace contextRef="#ctx0" brushRef="#br0" timeOffset="30587.43">12978 4405 0,'172'-26'0,"-27"13"0,-462 52 0,714-92 15,-239 40-15,28 0 16,-14 13-16,-93-13 16</inkml:trace>
  <inkml:trace contextRef="#ctx0" brushRef="#br0" timeOffset="30786.89">13454 4524 0,'79'-13'16,"199"-13"-16,-185 12 16</inkml:trace>
  <inkml:trace contextRef="#ctx0" brushRef="#br0" timeOffset="37291.12">15346 7594 0,'66'-14'16,"-53"14"-16,14 0 0,-14 14 15,0-14-15,0 13 0,1-13 0,-14 13 16,13 0-16,-13 0 0,0 1 15,-13-1-15,-14 13 0,1 27 16,-1-39-16,1 12 16,13-13-16,-1 0 0,1-13 0,-13 14 15,12-1-15,1-13 0,13 13 0,-13-13 16,39 0 15,-12 0-31,-1 0 0,0 0 16,53 0-1,-39 0-15,-14-13 0,27 13 16,-14 0-16,1-13 0,12-1 0,1 1 0,-14 0 16</inkml:trace>
  <inkml:trace contextRef="#ctx0" brushRef="#br0" timeOffset="37459.03">15981 7633 0,'13'0'0,"-26"0"0,13 27 31,-13-14-31,13 0 0,-14 14 16,1-14-16,0 13 0,0 14 16,-27 13-16,27-40 15,-14 27-15,27-14 0,-13-12 0,0-1 16,0 0-16</inkml:trace>
  <inkml:trace contextRef="#ctx0" brushRef="#br0" timeOffset="37656.28">15729 7792 0,'14'-13'16,"-1"26"-16,0-13 16,14 13-16,-14 0 0,0-13 15,27 27-15,-27-14 16,13-13-16,1 13 15,-1-13-15,-12 14 0,-1-14 0,0 0 16,14 0-16,-14-14 16</inkml:trace>
  <inkml:trace contextRef="#ctx0" brushRef="#br0" timeOffset="38083.4">16563 7686 0,'13'0'0,"-39"0"16,-1 0-16,14 13 0,0-13 15,-14 0-15,14 14 0,0-14 16,0 13-16,-1-13 0,1 0 0,0 13 16,0-13-16,13 13 15,13 1 1,0-14-16,0 0 0,1 13 16,-1 0-16,13-13 0,-12 13 0,12 0 15,-13-13-15,0 14 0,-13-1 16,0 0-16,0 0 15,0 1-15,-13-1 0,0-13 0,0 26 16,-14-26-16,14 14 0,-27 12 16,14-13-16,13 0 15,-1-13-15,14-13 32</inkml:trace>
  <inkml:trace contextRef="#ctx0" brushRef="#br0" timeOffset="38275.14">16841 7620 0,'13'13'15,"-13"0"-15,0 1 16,-13 25-16,13-25 0,-13 12 16,-1 1-16,14 12 0,-13-12 0,0 12 15,0-12-15,-1-14 0,14 14 16,-13-14-16,13 0 0,0 0 15,0 14-15,-13-27 0,13 13 0</inkml:trace>
  <inkml:trace contextRef="#ctx0" brushRef="#br0" timeOffset="38484.24">16695 7845 0,'27'-13'0,"-1"26"16,1-13-1,-14 0-15,0 0 0,0 0 0,1 0 16,25 13-16,-12-13 0,-1 0 0,-13 0 16,14 0-16,-1 0 0,1 0 15,-1 0-15,-13 0 0</inkml:trace>
  <inkml:trace contextRef="#ctx0" brushRef="#br0" timeOffset="39293.35">17396 7673 0,'53'0'16,"-40"13"-1,-13 0 17,14-13-32,-1 14 15,0-1-15,0-13 16,-13 13-16,14-13 0,-14 13 16,13-13-1,-26 14-15,13-1 0,-14 0 16,1-13-16,-13 13 15,12 0 1,1-13 0</inkml:trace>
  <inkml:trace contextRef="#ctx0" brushRef="#br0" timeOffset="39415.3">17674 7871 0,'-13'0'16,"0"-13"0</inkml:trace>
</inkml:ink>
</file>

<file path=ppt/ink/ink1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39:14.105"/>
    </inkml:context>
    <inkml:brush xml:id="br0">
      <inkml:brushProperty name="width" value="0.05292" units="cm"/>
      <inkml:brushProperty name="height" value="0.05292" units="cm"/>
      <inkml:brushProperty name="color" value="#0070C0"/>
    </inkml:brush>
  </inkml:definitions>
  <inkml:trace contextRef="#ctx0" brushRef="#br0">7607 4776 0,'-40'0'16,"14"0"-1,12 13-15,1-13 16,-27 13-16,27-13 0,-13 13 16,13-13-16,-14 14 0,-13-1 15,1-13-15,-1 13 0,0 0 0,1 1 16,-41 12-16,41-13 0,12 0 15,-13 1-15,1-1 0,-1 0 16,-79 27-16,53-14 16,26-12-16,1-1 15,-28 13-15,28-13 0,-27 14 16,-1-14-16,41 0 16,-1 1-16,-25-1 15,38 0-15,-12-13 0,13 13 0,-14-13 16,-13 14-16,27-1 0,-13-13 15,13 0-15,-1 13 16,1-13-16,-13 13 0,-1 0 16,14-13-16,0 0 0,-1 14 0,-12-14 15,13 0-15,0 13 0,-1-13 16,1 13-16,0-13 0,0 13 0,-1-13 16,1 0-16,0 14 0,0-1 15,0-13-15,-1 0 0,1 13 16,0-13-16,0 13 0,-14 1 15,14-14 1,13 13-16,-13-13 0,-1 13 0,1 0 16,0-13-16,13 13 15,-13-13-15,0 14 0,-14-1 16,27 0-16,-13 0 16,0 1-1,-1-14 1,14 13-1,-13-13 17,0 13 46</inkml:trace>
  <inkml:trace contextRef="#ctx0" brushRef="#br0" timeOffset="918.79">5014 7038 0,'-53'66'16,"40"-53"-16</inkml:trace>
  <inkml:trace contextRef="#ctx0" brushRef="#br0" timeOffset="1430.88">5503 6985 0,'0'13'15,"0"0"-15,0 1 0,0-1 16,0 0-16,0 0 16,0 1-16,14-1 0,-14 0 15,0 0-15</inkml:trace>
  <inkml:trace contextRef="#ctx0" brushRef="#br0" timeOffset="5002.06">5861 7157 0,'26'40'15</inkml:trace>
  <inkml:trace contextRef="#ctx0" brushRef="#br0" timeOffset="9868.89">17873 4326 0,'-265'40'0,"225"-40"15</inkml:trace>
  <inkml:trace contextRef="#ctx0" brushRef="#br0" timeOffset="10061.76">17449 4339 0,'-13'66'0,"13"-39"0,0-1 16,26 54 0,1-54-16,13-13 15,-14 1-15,14-1 0,13 0 0,-14 0 16</inkml:trace>
  <inkml:trace contextRef="#ctx0" brushRef="#br0" timeOffset="15503.83">7488 7289 0,'26'0'15</inkml:trace>
  <inkml:trace contextRef="#ctx0" brushRef="#br0" timeOffset="15860.63">8559 7342 0,'66'0'0,"-39"0"0,26 0 15,-27 0-15,14 0 0,-14-13 16</inkml:trace>
  <inkml:trace contextRef="#ctx0" brushRef="#br0" timeOffset="16111.86">15928 7898 0,'701'40'0</inkml:trace>
  <inkml:trace contextRef="#ctx0" brushRef="#br0" timeOffset="16552.04">17965 7818 0,'185'0'0,"-118"0"0,-15 0 0,54-13 15,-40 13-15</inkml:trace>
  <inkml:trace contextRef="#ctx0" brushRef="#br0" timeOffset="16774.88">18984 7779 0,'13'13'16,"0"13"-16,-13-12 16,0-1-16,0 0 0,-13 14 15,0-14-15,-14 13 0,1 1 16,-1-14-16,-12 13 0,12-12 15,-65 39-15,78-40 16,-12 0-16,13-13 0</inkml:trace>
  <inkml:trace contextRef="#ctx0" brushRef="#br0" timeOffset="17880.84">20876 7871 0,'-14'-13'15,"28"0"1,-1 26-1,0-13-15,0 0 16,14 13-16,-14 1 16,0-14-16,-13 13 15,0 0-15,0 0 16,0 1 0,0-1-1,13 0-15,-13 0 16,14 0-1,-14 1-15,0-1 16,-14 0-16,1 0 16,0 1-16,0-14 15,0 13-15,-1-13 0,1 0 0,0 13 16,0-13-16,-1 0 16,1 13-16,40-39 31,-14 13-16,0 13-15,0-14 0,1 1 0,12 13 0,-13-13 16,0 0-16,1 13 0,-1-14 16,0 14-16,-13-13 0,13 13 15,1-13-15,-1 13 16,-13 13 0,13 0-1,0 1-15,1-1 16,-1-13-16,13 13 15,-13-13-15,1 0 0,-1 0 16,0 0-16,0 0 0,14-13 16,-14 13-16,0-13 0,0-1 15,1 1-15,-14 0 16,0 0-16,0 0 16,0-1-16,-14 1 15,14 0-15,-13 0 16,0-1-1</inkml:trace>
  <inkml:trace contextRef="#ctx0" brushRef="#br0" timeOffset="18341.91">21272 7408 0,'-185'40'16,"119"-27"-16,0 14 0,-13 26 16,-14-14-16,14 27 0,-1-13 0,-65 80 15,105-80-15,-26 66 16,53-66-16,-1-14 0,41 67 15,-1-53-15,1 0 16,26-13-16,-14-1 0,28 1 0,-14 0 0,13-14 16,13-13-16,80 27 15,-67-40-15,-12 0 0,12 0 0,1 0 16,-14-13-16,40-14 0,67-52 16,-120 53-16,0-14 0,-13-13 15,-13 0-15,-1 13 0,1-26 16,-14 0-16,-12-53 0,-28 53 15,1 13-15,-27-13 0,1-14 0,-14 14 16,0 13-16,0 14 0,-66-67 16,0 40-16,53 39 15,0 1-15,-54-14 0,68 27 16,12 13-16,-13-13 16,13 13-16,1 0 0,12 0 0,1 0 0</inkml:trace>
  <inkml:trace contextRef="#ctx0" brushRef="#br0" timeOffset="19299.82">20902 3850 0,'27'-14'0,"-14"14"16,13-13-16,1 13 0,-14-13 16,93 13-1,-93 0-15,13 13 0,-12-13 0,12 13 16,-13 1-16,-13 12 15,-13 1-15,0-1 16,-40 27-16,13-27 0,14 1 16,-1-1-16,-12-12 0,25-1 0,-12 0 15,13 0-15,0-13 0,-1 14 0,1-1 16,0-13-16,53-13 31,-27 13-15,13-14-16,1 14 0,12 0 0,-12-13 15,26 0-15,-14 13 16,-12 0-16,-1 0 0,1 0 0,-1 0 16,1 0-16,-14 0 0,0 13 15,14-13-15,-27 13 0</inkml:trace>
  <inkml:trace contextRef="#ctx0" brushRef="#br0" timeOffset="19577.43">21206 4498 0,'-26'26'16,"-1"-12"-16,1 12 0,0 1 16,-1-1-16,1 0 0,-1 1 0,1-1 15,-1-12-15,1 12 0,-1 0 16,-12 14-16,25-27 0,1-13 16,13 14-16</inkml:trace>
  <inkml:trace contextRef="#ctx0" brushRef="#br0" timeOffset="19761.18">20942 4498 0,'13'13'0,"-13"0"16,13 14-16,0-1 16,14 14-16,13 13 15,26 26-15,-53-39 16,40 0-16,-27-14 15,1 14-15,-14-27 16</inkml:trace>
  <inkml:trace contextRef="#ctx0" brushRef="#br0" timeOffset="20470.97">21140 5543 0,'93'-13'15,"-80"13"-15,-39 13 31,12 0-31,1-13 0,-13 13 16,12-13-16,1 0 0,-13 14 16,13-14-16,-1 13 0,1-13 15,13 13-15,-13-13 16,13 13-16,0 1 16,0-1-16,13-13 15,0 13-15,1 0 0,-1 1 16,0-1-16,0 0 15,0 0-15,-13 0 0,0 1 16,0-1-16,-13 0 16,0 0-16,0-13 0,-14 27 15,14-27-15,0 13 0,-27 0 16,27 1-16,-14-14 0,14 0 16,0 13-16,-13 0 15,12-13-15</inkml:trace>
  <inkml:trace contextRef="#ctx0" brushRef="#br0" timeOffset="20808.73">21180 6218 0,'-53'106'0,"40"-80"15,-14 0-15,-26 41 0,27-28 16,-27 14-16,27-13 16,12-14-16,-12 1 0,13-1 0,-1-12 15,1-1-15,0 0 0</inkml:trace>
  <inkml:trace contextRef="#ctx0" brushRef="#br0" timeOffset="21002.15">20876 6429 0,'39'27'0,"-12"-1"16,-1-12-16,1 12 0,-1-13 16,40 40-16,-39-40 0,39 40 15,-40-39-15,14 25 16,-27-26-16,14 14 0,-14-14 15,0 0-15</inkml:trace>
  <inkml:trace contextRef="#ctx0" brushRef="#br0" timeOffset="21447.13">20915 6959 0,'14'-14'0,"-1"14"15,0 14 1,-13-1 0,0 0-1,13 0-15,-13 0 16,13 1-16,-13-1 0,14 0 15,-14 14-15,0-14 16,0 0 0,-14 0-16,-12 1 0,13-1 15,-14 0-15,14-13 16,0 13-16,0-13 0,-1 0 0</inkml:trace>
  <inkml:trace contextRef="#ctx0" brushRef="#br0" timeOffset="21833.15">20690 7422 0,'40'-27'16</inkml:trace>
</inkml:ink>
</file>

<file path=ppt/ink/ink1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39:53.986"/>
    </inkml:context>
    <inkml:brush xml:id="br0">
      <inkml:brushProperty name="width" value="0.05292" units="cm"/>
      <inkml:brushProperty name="height" value="0.05292" units="cm"/>
      <inkml:brushProperty name="color" value="#0070C0"/>
    </inkml:brush>
  </inkml:definitions>
  <inkml:trace contextRef="#ctx0" brushRef="#br0">14235 2659 0,'-40'0'15,"80"13"17,-27-13-32,13 0 15,14 0-15,13 0 0,0 0 0,13 0 0,13 0 16,93 0-16,-79 0 16,105 0-16,40 0 15,-92 0-15,-14 0 0,1 0 16,-1 0-16,-13 14 0,13-14 0,-13 0 15,-13 0-15,0 13 0,-13-13 16,12 13-16,81-13 0,-94 13 16,1-13-16,-14 0 0,1 13 15,-14-13-15,-13 0 0,0 0 16,66 14-16,-67-14 16,-25 0-16,-14 0 0,0 0 15,1 0-15,-1 0 0</inkml:trace>
  <inkml:trace contextRef="#ctx0" brushRef="#br0" timeOffset="405.64">15333 2831 0,'39'0'15,"-25"0"-15,78 13 16,-39-13-16,26 0 0,-12 0 15,25 0-15,80 14 16,0-1-16,-79-13 0,-1 0 0,-12 13 16,12-13-16,67 13 15,-93 0-15,14-13 0,-14 14 0,-13-14 16,39 13-16,-65-13 16,12 0-16,1 13 0,-27-13 15,1 0-15,-1 0 0,0 0 16,0 0-16,0 0 0,1 0 15,-14 13-15</inkml:trace>
  <inkml:trace contextRef="#ctx0" brushRef="#br0" timeOffset="2577.06">20598 2765 0,'-13'0'16,"-1"0"-1,67 0 1,-26 0-16,-1 0 0,27 0 16,0 0-16,26 0 0,1 0 0,-1 0 15,93 0-15,-93 13 0,226-13 16,-199 13 0,13-13-16,145 14 15,-65-1-15,-93-13 0,-14 13 16,14-13-16,-13 0 0,12 13 0,-12-13 15,0 14-15,-14-14 0,14 13 0,-14-13 16,-13 13-16,66 0 16,-26-13-16,-53 13 0,0-13 15,-13 0-15,-1 0 0,28 14 16,-41-14-16,40 0 16,-39 13-16,-1-13 0,1 0 0,-1 0 15,0 0-15,-12 0 0,12 0 16,1 0-16,-14 13 0,13-13 15,14 0-15,-14 0 16,-12-13-16,25 13 0,-25 0 16,-1 0-16,0 0 15,14-13-15,-14 13 0,0 0 16,0-14-16,0 14 16,14-13-16,-14 13 15,0 0-15,1-13 0,12-13 16,-13 12-16,1 1 15,-1 0-15,0-14 0,27-39 16,-27 40-16,13-1 0,-12-12 16,25-28-16,-12 1 15,26-40 1,-27 27-16,1 13 16,-1 0-16,-13 39 0,0-12 15,1 12-15,-14-12 0,26-1 16,-13 0-16,1 0 15,-14 27-15,13 0 16,0-13-16,-13 12 16,13 1-16,-13 0 0,0 0 15,0-1 1,-13 14 0,0 0-16,13-13 0,-13 13 15,-14 0-15,1 0 0,12-13 16,-12 13-16,0 0 0,-80-13 15,66-1-15,-13 14 16,13-13-16,-12 13 0,-68-26 16,54 26-16,0-13 0,-79-14 15,65 27-15,-79-26 16,1-1-16,65 27 0,14-13 16,-14 0-16,14 13 15,-93-13-15,13-1 0,0 1 16,80 0-16,13 13 0,-14 0 15,27-13-15,-13 13 16,13 0-16,-52-14 0,38 14 16,-38 0-16,38 0 0,-38 0 15,52 0-15,0-13 0,-40 13 16,27 0 0,0 0-16,39 0 0,-12 0 15,12 0-15,-39 0 16,-13 13-16,-1-13 15,41 0-15,-27 0 0,-1 14 16,41-14-16,-14 0 16,14 0-16,-1 0 0,-26 0 15,1 13-15,38-13 16,-25 0-16,12 0 0,14 0 16,-40 13-1,27-13-15,12 0 0,1 0 16,-27 13-1,27-13-15,-13 0 0,13 0 16,-40 14-16,26-14 16,1 13-16,12-13 15,-25 0 1,-1 13-16,27-13 16,-14 0-16,27 13 0,-13-13 15,0 0-15,0 0 16,-1 13-16,1-13 15,13 14-15,-13-1 16,13 0-16,-13 0 16,13 1-16,0 12 0,-13 0 15,13 1-15,0-14 16,-14 80 0,14-67-16,0 54 15,0-54-15,0 14 16,0-14-16,-13 1 0,13-1 0,0 1 0,0 39 15,0-13 1,0-27-16,0 1 0,0 52 16,0-39-16,0-1 15,0-25-15,0 25 16,0-26-16,0 1 16,0 12-16,0-13 15,0 1 1,0-1-16,0 0 31,0 0-15,0 1-1,13-1 48,1-13-48,-1 0 1,13-13-16,14 13 16,26 0-16,-39 0 15,39 0-15,40 0 16,-40 0 0</inkml:trace>
  <inkml:trace contextRef="#ctx0" brushRef="#br0" timeOffset="8675.42">16232 4022 0,'185'13'16,"-158"-13"-16,-1 13 15,1-13-15,12 0 0,-12 0 16,-1 13-1,1-13-15,-1 0 16,-12 0 0,-1 0-1,0 0 1</inkml:trace>
  <inkml:trace contextRef="#ctx0" brushRef="#br0" timeOffset="9268.49">20505 4075 0,'622'53'15,"-463"-40"1,-93 0-1,-26-13 1,-27 0-16,0 0 0</inkml:trace>
  <inkml:trace contextRef="#ctx0" brushRef="#br0" timeOffset="10139.11">1468 4815 0,'305'-26'16,"-239"13"-16,13 13 15,120-27 1,-67 14-16,-66 0 0,93 0 15,-106-1-15,0 14 16,0 0-16</inkml:trace>
  <inkml:trace contextRef="#ctx0" brushRef="#br0" timeOffset="14218.02">7567 4908 0,'27'0'31,"-1"0"-15,14 13-16,13-13 15,13 0-15,13 0 16,-39 0-16,13 0 0,79 13 15,27-13 1,-106 0-16,53 14 16,-54-14-16,173 13 15,-66-13 1,79 26-16,-66-26 16,-79 14-1,-1-14-15,107 13 0,-93 0 16,13 0-16,106 1 0,26-1 15,-119 0-15,-13 0 16,0 0-16,14-13 0,118 14 16,146 12-16,-132-13 15,12 1-15,14-14 16,119 26 0,-264-26-16,132 13 15,-146-13-15,133 14 16,-133-1-16,-13-13 0,384 26 15,-278-13 1,-93-13-16,0 0 0,106 14 16,-119-1-16,120-13 15,-107 13-15,66 0 16,40-13-16,-105 14 0,65-14 16,1 13-1,-1 0-15,0 0 16,-12-13-16,-28 14 15,-78-14-15,78 0 0,-105 0 16,14 13-16,-15-13 16,1 0-16,40 0 0,-14 0 15,1-13 1,-54 13-16,14-14 16,0 14-16,-27 0 0,27-13 15,-27 13-15,26-13 16,-25 13-1,25-13-15,1-14 16,26 1 0,-39 12-1,-14 1-15,40-26 16,-14-14 0,-25 13-16,12-26 15,-26 13 1,13 26-1,1-184 1,-14 184-16,0-12 16,13-133-1,-13 66 1,13 93 0,-13-54-16,13 1 15,-13 27 1,0 25-1,0-12-15,0 13 16,0-1 0,14 1-16,-28 0 31,14 0-31,-13 0 31,0 13-31,0 0 0,-27-14 16,13 1-16,-25 13 15,-1-13 1,-27 0 0,-52-14-1,106 27-15,-94-13 16,68 0-16,12 13 16,-172-27-1,146 27 1,26-13-16,-39 13 0,-53-13 15,-80-14 1,119 14 0,27 13-1,-13-13-15,13 13 16,-53-13 0,53 13-16,39 0 15,-13-14-15,-13 14 16,-79-13-1,92 13-15,-52-13 16,-1 13 0,-13-13-16,14 13 15,26 0 1,0 0 0,39 0-16,-26 0 0,-53-14 15,80 14 1,-27 0-1,27 0-15,-80 0 0,79 0 16,-39 14-16,-40-14 16,40 0-1,-66 0-15,39 13 16,53-13-16,-65 0 16,12 0-16,0 0 15,-39-13 1,-13 13-1,92 0-15,-40-14 16,-13 14-16,53 0 0,-92-13 16,92 13-16,-79-13 15,26 13 1,66-13-16,-52 13 16,-1-13-16,40 13 0,-26-14 15,12 14-15,-12-13 16,26 13-1,-39-13-15,25 13 16,28 0-16,12 0 0,-12 0 16,-28-13-1,1 13-15,27 0 0,-28 0 16,15 0-16,12 0 16,13 0-16,-78 0 15,38 0-15,28 13 16,-27-13-16,-1 0 15,15 0-15,-28 0 16,1 0-16,-1 0 16,41 0-16,-27 13 15,13-13-15,-27 0 0,27 0 16,27 0-16,-27 0 0,13 0 16,-79 0-16,80 0 15,-54 0-15,66 0 0,-12 0 16,-1 0-16,-52-13 15,12 13-15,40 0 0,1 0 16,-1 0-16,14 0 0,-14 0 16,-13 0-16,-13 0 0,26 0 15,-26 0-15,0 0 16,-13 13-16,52-13 0,-13 0 16,14 0-16,-27 0 0,13 0 15,14 0-15,-14 0 0,14 0 0,-1 13 16,-39-13-16,26 0 0,14 0 15,-27 0 1,0 14-16,27-14 16,-1 0-16,-26 0 0,27 0 0,-1 0 15,1 0-15,-14 0 0,-13 0 16,-53 13 0,40-13-16,0 0 15,40 0-15,-14 0 0,-13 0 16,-53 0-1,67 0-15,-1 0 0,0 0 0,-66 13 16,67-13-16,-54 0 16,14 0-16,39 0 15,-39 0-15,39 0 16,-53 0-16,54 0 16,-67 13-16,53-13 0,13 0 15,-13 0-15,-39 0 0,39 0 16,0 0-16,13 0 0,-52 13 15,39-13-15,0 0 0,-53 0 16,0 14-16,0-14 16,53 0-1,0 0-15,-105 13 0,52-13 16,13 13 0,-13-13-16,54 13 15,-1-13-15,-53 0 0,0 14 16,53-14-16,0 0 0,-106 13 15,106-13 1,-105 13-16,118-13 16,-53 13-16,-92 1 15,145-14-15,1 0 16,-54 13 0,54-13-16,-67 13 0,40-13 15,39 0-15,-13 0 16,14 0-16,-40 13 15,-27-13-15,67 0 16,-1 0-16,-26 13 0,27-13 16,-27 0-16,40 0 15,-40 0-15,26 0 0,-26 0 16,40 0 0,-13 0-16,13 0 0,-1 0 0,-12 0 15,13 0-15,-14 0 0,-26 14 16,40-14-1,0 0-15,0 0 16,-14 0-16,14 0 0,-14 0 16,27 13-1,-26-13-15,-1 0 16,14 0 0,-13 0-16,-1 0 15,14 0-15,0 0 16,-14 0-16,-12-13 15,12 13-15,-12 0 16,25 0-16,-12 0 16,-14-14-16,14 14 15,13 0-15,-1 0 0,-52-13 16,40 13 0,-14 0-16,14 0 15,12 13-15,-39-13 16,40 0-16,0 14 15,0-14-15,-1 13 0,1-13 16,-13 26-16,-1 1 16,27-14-16,-13 14 15,0 12 1,0-26-16,13 54 0,0-28 16,0-26-16,0 14 15,0-14-15,0 27 0,0 39 31,13-39-31,-13-27 0,0 14 16,0-14-16,13 13 16,-13 1-16,0-14 0,13 27 15,-13-27 1,0 0-16,0 14 16,14-1-1,-14-13-15,13 0 16,-13 1-16,26-14 15,14 13 1,-27-13-16,40 0 16,79 0-1,-13-13-15,14 13 16,25-14 0,28 1-16,-14 0 15,172-27 1,92-13-1,14 27 1,-66 0 0,-133-1-1,27 14 1,-225 0-16,92-1 16,-52 14-1,-1 0 1,-78-13-16,25 13 15,-25 0 1,-1 0 0</inkml:trace>
  <inkml:trace contextRef="#ctx0" brushRef="#br0" timeOffset="17812.75">8771 6112 0,'119'-13'0,"-93"13"16,41-14-16</inkml:trace>
  <inkml:trace contextRef="#ctx0" brushRef="#br0" timeOffset="18011.75">9075 6191 0,'27'0'16,"-1"0"-16,27 13 15,-13-13 1</inkml:trace>
  <inkml:trace contextRef="#ctx0" brushRef="#br0" timeOffset="19624.68">19606 6152 0,'277'-14'15</inkml:trace>
  <inkml:trace contextRef="#ctx0" brushRef="#br0" timeOffset="22228.39">5675 6945 0,'53'14'15,"-26"-14"-15,26 0 0,0 13 16,-1-13-16,28 0 0,79 13 16,-67-13-16,1 13 0,-1-13 15,107 13-15,26 14 16,-27-14-16,-13-13 15,-92 13-15,0-13 16,-14 0-16,252 14 16,-225-14-16,-1 0 15,-65 0-15,53-14 16,-67 14 0,14-13-16,-14 0 15,-26 0 1,13-1-16,-13-12 15,0 13-15,0 0 0,14-14 16,-14 1 0,0-14-16,0 27 0,13-14 15,-13-26-15,26-52 16,-26 78-16,14-13 16,-1-39-16,0 13 15,27-40-15,-27 53 16,0 40-1,0-27-15,1 14 0,-1 12 16,-13-25-16,13 26 0,-13-1 16,13-12-1,-13 13-15,0-27 16,-13 27 0,0-1-16,0 14 15,-14-13-15,1 13 16,-54-13-1,41 0-15,-54 13 16,-79 0 0,-13 0-16,-40 0 15,79 0 1,67 0-16,-40 0 16,-53 0-16,0 0 15,119 0 1,-106 13-16,-13 0 15,120-13 1,-147 13 0,54 1-1,25-1-15,68 0 16,25-13-16,-39 13 16,0-13-1,26 14 1,14-14-1,12 0 17,1 0-32,13 13 0,-13 0 31,13 0-15,-13 14-1,0-1 1,-1 1-16,-12 12 31,13-39-31,-14 27 16,1-1-1,-14 14 1,40-27-16,-26 0 0,12 14 16,14-1-1</inkml:trace>
  <inkml:trace contextRef="#ctx0" brushRef="#br0" timeOffset="24069.07">8401 8493 0,'-27'0'0,"67"-13"31,-27 13-31,0 0 16,0 0-16,14 13 15,-14-13-15,14 0 16,-14 0-16,0 0 16,0 13-1,-13 1 1,-13-1-16,0 0 15,0 0-15,-1 0 0,1-13 16,-27 27-16,27-14 0,-13 14 16,13-14-16,-1 0 15,1-13-15,0 13 0,0 1 16,-1 12-16,14-13 31,27 0-15,-14-13-16,0 0 0,27 0 15,13 0 1,-40 0-16,14 0 0,12 0 16,1 0-16,-14 0 15,-12-13-15,-1 13 16,0-13 0</inkml:trace>
  <inkml:trace contextRef="#ctx0" brushRef="#br0" timeOffset="24339.19">8295 8639 0,'39'0'16,"-25"0"-16,12 0 15,27 0 1,-13 0-16,-14 0 0,1 0 16,12 0-16</inkml:trace>
  <inkml:trace contextRef="#ctx0" brushRef="#br0" timeOffset="28047.97">8705 8467 0,'26'0'15,"-26"-14"-15,13 14 16,-26-13 15,0 13-31,-13 0 16,12 0-16,-25 0 0,-28 13 15,1 14 1,0-1-16,13 1 16,27-1-16,13-13 15,-14-13-15,1 27 16,-1 13-16,14-27 15,13 0-15,0 0 16,26 1 0,-12-1-16,12-13 0,-13 13 15,14-13-15,92 26 16,-79-12 0,39 12-16,-26-13 15,-13 14-15,-1-14 16,-26 0-16,1 1 15,-14-1-15,0 0 0,-14 13 16,1-12 0,0-14-16,-27 26 0,14-13 15,-40 14-15,26-14 0,-39 0 16,39-13 0,-13 14-16,-13-14 15,39 0-15,1 0 0,-53 0 16,65 0-1,-12 0-15,-14 0 0,1 0 16,39 13-16,-14-13 16,1 13-1</inkml:trace>
  <inkml:trace contextRef="#ctx0" brushRef="#br0" timeOffset="32960.26">8348 9710 0</inkml:trace>
  <inkml:trace contextRef="#ctx0" brushRef="#br0" timeOffset="34310.6">8361 9723 0,'0'14'15,"26"-14"-15,-12 0 16,12-14 0,0 14-1,1 0 1,-1 0-16,1 0 31,-67 14 0,0-14-15,27 0-16,0 13 16,0-13-16,0 0 0,-1 13 15,1-13-15,0 0 0,0 0 16,13 13-16,-14-13 0,1 0 16,13 14-16,-13-14 0,0 13 15,13 0 1,26 0-1,-13 0 1,1 1 0,-1-14-16,0 13 0,27 0 15,-27 0-15,0-13 0,14 27 32,-27-14-32,13 0 0,-13 14 15,-13-14 1,-1-13-16,1 26 0,-13-26 15,13 14-15,-1-14 0,1 13 0,-13-13 16,12 13-16,1-13 0,0 0 16,0 0-16,-1 13 15,-12-13-15</inkml:trace>
  <inkml:trace contextRef="#ctx0" brushRef="#br0" timeOffset="35741.07">8969 9723 0,'-26'14'15,"13"-1"1,-1 0-16,14 0 16,-26 53-1,26-52-15,0-1 0,0 0 16,0 14-1,0-14-15,13 0 0,-13 0 0,13 1 16,1-1 0,-1-13-16,0 0 0,0 0 15,1 0-15,12-13 16,-13 13 0,1 0-16,-14 13 0,13-13 15,-13 13-15,13-13 0,-13 13 16,26 14-1,-12-27-15,-1 13 16,0-13-16,27 0 16,-27-13-16,0 13 15,14-27 1,-27 1-16,13 26 16,-13-13-16,-13-14 15,0 14-15,-1 13 0,1 0 16,-13 0-16,12 0 15,1 0-15,0 13 16,0-13-16,13 13 16,-14-13-16,14 14 0,14-14 15,-1 0 1,0 0 0,0 0-16,1-14 0,12 14 0,-13-13 15,14 0-15,-14 0 0,0-1 0,14 1 16,-14 0-16,13 0 0,1-14 15,-14 1-15,0 13 0,0-1 0,1 1 16,-14 0-16,13 0 0,-13-1 16,13 1-16,-13 0 15,13 13-15,-13-13 0,-13 39 32,13-13-17,0 1-15,-26 25 16,26-12-16,-14-1 0,14-13 15,-13 27-15,13-27 0,0 1 16,0-1-16,0 0 0,13-13 0,-13 13 0,0 1 16,27-1-1,-14-13-15,0 0 0,-13-13 16,14 13-16,-1-14 0,0 14 16,0 0-16,1-13 0,-1 13 15,-13-13-15,13 13 16,0 0-16,0 13 15,-13 0 1,14-13-16,-14 14 0,13-1 16,0 0-1,0-26 1,1 13 0,-14-13-16,0-1 15,13 14-15,-13-13 0,0-13 16,13 12-1,-13 1-15,13 0 32,1 26-1,-1 0-15,-13 1-16,13-1 15,-13 0 1,13-26 31,0 0-32,-13-1-15,14 1 0,-1 13 16,0-26 0,0 26-1,-13-14 1,14 28-1</inkml:trace>
  <inkml:trace contextRef="#ctx0" brushRef="#br0" timeOffset="36062.94">9895 9803 0,'-13'66'16,"13"-53"-1,0 0-15,-13-13 0,13 14 16,0-1-16,-13-13 0,13 13 16,-14 0-16,1-13 0,13 14 15,-13-14-15,0 13 0,0-13 16,-1 0-16</inkml:trace>
  <inkml:trace contextRef="#ctx0" brushRef="#br0" timeOffset="37023.91">8387 10808 0,'40'0'16,"-40"13"-1,0 1-15,-13-1 16,13 0-16,-13 0 15,-1 1-15,1-1 16,13 0 0,13 0-1,1-13 1,-14 14-16,13-1 16,-13 0-16,-13-13 15,13 13 1,-14-13-16,1 0 0,0 13 0,0-13 15,-1 0 1,1 0-16</inkml:trace>
  <inkml:trace contextRef="#ctx0" brushRef="#br0" timeOffset="37660.05">8903 10769 0,'0'39'31,"0"-26"-31,0 1 16,13-1-1,1-40 48,-1 27-48,0-13-15,0 26 32,1-13-17,-1 14-15,0-1 31,14-13 16,-27-13-31,13 13-16,-13-14 0,13 14 16,-13-13-1,13 13 1,0 13-1,1-13-15,-1 0 16,0 0-16,0 0 16,14-13-1</inkml:trace>
  <inkml:trace contextRef="#ctx0" brushRef="#br0" timeOffset="37961.08">9353 10716 0,'-26'26'16,"26"1"0,0-14-16,0 13 15,13-26 1,-13 13-16,13-13 16,-13 14-16,13-14 0,0 0 15,1 0-15,-1 0 16,0-14-16,-13-12 15,-13 13 1,13-14-16,-13 27 0,-1-13 16,14 0-16,-13 0 15,0-1-15,0 1 0,0 13 0,-1-13 16,1 13 0,13-13-1</inkml:trace>
  <inkml:trace contextRef="#ctx0" brushRef="#br0" timeOffset="38879.06">9684 10491 0,'0'13'15,"0"13"-15,-13 1 0,13-14 16,0 14-16,0-1 0,-14 0 15,14 1-15,0-1 0,0 1 0,-13 13 16,13-1 0,0-26-16,13 1 0,-13-1 0,0 0 15,0 0-15,0 1 16,0-1-16,-26-40 47,13 27-32,-1 0 1,-12 14 0,13-1-16,13 0 15,0 0 1,0 1 0,13-14-1,13 0 1,-12 0-16,-1-14 0,0 14 15,0 0-15,1-13 0,-1 0 16,0 0-16,0 13 16,-13-14-16,13 14 0,1-13 15,-14 26 32,0 1-47,0-1 16,13-13 15,0 0-31,0 0 16,1 0-16,-1-13 0,0-1 0,0 14 15,0-26-15,14-1 0,-1 1 16,-12 0-16,-1-1 0,0 1 16,0 12-16,1-12 0,-1 13 15,-13-14-15,13 1 0,-13 13 16,13 13-16,-13-14 0,0 1 15,-26 40 17,13-14-32,-1 0 0,1 13 15,0-12-15,0 12 0,-1 14 16,1-27-16,13 0 16,0 1-16,0-1 15,13-13-15,1 13 16,-1-13-16,0 13 15,14-13-15,-14 0 16,13 13-16,-13-13 0,1 14 16,-14-1-16,13-13 0,0 13 15,-13 0-15,13-13 0,-13 14 16,-13-1-16,13 0 16,-26 14-16,-1-14 15,1 0-15,-14 0 0,27-13 16,0-13-16,-1 13 15,14-13-15,-13 0 0</inkml:trace>
  <inkml:trace contextRef="#ctx0" brushRef="#br0" timeOffset="39487.87">13137 8281 0,'13'-13'16,"-13"40"-16,13-1 0,-13-13 15,0 14-15,0-1 0,-13 1 16,0 79-16,-1-54 16,14-25-16,-13 39 15,0-39-15,13-14 16,-13 0-16,13 0 0,0 0 15</inkml:trace>
  <inkml:trace contextRef="#ctx0" brushRef="#br0" timeOffset="39717.86">13361 8255 0,'14'-40'0,"-28"80"0,41-93 16,-27 40-16,0 39 15,0-12 1,0-1-16,0 13 16,0 27-16,0-13 0,0-14 15,-13 1-15,13-1 0,0 1 0,0-1 16,0-13-16,0 40 16,0-40-16,0 1 0,13-1 0,-13 0 15,0 14-15</inkml:trace>
  <inkml:trace contextRef="#ctx0" brushRef="#br0" timeOffset="39956.87">12978 8520 0,'0'-14'15,"26"14"-15,-12 0 0,-1-13 0,13 13 0,1-13 16,12 0-16,1 13 0,39-14 16,-39 1-16,0 13 0,-1-13 15,-12 13-15,-1 0 0,54 0 16,-67 0-16,13 0 16,-12 0-16,-1 0 0</inkml:trace>
  <inkml:trace contextRef="#ctx0" brushRef="#br0" timeOffset="42511.04">728 7170 0,'79'13'0,"-13"1"0,-26-14 16,66 0-16,-40 13 0,0-13 16,13 0-16,-26 0 15,80 0-15,-67 0 0,0 0 0,13-13 16,-13 13-16,53-27 15,-52 14-15,38-27 0,-65 27 16,13-13-16,13-14 0,-39 27 16,-1-14-16,0 14 0,1 0 15,-1-14-15,-12 14 0,-1 0 0,0-14 16,0 14-16,1 0 0,-1-27 16,0 1-16,0 12 15,0 1-15,-13 12 0,14-12 16,-14 0-16,13-1 0,-13 1 0,13-1 15,-13 1-15,0-1 0,0 1 0,13-1 16,-13 1-16,0-1 0,0 1 0,0-1 16,-13-12-16,13 12 0,-13-12 15,13-1-15,-13 0 0,-1 14 16,-12-14-16,0 0 0,-1 1 0,-13-1 16,1 14-16,-14-14 0,13 13 0,-13 1 15,0-14-15,0 27 0,0-13 16,-13 12-16,13 1 0,-13 0 0,13 0 15,-13 13-15,13 0 0,-92 26 16,79 1-16,-1-1 0,-12 1 16,13 12-16,-13 1 0,-1 13 15,1 0-15,26 0 0,0-14 16,-40 67-16,54-53 0,-1 0 16,-26 132-16,53-119 0,13-26 15,0 13-15,13 0 0,27 39 16,-1-39-16,1-13 15,13-13-15,66 25 0,26-12 16,-65-27-16</inkml:trace>
  <inkml:trace contextRef="#ctx0" brushRef="#br0" timeOffset="43651.91">13348 9459 0,'-39'26'0,"25"-26"15,1 14-15,0-1 0,-14 0 16,-26 27-16,27-14 15,13-13-15,-14 1 0,14-1 0,0 0 16,-14 14-16,14-14 0,0-13 16,13 13-16,-13 0 0,13 0 15,13 1-15,0-1 16,0-13-16,14 0 0,-14 13 16,14-13-16,-1 0 15,27 13-15,-27-13 0,1 0 0,-1 0 16,1 0-16,-14 0 0,13 0 15,1-13-15,-14 13 0,27-13 16,-27 0-16,0 13 0,-13-14 16</inkml:trace>
  <inkml:trace contextRef="#ctx0" brushRef="#br0" timeOffset="43838.93">13441 9446 0,'-40'39'16,"40"-12"-16,-13-14 16,13 13-16,-13 1 0,-1-14 0,14 14 15,-13 26-15,0-40 16,0 13-16,13 1 0,0-14 0,-13 13 16,13 1-16,0-1 15,0-13-15</inkml:trace>
  <inkml:trace contextRef="#ctx0" brushRef="#br0" timeOffset="44901.1">13189 10491 0,'67'13'0,"-54"-13"16,-13 13-16,0 14 15,-13-27-15,-1 26 16,14-13-16,-13-13 0,13 14 0,-13-1 15,13 0 1,0 0-16,13 0 0,0-13 16,1 14-16,-1-1 0,0-13 15,0 13-15,14 0 16,-14-13-16,0 14 16,-13-1-16,-13 0 15,13 0-15,-13 1 0,-14-14 16,14 13-16,-27 0 0,1-13 15,12 0-15,14 0 16,-13 0-16,-1 0 0,14 0 16,0-13-16</inkml:trace>
  <inkml:trace contextRef="#ctx0" brushRef="#br0" timeOffset="45580.91">13295 10160 0,'-106'13'0,"80"0"16,-14 14-16,1-1 0,12 14 0,-12 0 15,-1 13-15,13-14 0,-12 14 16,12 13-16,-26 53 0,40-66 15,13 53-15,13-13 16,27-1-16,-14-52 16,54 26-16,-40-39 15,-1-14-15,1 13 0,0-26 16,52 14-16,-52-14 0,39-14 16,1-12-16,-41 13 15,1-14-15,-14 1 0,1-1 16,-1 1-16,14-40 0,-14-14 15,-26 54-15,0-14 16,0 1-16,-13-1 0,0 13 0,0-12 16,0-1-16,-14 0 0,1 14 15,-1-1-15,-39-25 0,0-1 16,13 13-16,27 13 16,-1-12-16,1 12 0</inkml:trace>
  <inkml:trace contextRef="#ctx0" brushRef="#br0" timeOffset="46190.88">13652 8930 0,'-105'0'0,"25"0"16,27 13-16,0 0 0,-13 14 15,13-1-15,-13 14 0,-198 145 16,131-53 0,80-52-16,1-14 0,-1 13 15,0 53-15,26-65 16,27-15-16,0 68 0,27-68 15,-1 1-15,67 40 16,26-14-16,66-12 16,-92-41-16,-14-13 0,93-13 15,-79 0-15,-1-13 0,1 0 16,13-14-16,-14 1 0,1-14 0,-27 0 16,0-12-16,0-1 0,-13-14 15,-13 15-15,-14-15 0,-12 1 16,-1-172-16,-26 172 0,-1-13 15,-65-67-15,26 80 16,-53-27-16,-13 27 16,-13 13-16,-80 0 15,133 40 1,-40 0-16,66 13 16</inkml:trace>
  <inkml:trace contextRef="#ctx0" brushRef="#br0" timeOffset="48629.89">17992 8864 0,'13'13'16,"-13"0"-16,0 0 16,0 0-16,0 1 0,0-1 15,13 0-15,-13 0 0,0 1 0,0-1 16,0 0-16,0 0 15,0 1 1,27-28 0,-1-12-1,-13 26 1,1 0-16,-1-13 0,0 26 16,0-13-16,0 0 0,-13 13 15,14-13-15,-14 13 0,13 1 16,0-1-16,0 0 15,1 0 1,-1-26 15,0 13-31,0-13 16,0 13 0,1 0-16,-1-13 15,13 13 1,27-14-1,-13 1 1</inkml:trace>
  <inkml:trace contextRef="#ctx0" brushRef="#br0" timeOffset="48796.12">18693 8877 0,'0'13'16,"0"27"-1,-13-27-15,-1 13 0,14-12 16,-13 12-16,0-13 0,0 1 0,-1 12 16,1 0-16,0-12 15,0 12-15</inkml:trace>
  <inkml:trace contextRef="#ctx0" brushRef="#br0" timeOffset="48984.12">18534 8956 0,'40'13'16,"-1"27"-16,-25-27 15,12 14 1,1-14-16</inkml:trace>
  <inkml:trace contextRef="#ctx0" brushRef="#br0" timeOffset="49355.96">19076 8916 0,'-13'27'0,"13"-14"15,-13 0-15,13 1 0,0-1 16,-13 0-16,13 0 0,-13-13 16,13 14-1,13-28 1,13-12-1,-13 26 1,1-13-16,-1 13 0,0 0 16,14-14-16,-14 14 15,0 14-15,0-14 16,-13 13-16,0 0 16,0 0-16,14-13 0,-14 14 0,0-1 15,0 0 1,0 0-16,13-13 0</inkml:trace>
  <inkml:trace contextRef="#ctx0" brushRef="#br0" timeOffset="49562.44">19711 8864 0,'-39'39'15,"26"-26"1,13 1-16,-14-1 0,-12 27 16,-14 13-16,0-14 15,27-26-15,0 14 16,0-14-16</inkml:trace>
  <inkml:trace contextRef="#ctx0" brushRef="#br0" timeOffset="49735.93">19447 8996 0,'13'0'0,"0"0"16,-13 13-16,14-13 0,-1 13 15,0-13-15,-13 14 16,26-1-16,-12-13 0,-1 13 0</inkml:trace>
  <inkml:trace contextRef="#ctx0" brushRef="#br0" timeOffset="51598.87">20069 8864 0,'-14'119'16,"1"-93"-16,13-13 0,-13 14 0,13-14 15,-13 0-15,13 14 0,0-14 16</inkml:trace>
  <inkml:trace contextRef="#ctx0" brushRef="#br0" timeOffset="51878.69">20135 8784 0,'39'-53'16,"-78"106"-16,92-106 0,-40 40 0,0 13 0,0 0 0,1 0 16,-1 13-16,0 0 0,0-13 15,1 14-15,-14-1 0,13 0 16,-13 0-16,0 1 0,0-1 0,-13 13 16,-1-12-16,1-1 0,0 0 15,0 0-15,-14 0 0,14 1 0,-14-1 16,14 0-16,0-13 0,0 13 0,-14-13 15,14 0-15,0 14 16</inkml:trace>
  <inkml:trace contextRef="#ctx0" brushRef="#br0" timeOffset="53331.43">19103 9260 0,'93'0'16,"-80"0"-16,40-26 15,-14 13 1,-25 0-16,-1-1 15,0 14-15,0-13 0,14-40 16,-14 40-16,0-27 16,-13 14-16,0-1 0,0-12 15,0 25-15,0-12 16,-13 13-16,0-1 0,13-12 0,-27 13 16,14 0-16,0-1 0,-14 14 0,14 0 15,-13 0-15,-1 0 0,1 0 16,-14 14-16,0-1 0,1 0 0,12 13 15,1 1-15,-14-1 0,0 14 16,14-13-16,13-1 0,-1-13 16,14 14-16,-13-14 0,13 0 15,0 14-15,0-14 0,0 0 0,0 0 0,13 1 16,-13-1-16,14 0 16,-14 0-16,13-13 0,0 13 0</inkml:trace>
  <inkml:trace contextRef="#ctx0" brushRef="#br0" timeOffset="53799.2">19169 9327 0,'-26'26'16,"12"-13"-16,1 0 0,-13 1 15,-14 12-15,14 1 0,-14 12 16,-13-12-16,-53 39 0,53-26 0,-13-14 16,0 14-16,0-14 0,-14 1 15,-52 26-15,66-27 0,13 0 16,-13-12-16,13 12 0,0-13 0,0 1 15,13-1-15,1 0 0,-14-13 16,13 13-16,14-13 0,-1 0 0,1 0 16,-1 0-16,1 14 0,13-14 15,-1 0-15,1-14 0,0 14 0</inkml:trace>
  <inkml:trace contextRef="#ctx0" brushRef="#br0" timeOffset="54053.7">17767 9763 0,'-185'146'0,"92"-54"15,14 1-15,39-53 0,13 12 16,14-12-16,13 40 0,13-41 15,14-12-15,13-1 16,12 1-16,1-14 0,27 13 0,-1-26 16,93 14-16,-66-14 0,-13 0 15,12 0-15,94 0 16</inkml:trace>
  <inkml:trace contextRef="#ctx0" brushRef="#br0" timeOffset="55282.75">8572 10306 0,'384'79'16,"-185"-79"-16,52 0 16,-106-13-16,-12-1 0,-1 1 15,14 0-15,105-40 0,-119 27 16,-13-1-16,-13-13 0,0 1 16,-13-1-16,52-39 15,-79 39-15,-26 0 0,0-13 0,-14 0 0,-13 1 16,-13 12-16,0-26 15,-132-119-15,53 118 16,-14 14-16,-13 14 0,-13-1 0,-159-13 16,120 40-16,-173 13 15,146 26-15,13 1 0,-53 13 16,0 26-16,-132 53 0,211-66 16,-39 39-16,53-26 0,13 1 15,0 12-15,26 0 0,0-13 16,14 14-16,-40 105 0,119-132 15,0 0-15,13 0 0,27 0 16,92 53-16,-39-54 0,-1-12 16,160 13-16</inkml:trace>
  <inkml:trace contextRef="#ctx0" brushRef="#br0" timeOffset="55777.96">14433 9909 0,'-423'-67'16</inkml:trace>
  <inkml:trace contextRef="#ctx0" brushRef="#br0" timeOffset="55963.65">13639 9790 0,'53'172'0,"-26"-133"16,39 54-16,-13-67 0,66 40 16,-40-26-16,14-13 15,-1-1-15,14-13 0</inkml:trace>
</inkml:ink>
</file>

<file path=ppt/ink/ink1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40:58.825"/>
    </inkml:context>
    <inkml:brush xml:id="br0">
      <inkml:brushProperty name="width" value="0.05292" units="cm"/>
      <inkml:brushProperty name="height" value="0.05292" units="cm"/>
      <inkml:brushProperty name="color" value="#0070C0"/>
    </inkml:brush>
  </inkml:definitions>
  <inkml:trace contextRef="#ctx0" brushRef="#br0">14698 5768 0,'-53'0'16,"26"13"-16,14-13 0,-13 0 0,12 0 16,-25 13-16,12-13 15,14 0-15,0 14 0,-1-14 0,1 0 16,-13 13-16,13-13 15,-1 0-15,1 13 0,0-13 16,0 13 0,-1 1-16,1 25 15,13-26 1,-13 14-16,13-14 0,-13 66 16,-14 41-1,27-81-15,0 1 0,-13 0 16,13-1-16,0 14 0,-13-13 0,13 0 15,0-1-15,-13 1 0,13-14 0,0 27 16,0-26-16,-14-1 16,14-12-16,0-1 0,0 13 15,0-13-15,0 1 0,0-1 0,0 0 16,0 0-16</inkml:trace>
  <inkml:trace contextRef="#ctx0" brushRef="#br0" timeOffset="371.48">14142 6509 0,'0'-13'16,"0"39"-16,0-13 0,0 0 16,0 14-16,0-14 0,0 27 15,0-14-15,0-12 16,13-1-16,-13 0 0,0 27 16,0-27-16,13 0 15,-13 0-15,14-13 0,-14 14 16,13-14-16,0 0 0,0-14 15,1 14-15,-1-13 16,0 13-16,0-13 0,1 13 16,-1-13-16,13-1 0,-13 14 0,1-13 15,12 0-15,-13 13 0,1-13 16,-1 13-16,0-13 0,0 13 16,0 0-16,1-14 0</inkml:trace>
  <inkml:trace contextRef="#ctx0" brushRef="#br0" timeOffset="493.5">14565 6641 0</inkml:trace>
  <inkml:trace contextRef="#ctx0" brushRef="#br0" timeOffset="27009.95">5331 6482 0,'14'0'16,"12"0"0,1 0-1,-14-13-15,0 13 16,0 0 0,0-13-16,-39 26 31,13 0-31,0-13 15,-1 14-15,1-14 0,0 13 16,0 0-16,-1 0 16,1-13-16,0 0 0,13 13 0,-13-13 0,13 14 15,0-1 1,0 0-16,13 0 16,0-13-16,-13 14 0,13-14 15,14 13-15,-14 0 0,0 0 16,1-13-16,-1 14 15,-13-1-15,13-13 16,-26 26 0,0-26-16,-14 27 0,14-27 15,0 13-15,-1 0 0,-12 0 16,-1 1-16,14-14 16,0 13-16,0 0 15,0-13-15,13 13 16</inkml:trace>
  <inkml:trace contextRef="#ctx0" brushRef="#br0" timeOffset="27294.41">5464 6945 0,'-27'40'0,"27"-27"16,0 0-16,-26 27 0,26-13 16,-13-14-16,13 13 15,-14 1-15,1-1 0,13-13 16,-13 14-16,13-14 0,-13-13 15,13 13-15,-14 1 16</inkml:trace>
  <inkml:trace contextRef="#ctx0" brushRef="#br0" timeOffset="27514.47">5199 7144 0,'0'-13'0,"27"26"31,12 13-15,-26-26-16,14 13 0,-14 1 0,0-14 15,1 13-15,12 0 16,-13-13-16,1 13 0,12 1 0,-13-1 16,0-13-16,1 13 15,-1-13-15,-13 13 0,13-13 0,-13 13 16</inkml:trace>
  <inkml:trace contextRef="#ctx0" brushRef="#br0" timeOffset="28409.5">5292 7607 0,'13'-27'0,"0"27"16,0 0-16,14 14 16,-14-14-16,0 0 15,-13 13 1,0 0-16,0 13 16,0-12-16,-13-14 15,13 13-15,0 0 0,-13-13 16,13 13-16,13-13 15,0 0 1,1 14-16,12 12 16,-13-26-16,0 13 15,-13 1-15,14 12 0,-14-13 16,-14 0-16,14 1 0,-13 12 16,0-13-16,-27 40 0,1-26 15,-1-1-15,27-13 16,-1 1-16,1-14 0,-13 13 15,-1-13-15</inkml:trace>
  <inkml:trace contextRef="#ctx0" brushRef="#br0" timeOffset="30964.95">5411 7223 0,'-13'0'16,"-1"0"-16,1 13 15,0 14-15,0-27 16,-1 26-16,1-13 0,-40 40 16,27-39-16,13-1 15,-1 0-15,1 0 0,0-13 16</inkml:trace>
  <inkml:trace contextRef="#ctx0" brushRef="#br0" timeOffset="31511.13">4260 7144 0,'13'-13'0,"-53"13"16,27 0 0,0 0-16,-27 0 15,27 0-15,0 0 0,-14 0 16,14 0-16,0 0 0,-14 13 0,14-13 16,0 0-16,0 13 0,-1-13 15,1 13-15,0-13 0,13 13 0,-13-13 16</inkml:trace>
  <inkml:trace contextRef="#ctx0" brushRef="#br0" timeOffset="31703.07">4260 7316 0,'-27'13'0,"1"-13"15,13 13-15,-1-13 0,1 0 16,-13 0-16,13 0 0,-1 0 16,1 0-16,-13 0 0,-1 13 15</inkml:trace>
  <inkml:trace contextRef="#ctx0" brushRef="#br0" timeOffset="32300.11">2461 7329 0,'0'13'16,"0"0"-16,0 1 0,0-1 0,0 13 16,0-12-16,0 25 15,0-26-15,-14 14 0,14-14 16,14 27-16,-28-27 15,28-13-15,-14 13 0,0 1 16</inkml:trace>
  <inkml:trace contextRef="#ctx0" brushRef="#br0" timeOffset="32685.4">2858 7316 0,'-14'0'0,"1"0"0,-13 13 16,12 0-16,1-13 15,0 13-15,0 1 0,13-1 16,-14-13-16,14 13 0,14 0 15,-1 1-15,0-1 16,14-13-16,-14 13 0,13 0 16,1 0-16,-14-13 0,0 14 15,0-14-15,1 13 16,-28 0-16,14 0 16,-13-13-16,-13 27 15,-1-14-15,14-13 0,-13 13 0,-1 1 16,1-1-16,-1-13 0,14 13 15,-13-13-15,12 0 0,1 13 0,0-13 16,0 13-16,-1-13 16</inkml:trace>
  <inkml:trace contextRef="#ctx0" brushRef="#br0" timeOffset="33188.25">2725 7342 0,'13'-26'0,"1"26"0,-14-14 16,13 14-16,0 0 0,0-13 0,1 13 0,12-13 15,-13 13-15,14-13 16,-14 13-16,0-13 16,0 13-16</inkml:trace>
  <inkml:trace contextRef="#ctx0" brushRef="#br0" timeOffset="35427.12">21974 6562 0,'-27'13'0,"14"0"16,-13 0-16,-1 1 0,-13 12 15,14-13-15,13 1 0,-1-1 16,1 0-16,0-13 15,0 13-15,0 0 0,-1 1 0,14-1 16,14 0 0,-1 0-1,0-13-15,0 0 0,14 14 16,12-14-16,-12 0 0,-14 0 16,14 0-16,-14 0 0,0 0 15,13 0-15,-12 0 0,-1 0 0,0 0 16,0 0-16,1-14 0,-1 14 15,0 0-15,0-13 0,-13 0 16</inkml:trace>
  <inkml:trace contextRef="#ctx0" brushRef="#br0" timeOffset="35637.21">22013 6588 0,'-26'13'0,"26"1"16,-13-1-16,-1 0 0,14 0 16,-13 14-16,0-14 0,0 0 0,-14 40 15,27-26 1,-13-14-16,13 0 0,-13 0 16,0 0-16,13 1 0,0-1 15,0 0-15,-14 0 16</inkml:trace>
  <inkml:trace contextRef="#ctx0" brushRef="#br0" timeOffset="35913.37">21788 7170 0,'-13'0'16,"13"13"-16,-13 14 16,0-14-16,-27 40 0,14 0 15,12-27-15,1-12 0,-27 39 16,40-40-1,-13 0-15,13 0 0,-13-13 0</inkml:trace>
  <inkml:trace contextRef="#ctx0" brushRef="#br0" timeOffset="36113.35">21603 7263 0,'27'26'31,"-14"1"-15,0-14-16,0 0 0,14 0 0,-14 1 15,14-1-15,-14 0 16,13 0-16,1 1 0,-14-1 0,13 0 0,-12 0 16,-1-13-16,0 13 0</inkml:trace>
  <inkml:trace contextRef="#ctx0" brushRef="#br0" timeOffset="36597.31">21630 7766 0,'13'-14'15,"40"14"-15,-40 0 0,0 14 16,1-1 0,-28 0-1,14 0-15,0 0 16,14 1 0,-14-1-1,13-13-15,0 0 0,-13 13 0,13 0 16,0-13-16,1 14 15,-14-1-15,0 0 16,-14 0-16,1 1 16,0-14-16,0 0 15,0 13-15,-1-13 0,-12 0 0,13 0 16,-1 13-16</inkml:trace>
  <inkml:trace contextRef="#ctx0" brushRef="#br0" timeOffset="37918.62">22463 7210 0,'13'-13'16,"1"-1"-16,12 14 0,0 0 15,1-13-15,-14 13 0,0 0 0,14 0 16,-14 0-16,0 0 0,1 13 15,-1 1-15</inkml:trace>
  <inkml:trace contextRef="#ctx0" brushRef="#br0" timeOffset="38069.15">22476 7369 0,'14'13'16,"-1"-13"-16,53 0 15,-53 0 1,14-13-16,39-1 16,-40 14-16,-13 0 0</inkml:trace>
  <inkml:trace contextRef="#ctx0" brushRef="#br0" timeOffset="38304.53">23204 7051 0,'0'0'0,"0"27"47,-13-14-47,13 0 0,0 0 0,0 27 16,-13-27-16,13 0 15,0 27-15,-14-27 0,14 40 16,0-40-1,0 1-15,0-1 0,14 0 16</inkml:trace>
  <inkml:trace contextRef="#ctx0" brushRef="#br0" timeOffset="38667.16">23442 7038 0,'79'13'0,"-79"0"16,0 14-16,0-14 15,-13 0-15,-26 40 0,12-13 16,14-27-16,0 0 16,-1 14-16,14-14 15,27 0 1,-14-13-16,0 0 0,27 0 16,-14 0-16,27-13 15,-26 13-15,-1 0 0,54-13 16,-67 13-16,0 0 15,14-13-15,-14 13 0,0 0 16</inkml:trace>
  <inkml:trace contextRef="#ctx0" brushRef="#br0" timeOffset="39559.33">22556 9525 0,'13'26'0,"-13"-12"0,0-1 15,-13 0-15,13 0 0,0 1 0,0-1 16,0 0-16,-14 14 15,14 12-15,-13-26 0,13 1 16,0 12-16,0-13 16</inkml:trace>
  <inkml:trace contextRef="#ctx0" brushRef="#br0" timeOffset="39853.69">22953 9551 0,'0'-13'16,"-27"13"-1,-13 13 1,27-13 0,13 14-16,-13-14 0,13 39 15,0-25 1,0-1-16,0 0 15,0 0-15,0 1 16,0-1-16,0 0 16,0 0-16,-13-13 15,13 13-15,-13 1 0,-1-1 16,14 0-16,-13 0 0,0 1 16,0 12-16</inkml:trace>
  <inkml:trace contextRef="#ctx0" brushRef="#br0" timeOffset="40208.1">22503 10425 0,'13'26'15,"-26"1"1,13-14-16,-13 13 16,13-13-16,-14 1 0,14-1 0,0 0 15,0 0-15</inkml:trace>
  <inkml:trace contextRef="#ctx0" brushRef="#br0" timeOffset="40559.07">22820 10425 0,'27'13'16,"-14"-13"-16,-13 40 16,-13-14 15,13-13-31,-13-13 0,13 13 16,13 1-16,0-14 0,13 0 15,-12 0-15,12-14 16,1 14-16,39 0 15,-40 0-15,1 0 0,12 0 0,-12 14 16,-1-14-16,-12 13 16,-1 0-16</inkml:trace>
  <inkml:trace contextRef="#ctx0" brushRef="#br0" timeOffset="40896.16">22331 11284 0,'238'-66'16,"-185"53"-16,79-13 0,-66 26 15,0-14-15,14 14 0,-14-13 0,0 13 16,0 0-16,-13-13 0,0 13 16,0 0-16,0 13 0,0-13 0,0 0 15,-27 0-15,1 13 0,-1-13 0,-13 14 16,-13-1-16</inkml:trace>
  <inkml:trace contextRef="#ctx0" brushRef="#br0" timeOffset="41300.29">22781 11628 0,'0'-13'15,"13"13"-15,0 0 0,14 0 16,-14 0-16,0 0 0,0 13 0,0-13 16,1 14-16,-14-1 0,13-13 15,-13 13-15,-13 0 0,13 14 16,-14-14-16,14 14 0,-26 12 0,13-26 15,0 1-15,-1-1 16,1 0-16,0 0 0,0 1 16,-1-1-16,14 0 15,0 0 1,14-13-16,-1 13 16,13-13-16,-12 0 15,12 0-15,-13 0 0,14-13 0,-14 13 16,13 0-16,-12 0 0,25-13 15,-25 13-15,-1-13 16,0 13-16,0-13 0,0 13 0</inkml:trace>
  <inkml:trace contextRef="#ctx0" brushRef="#br0" timeOffset="41537.12">23204 11602 0,'40'0'16,"-40"13"-16,13-13 15,-13 13-15,0 1 0,0-1 16,13 0-16,-13 0 0,0 1 16,0-1-16,0 0 0,0 0 15,0 1-15,0-1 16,0 0-16,-13 0 0,13 0 15,0 1-15</inkml:trace>
  <inkml:trace contextRef="#ctx0" brushRef="#br0" timeOffset="41723.32">23111 11787 0,'-13'-13'15,"26"0"1,1 0-1,-1 13-15,0-14 0,14 14 0,-14 0 16,40-13-16,0 0 16,-27 13-16,0-13 0,1 13 15,-1 0-15,-12 0 0,12-14 0,1 14 16,-14 0-16</inkml:trace>
  <inkml:trace contextRef="#ctx0" brushRef="#br0" timeOffset="42163.75">22185 12039 0,'265'26'0,"-186"-26"0,14 0 15,-1 0-15,107 13 0,-106-13 16,12 0-16,-12 0 16,0 13-16,-14-13 0,14 0 0,-14 14 0,-13-14 15,-13 0-15,-13 13 0,-1-13 16,-12 0-16,-1 0 0,-13 0 15,14 0-15,-14 0 0,0-13 16</inkml:trace>
  <inkml:trace contextRef="#ctx0" brushRef="#br0" timeOffset="43058.25">13652 8057 0,'-13'39'16,"0"-12"-16,0-14 15,0 0-15,-1 0 0,14 1 16,-26 12-16,13-13 0,13 1 15,-14-1-15,14 0 0,0 0 16,14 0 0</inkml:trace>
  <inkml:trace contextRef="#ctx0" brushRef="#br0" timeOffset="43400.35">14235 8070 0,'-14'13'15,"1"0"-15,0 0 16,0 14-16,-1-14 0,1 0 16,0 1-16,0-1 0,0 13 15,-1-12-15,14-1 0,-13 0 16</inkml:trace>
  <inkml:trace contextRef="#ctx0" brushRef="#br0" timeOffset="43645.68">14922 7977 0,'-66'66'16,"40"-39"-16,-1 12 15,1 1-15,-14-13 0,1 26 16,12-14-16,1 1 0,-14 0 0</inkml:trace>
  <inkml:trace contextRef="#ctx0" brushRef="#br0" timeOffset="47226.26">10385 12316 0,'26'0'0,"1"0"15,-14-13 1,0 13-16,1 0 31,-1 0-31,-40 13 16,14 1 0,0-1-16,-80 40 0,67-40 15,-1 0-15,1 0 0,-27 27 16,40-27-16,-1-13 15,14 14-15,-13-14 0,13 13 16,0 0-16,13 0 16,1-13-16,-1 13 0,13-13 0,1 14 15,-14-1-15,14 0 0,12 0 0,-26 1 16,14-14-16,-14 13 0,0 0 16,1-13-16,-14 13 0,13 1 15,-13-1-15,-13 13 16,13-13-16,-14 1 0,1-1 0,-13 0 15,-1 0-15,14 1 0,-27-1 16,14-13-16,-1 0 0,14 0 16,-13 13-16,12-13 0,1 0 15,0 0-15,13-13 0,-13 13 16,13-13-16</inkml:trace>
  <inkml:trace contextRef="#ctx0" brushRef="#br0" timeOffset="47454.38">10993 12435 0,'-52'80'0,"-1"-1"16,39-52-16,-12-1 15,13 1-15,-14-1 0,14 0 16,-13 14-16,12-27 0,14 1 16,-13-1-16,13 0 0,-13 14 15</inkml:trace>
  <inkml:trace contextRef="#ctx0" brushRef="#br0" timeOffset="47659.7">10795 12607 0,'13'14'31,"0"-14"-31,1 26 0,-1 1 16,27 12 0,-14-26-16,-13 1 15,1 12-15,-1-13 0,0-13 0,0 14 16,0-1-16,1-13 0,-1 0 15,0 13-15,0-13 0</inkml:trace>
  <inkml:trace contextRef="#ctx0" brushRef="#br0" timeOffset="48122.66">11417 12581 0,'26'13'16,"-26"0"-16,13-13 16,-13 27-16,-13-14 15,13 0 1,0 1-16,0-1 0,0 0 15,0 0-15,13 0 0,-13 1 16,0-1-16,0 0 16,14 0-16,-14 1 0,-14 12 15,14-13 1,-13 1 0</inkml:trace>
  <inkml:trace contextRef="#ctx0" brushRef="#br0" timeOffset="48306.42">11734 12554 0,'14'14'32,"-14"-1"-32,0 0 0,13 0 15,-13 1-15,0-1 0,0 0 0,0 0 16,0 14-16,0-14 0,0 0 15,0 14-15,0-14 0,0 13 16,0-12-16,-13-14 16</inkml:trace>
  <inkml:trace contextRef="#ctx0" brushRef="#br0" timeOffset="48487.28">11628 12766 0,'27'-13'16,"13"0"0,-14-1-16,1 14 15,-1 0-15,0-13 0,1 13 0,-1-13 16,1 13-16,12 0 0,14-13 16,-13 0-16</inkml:trace>
  <inkml:trace contextRef="#ctx0" brushRef="#br0" timeOffset="48896.07">12753 12568 0,'-159'119'16,"146"-106"-16,0-13 15,-14 13-15,14 0 0,0 1 16,13-1-16,-13 0 0,-1-13 0,14 13 16,0 1-1,40 12 1,0-13-16,-27-13 16,13 0-16,27-13 15,-39 13-15,-1 0 16,0 0-16,0-13 0</inkml:trace>
  <inkml:trace contextRef="#ctx0" brushRef="#br0" timeOffset="49094.39">12793 12607 0,'-40'14'15,"27"-1"-15,-1 0 0,14 0 16,-39 53-1,26-26-15,-1-13 0,14-14 16,-26 53 0,39-53-16,-13 0 15,13 1-15,1-14 0,-1 0 16</inkml:trace>
  <inkml:trace contextRef="#ctx0" brushRef="#br0" timeOffset="49281.25">13216 12541 0,'-27'53'16,"14"-40"-16,0 1 0,13 12 0,-26 1 16,-14 25-16,0 1 15,27-26-15,-13-14 0,12 14 0,1-14 16,0 0-16,0 13 15,-1-26-15</inkml:trace>
  <inkml:trace contextRef="#ctx0" brushRef="#br0" timeOffset="49464.12">12991 12726 0,'27'14'31,"-14"-14"-31,0 13 16,0-13-16,0 13 0,1-13 0,-1 13 16,0-13-16,27 14 0,-27-14 15,0 0-15,14 13 16</inkml:trace>
  <inkml:trace contextRef="#ctx0" brushRef="#br0" timeOffset="49958.44">13732 12528 0,'40'26'15,"-40"-12"-15,-14-1 16,14 0-16,-13 14 16,0-14-16,13 0 0,-13-13 15,13 13-15,-14 1 0,14-1 16,0 0-16,0 0 16,14 0-16,-14 1 15,13-1-15,-13 0 16,0 0-16,0 1 0,0-1 15,-13 0-15,-1 0 0,14 1 16,-13-1-16,0-13 16,0 13-16</inkml:trace>
  <inkml:trace contextRef="#ctx0" brushRef="#br0" timeOffset="50155.54">14367 12713 0,'13'0'16,"14"0"0,-14 0-1,-13 27 1,-13-27-1</inkml:trace>
  <inkml:trace contextRef="#ctx0" brushRef="#br0" timeOffset="50310.4">14301 12872 0,'0'13'16,"0"0"-1,13-13-15,0-13 16,14 13-16,-14 0 0,0 0 0,0 0 15,1-13-15,12 13 0,-13 0 16,14 0-16,-14-13 0,27 13 16,-14-13-16</inkml:trace>
  <inkml:trace contextRef="#ctx0" brushRef="#br0" timeOffset="50751.14">15319 12515 0,'53'26'15,"-53"1"1,0-14-16,0 0 16,-13-13-16,13 13 0,0 1 0,0 12 15,13-13 1,1 1-1,-1-14-15,0 13 0,0-13 16,0 0-16,-13 13 16,14-13-16,-14 13 0,0 0 15,0 1 1,-14-1-16,14 0 16,0 0-1</inkml:trace>
  <inkml:trace contextRef="#ctx0" brushRef="#br0" timeOffset="51359.56">15280 12541 0,'39'0'0,"-12"0"16,-1 13-16,-12-13 0,-1 14 0,0 12 31,-13 1-31,0-1 0,-13-13 16,0 14-16,-1-1 0,1 1 16,0-14-16,0 13 0,-1-12 0,1-1 15,13 0-15,0 0 0,-13-13 16,13 14-16,13-1 0,0-13 15,1 0-15,-1 0 16,0 0-16,14 0 0,-14 0 0,53-13 16,-26 13-16,-1-14 0,1 1 15,-14 13-15,41-13 16,-41 0-16,14-1 0,-14 1 16,1 13-16</inkml:trace>
  <inkml:trace contextRef="#ctx0" brushRef="#br0" timeOffset="51705.42">15822 12502 0,'40'0'15,"-40"13"1,0 0-16,-13 0 0,13 0 16,-14 1-1,14-1-15,0 0 0,0 0 16,14 14-16,12-1 16,0-12-16,-12-1 0,-14 0 15,13 0-15,0 14 16,-13-14-16,0 0 0,-13 0 15,0 1-15,-1-1 0,-12 13 16,-14-12-16,-26 25 0,26-26 16,14 1-16,-27 12 0,13-13 1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2.038"/>
    </inkml:context>
    <inkml:brush xml:id="br0">
      <inkml:brushProperty name="width" value="0.025" units="cm"/>
      <inkml:brushProperty name="height" value="0.025" units="cm"/>
      <inkml:brushProperty name="ignorePressure" value="1"/>
    </inkml:brush>
  </inkml:definitions>
  <inkml:trace contextRef="#ctx0" brushRef="#br0">75 1,'-9'8,"1"2,0-1,0 1,1 1,1-1,-11 23,15-29,0-1,1 1,0-1,-1 1,1 0,0-1,1 1,-1 0,1 0,-1-1,1 1,0 0,0 0,1 0,-1-1,1 1,0 0,0 0,0-1,1 1,-1-1,1 1,0-1,0 0,0 1,5 4,-4-5,1-1,0 1,0-1,0 0,0 0,0 0,0 0,1-1,-1 0,1 0,-1 0,1 0,-1-1,1 0,-1 0,1 0,-1 0,1-1,0 1,-1-1,0-1,1 1,-1-1,8-3,-7 3,-1 0,1 0,-1-1,1 0,-1 0,0 0,0 0,0-1,-1 1,1-1,-1 0,0 0,0-1,0 1,-1 0,1-1,-1 0,0 0,0 1,-1-1,2-9,-2 10,-1 0,1 0,-1 0,0 0,-1-1,1 1,-1 0,1 0,-1 0,0 0,-1 0,1 0,-1 0,0 0,0 0,0 1,-4-6,2 6,1 0,-1 1,1-1,-1 1,0 0,0 0,0 0,0 1,-1-1,1 1,0 0,0 0,-1 1,1-1,-1 1,-6 0,-6 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8.256"/>
    </inkml:context>
    <inkml:brush xml:id="br0">
      <inkml:brushProperty name="width" value="0.025" units="cm"/>
      <inkml:brushProperty name="height" value="0.025" units="cm"/>
      <inkml:brushProperty name="ignorePressure" value="1"/>
    </inkml:brush>
  </inkml:definitions>
  <inkml:trace contextRef="#ctx0" brushRef="#br0">36 24,'-3'7,"0"-1,1 1,-1 0,1 0,0 0,1 0,0 0,0 0,0 14,1-18,1-1,-1 0,1 1,-1-1,1 0,0 1,0-1,0 0,0 0,0 0,1 0,-1 0,1 0,-1 0,1 0,0 0,-1-1,1 1,0-1,0 1,0-1,1 0,-1 0,0 0,0 0,0 0,1 0,-1-1,1 1,-1-1,0 0,1 1,3-1,-3 0,0 0,0 0,0 0,0 0,-1-1,1 1,0-1,0 1,0-1,-1 0,1 0,0 0,-1-1,1 1,-1-1,1 1,-1-1,0 0,0 0,0 0,0 0,0 0,0 0,0 0,-1-1,1 1,-1-1,0 1,0-1,0 0,0 1,0-1,0 0,-1 0,1-5,0 5,-1-1,0 0,0 1,0-1,0 1,-1-1,0 1,1-1,-1 1,0 0,-1-1,1 1,-1 0,1 0,-1 0,0 0,0 0,0 0,0 0,-1 1,1-1,-1 1,0 0,0 0,1 0,-1 0,-1 0,1 0,-4-1,-3 1,0 0,0 0,0 1,0 1,-20 0,13 1</inkml:trace>
</inkml:ink>
</file>

<file path=ppt/ink/ink20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42:00.809"/>
    </inkml:context>
    <inkml:brush xml:id="br0">
      <inkml:brushProperty name="width" value="0.05292" units="cm"/>
      <inkml:brushProperty name="height" value="0.05292" units="cm"/>
      <inkml:brushProperty name="color" value="#0070C0"/>
    </inkml:brush>
  </inkml:definitions>
  <inkml:trace contextRef="#ctx0" brushRef="#br0">1984 1455 0,'27'0'16,"79"0"0,-53 0-16,13 13 0,13-13 0,0 0 15,14 0-15,0 0 0,13 0 16,-14 0-16,14 14 0,26-14 0,-26 0 15,26 0-15,-26 0 0,0 0 0,212 0 16,-67-14 0,-198 14-16,0 0 15,-14 0-15,1 0 0,-13 0 16,-1 14-16,0-14 16,-12 0-16,-1 0 0</inkml:trace>
  <inkml:trace contextRef="#ctx0" brushRef="#br0" timeOffset="635.01">8824 1376 0,'66'0'31,"-13"-13"-31,79 13 0,-39-14 16,-14 14-16,27-13 0,-13 13 0,39-13 15,0 13-15,-26-13 0,13 13 16,13-14-16,-26 14 0,13-13 0,-13 13 16,-13-13-16,-1 13 0,-12 0 15,12-13-15,-26 13 0,1 0 16,-14-13-16,26 13 0,-39 0 0,-14 0 16,-13 0-16,14 0 0</inkml:trace>
  <inkml:trace contextRef="#ctx0" brushRef="#br0" timeOffset="14452.73">8572 4882 0,'14'0'15,"-41"13"1,14-13-1,-27 0-15,1 13 0,12-13 16,1 13-16,-67-13 16,-13 13-16,0 1 15,54-1-15,-54-13 16,66 0-16,-53 13 0,67-13 16,-40 13-16,39-13 15,-12 0-15,-1 0 16,27 0-16,0 0 0,-1 0 0,1 14 15,0-14-15,0 0 0,-1 0 16,14-14 0</inkml:trace>
  <inkml:trace contextRef="#ctx0" brushRef="#br0" timeOffset="14808.73">7633 4696 0,'-159'93'15,"120"-80"-15,12 27 0,-39 13 0,40-27 16,-14 40-16,14-13 16,12-39-16,14-1 0,0 26 15,14-12-15,-1-14 16,0 14-16,27-1 16,-1-13-16,-12 1 15,-1-14-15,54 13 0,-54 0 16,1-13-16,12 0 15,80 0-15,-66 0 16</inkml:trace>
  <inkml:trace contextRef="#ctx0" brushRef="#br0" timeOffset="15305.14">10530 4802 0,'67'0'0,"-41"-13"0,0 13 0,67 0 16,26 0-16,27 0 15,12 0 1,1 0-16,0 0 16,-27 0-16,-79 0 15,106-13-15,-119 13 16,12-14-16,-12 14 15,0-13 1</inkml:trace>
  <inkml:trace contextRef="#ctx0" brushRef="#br0" timeOffset="15579.08">11562 4524 0,'252'106'16,"-186"-53"-16,-27-26 0,-25-1 16,25 27-16,-25 26 15,-28-26 1,1-13-16,-27 26 0,-65 40 15,39-40 1,-1-26-16,28-14 16</inkml:trace>
  <inkml:trace contextRef="#ctx0" brushRef="#br0" timeOffset="19809.09">8215 6337 0,'0'13'16,"0"0"-16,0 0 15,0 1-15,0 12 0,0 1 0,0-1 16,0 1-16,0 78 16,0-52-16,0-26 0,0 26 15,0-27-15,0 1 16,0-1-16,0 14 0,0-27 0,0 0 15,0 0-15,14-13 0,-14 14 16</inkml:trace>
  <inkml:trace contextRef="#ctx0" brushRef="#br0" timeOffset="20007.28">8414 6403 0,'0'-13'0,"13"39"15,-13-13-15,0 14 16,0-14-16,0 14 0,0 25 16,0-12-16,0 13 15,0 0-15,13 0 16,-13-27-16,13-12 0,-13 12 16,14 0-16,-14-12 0</inkml:trace>
  <inkml:trace contextRef="#ctx0" brushRef="#br0" timeOffset="20236.14">8268 6734 0,'-13'0'16,"53"13"15,-27-13-31,13 0 0,1 0 16,-1 0-16,54-13 0,-27 13 15,-14-14-15,14 14 0,-13-13 16</inkml:trace>
  <inkml:trace contextRef="#ctx0" brushRef="#br0" timeOffset="20718.15">10544 6337 0,'238'-53'0,"-172"13"15,-13 0-15,-27 27 16,1-13-16,-14-1 0,0 14 16,0-27-16,-13 14 15,-13 13 1,13-1-16,-26 41 16,13-14-16,-14 14 15,14 12-15,-40 94 16,26-28-16,1-25 15,13 12-15,13-52 16,0 0-16,-13-14 0,13 1 0,0 26 16,13 0-1,-13-40-15,0 0 0</inkml:trace>
  <inkml:trace contextRef="#ctx0" brushRef="#br0" timeOffset="23628.9">8334 8374 0,'0'-13'16,"0"53"-16,-13-1 15,0 1-15,0-14 0,-1 14 16,14 0-16,-26 39 16,0-13-16,12-26 0,14-14 0,-13 14 15,0-13-15,0-1 16,13 0-16,-14-12 0,14 25 16,-13-25-16,13-1 0</inkml:trace>
  <inkml:trace contextRef="#ctx0" brushRef="#br0" timeOffset="23981.26">8731 8520 0,'-291'105'16,"212"-52"-16,39-39 0,14 12 15,-54 27-15,67-40 16,0 14-16,0-14 16,13 0-16,0 0 0,13 14 15,0-1-15,0-13 16,14 1-16,-14-1 0,13-13 0,1 26 15,-1-26-15,41 27 0,-28-27 16,14 13-16,-26-13 16,39-13-16,-40 13 15,1 0-15,12 0 0,14-13 0,27-1 16</inkml:trace>
  <inkml:trace contextRef="#ctx0" brushRef="#br0" timeOffset="25501.75">10186 8877 0,'-13'13'0,"13"0"15,-13-26 16,13 0-31,-13 0 0,0-27 16,-1 27-16,1-27 16,-13 13-16,12-12 0,-39-107 15,14 40-15,26 54 16,13 12-16,-14 13 16,14-12-16,0 25 0,0-25 0,0-1 15,14 40-15,-14-13 0,13 0 16,0 13-1,-13-14-15,26 28 0,-26-1 16,14 0-16,-14 0 16,-14 40-16,1-26 0,0 12 15,-13 1-15,-1 0 0,1 13 0,-1-14 16,-26 27-16,27-39 16,-1-1-16,-12 27 0,25-26 15,-12-1-15,13-13 0,13 1 16,-13-1-16,13 0 15,13 0-15,13-13 16,-13 0-16,27 0 16,0-13-16,-1 0 0,14 13 15,0-13-15,0-1 0,-13 14 0,66-26 16,-67 13-16,54-14 16,-53 14-16</inkml:trace>
  <inkml:trace contextRef="#ctx0" brushRef="#br0" timeOffset="26371.75">11205 8229 0,'0'52'16,"0"-25"-16,13-1 0,-26 41 15,13-28-15,0 54 16,0-14-16,-13 1 16,0-28-16,13-25 15,0-14-15,0 14 0,-14-14 16,14 13-16,0-12 0,0-1 16</inkml:trace>
  <inkml:trace contextRef="#ctx0" brushRef="#br0" timeOffset="26693.97">11205 8348 0,'66'-106'0,"-39"93"16,-14-1-16,27 28 15,-27 12-15,0-13 16,0 53-16,1 14 16,-1-54-16,-13 1 15,0 39-15,0-13 16,0-14-16,0 1 15,0-13-15,0-14 0,0 0 16,0 13-16,13-12 0</inkml:trace>
  <inkml:trace contextRef="#ctx0" brushRef="#br0" timeOffset="26916.98">11112 8758 0,'40'-27'0,"0"27"16,-27 0-16,14-13 0,-1 13 16,0 0-16,41-13 0,-41 13 15,27-13-15,-13 13 0,-14 0 16,1 0-16,12 0 0,-12-14 15</inkml:trace>
  <inkml:trace contextRef="#ctx0" brushRef="#br0" timeOffset="28130.98">16100 5569 0,'-13'649'16,"-14"-504"-16,-12 160 15,-1-81-15,27-65 0,-27 53 16,13-53-16,-39 211 0,40-224 16,-1 12-16,1-12 0,13-14 15,-14 106-15,14-132 16,13-27-16,-13 67 0,0-40 16,-1-53-16</inkml:trace>
  <inkml:trace contextRef="#ctx0" brushRef="#br0" timeOffset="28902.66">16272 5675 0,'278'14'15,"-133"-14"-15,-52 0 16,-1 0-16,1 0 0,0 0 16,118 0-16,14 0 15,-13 13-15,-120-13 0,14 0 16,-13 13-16,-14-13 0,1 13 0,-14 0 15,79 27 1,-105-27-16,-14 1 0,1 39 16,-14-1-16,-13 15 15,0-15-15,-13-12 0,13 26 16,-13 53-16,13-52 16,-14 144-16,14-131 15,14 78-15,-14-78 16,13 118-16,0-92 0,27 106 15,-27-107-15,14 67 16,12-13-16,-26-79 16,1-14-16,12 159 15,-13-159-15,-13 0 0,14 40 16,-14-53-16,0 39 16,-14-52-16,1 0 0,-13 39 15,12-39-15,-12-14 0,-40 40 16,-14-26-16,-12 13 15,26-40-15,-67 14 16,67-14-16,-13 0 0,-93 14 16,79-27-16,-92 13 15,79-13-15,-92 0 16,13-13-16,-40-14 16,119 1-16,27 12 0,-120-65 15,40-14-15,93 40 0</inkml:trace>
  <inkml:trace contextRef="#ctx0" brushRef="#br0" timeOffset="29438.03">16404 6085 0,'-13'53'15,"13"-39"-15,-13-1 0,-14 66 16,27-66 0,-13 14-16,0 13 0,0-14 15,-1 14-15,-12 13 16,39-40-1</inkml:trace>
  <inkml:trace contextRef="#ctx0" brushRef="#br0" timeOffset="29706.2">16536 6244 0,'-52'-13'15,"38"26"-15,-25-13 16,25 13-16,1 1 16,-13-1-16,-1 0 15,27 0-15,-13-13 0,13 14 0,-13-1 16,13 0-16,0 0 16,13 0-16,0-13 15,0 14 1,1-14-16,-1 0 0,13 0 15,-12 0-15,-1 0 0,27 0 16,-27 0-16,0 0 16</inkml:trace>
  <inkml:trace contextRef="#ctx0" brushRef="#br0" timeOffset="31108.4">16695 6297 0,'27'-26'0,"-14"12"15,0 1-15,-13 0 16,13 13-16,-13-13 16,14-1-16,-14 1 15,13 13-15,-13-13 16,13 13-16,-13 13 31,13-13-31,-13 13 16,0 1-16,14-1 0,-14 13 15,0-12-15,13-1 0,-13 13 16,0-12-16,13-1 16,-13 0-16,0 0 15,0 0-15,13-13 0,-13 14 16,0-1-1,-13 0 32,-13-26 0,-1 13-16,14 0 1,0 13-17,-1-13-15,1 0 47,0 0-16,0 0 266</inkml:trace>
  <inkml:trace contextRef="#ctx0" brushRef="#br0" timeOffset="31355.22">16682 6297 0,'13'27'16,"0"-14"-16,1 0 16,-14 0-16,0 0 0,13 1 0,-13-1 15,13 0-15,-13 0 16,0 1-16</inkml:trace>
  <inkml:trace contextRef="#ctx0" brushRef="#br0" timeOffset="32419.28">17912 8493 0,'-13'13'31,"13"1"-31,-13 12 31,13-13-31,-13 14 16,26-54 15,-13 14-15,0-13-16,13 12 0,-13 1 15,0-13-15,13 12 0,-13-25 16,14 26-16,-14-1 0,13 1 15,-13 0-15,13 13 16,0-13-16,-13 26 16,13 0-16,1 0 15,-14 14-15,13 12 16,-13-25-16,0-1 0,13 27 16,-13-14-16,0-13 15,0 0-15,0 1 0,0-1 16,0 0-16,0 0 15</inkml:trace>
  <inkml:trace contextRef="#ctx0" brushRef="#br0" timeOffset="32600.98">17886 8572 0,'26'-13'16,"-12"13"-16,-1 0 0,0 0 16,13-13-16,-12 13 15,-1 0-15,0 0 0,0 0 0,14 0 0</inkml:trace>
  <inkml:trace contextRef="#ctx0" brushRef="#br0" timeOffset="34428.62">18402 8572 0,'-13'14'31,"-1"-1"0,1-13-15,0-13 15,-14-14-15,14 14 0,13 0-16,-13 0 0,0-27 15,13 27-15,0-1 16,-14 1-16,14-13 0,0-1 15,0 14-15,0 0 0,0 0 16,0-1-16,0 1 16,14 0-16,-14 0 15,13-1-15,0 14 16,0 0 15,1 14-31,-14-1 16,13 0-16,-13 0 31,0 1-15,13-14-1,0-14 17,1 1-17,-1 13-15,13-13 16,-13 13-1,14 0-15,-27 13 16,13-13-16,0 13 0,1 1 16,-14-1-16,13 0 0,0 0 15,-13 1-15,0-1 16,0 0-16,0 0 0,0 14 16,0-14-16,-13 0 0,0 14 15,-1-14-15,1 0 0,0 13 16,0-12-16,-1-1 0,1 0 15,-13 14-15,13-14 0,-1 0 0</inkml:trace>
  <inkml:trace contextRef="#ctx0" brushRef="#br0" timeOffset="35502.74">17238 7620 0,'-199'291'0</inkml:trace>
  <inkml:trace contextRef="#ctx0" brushRef="#br0" timeOffset="35719.85">17119 7818 0,'66'40'15,"132"66"-15,-158-80 16,-1 1-16,1-14 0,0 14 0,-14-14 16,14 13-16,-14-13 0,27 14 15</inkml:trace>
  <inkml:trace contextRef="#ctx0" brushRef="#br0" timeOffset="36514.04">17171 6628 0,'159'145'16,"-66"-26"-16,-27-39 0,-13-14 15,53 93-15,0-14 16,-54-65-16,28 25 16,-1 14-16,1-13 15,-54-66-15,1 0 16,25 52-16,-38-52 16,-14-14-16,13-12 15</inkml:trace>
  <inkml:trace contextRef="#ctx0" brushRef="#br0" timeOffset="36851.14">18018 7766 0,'13'119'16,"1"-93"-1,-14-13-15,13 14 0,0-14 16,-13 0-16,13 14 0,27-1 16,-40-13-16,13-13 0,0 0 15,1 0-15,12 0 0,-13-13 16,14-13-16,-1-27 15,1-13-15,-14 26 0,-13 0 16,13 1-16,-13 12 0,0-26 16,0 13-16,-13 27 15,13 0-15,-27-13 0</inkml:trace>
  <inkml:trace contextRef="#ctx0" brushRef="#br0" timeOffset="37488.76">17171 6562 0,'0'79'0,"0"-52"16,0 12-16,0-26 0,0 1 16,0-1-1,0 0-15,0 0 16,14-26-16,12 13 16,-13-13-16,14 0 15,-14 13-15,14-14 16,-14 14-16,13 0 0,-13 0 0,27-13 15,-13 13-15,-14 13 0,13-13 16,1 0-16,-1 14 0,1-14 16,12 13-16,41 0 0,-41 0 0,1 1 15,26-1-15,-26-13 16,-14 13-16</inkml:trace>
  <inkml:trace contextRef="#ctx0" brushRef="#br0" timeOffset="40024.11">8506 7236 0,'133'-13'15,"-80"13"-15,105-13 0,-65 13 16,105-27-16,-92 27 0,26-13 16,1 13-16,-1-13 0,133 0 15,-133 13-15,-26-13 0,185-1 16,-119 14-16,-119 0 16,0 0-16,0 0 15,-1 0-15,-38 0 0</inkml:trace>
  <inkml:trace contextRef="#ctx0" brushRef="#br0" timeOffset="40232.35">9446 7250 0,'119'13'15,"-53"-26"-15,-13 13 0,105 0 0,-78 0 16,-1 0-16,80-14 16,-80 14-16,-12 0 0,-1 0 15,40 0-15,-54-13 0,1 13 16</inkml:trace>
  <inkml:trace contextRef="#ctx0" brushRef="#br0" timeOffset="40787.12">8533 5212 0,'383'-66'0,"-290"53"0,158-14 15,-118 14-15,12 13 16,-12-13-16,144 0 0,-144 13 16,144-13-16,-171 13 15,93 0-15,-107 0 0,1 0 16,66 0-16</inkml:trace>
  <inkml:trace contextRef="#ctx0" brushRef="#br0" timeOffset="45284.9">8903 10173 0,'-79'0'16,"52"0"-16,-92 27 16,80-14-1,-1 0-15,13-13 0,-12 27 0,39-14 16,-13-13-16,13 13 0,0 0 16,13 1-16,0-1 15,13 13-15,14-13 0,-13 1 0,-1-1 16,1 13-16,-1-12 0,0-14 15,-12 13-15,-1 0 0,0-13 0,-13 13 16,13 1-16,-13-1 0,-13 0 16,13 0-16,-26 0 0,-1 1 15,-12-1-15,12 0 0,-13 0 16,1 1-16,-27-14 0,39 0 16,1 13-16,12-26 0,-12 13 0,13 0 15,0 0-15,-1-14 0,28 1 16</inkml:trace>
  <inkml:trace contextRef="#ctx0" brushRef="#br0" timeOffset="45796.13">10279 10610 0,'-79'-66'16,"65"26"-16,1 0 15,13 14-15,-13-14 0,13-13 0,13 14 16,-13-1-16,0 0 0,27-13 16,-27 27-16,13 13 0,13-14 15,-12 14-15,12 26 16,-26 0 0,0 1-16,0 12 0,0-13 0,-13 14 15,0-1-15,-1 1 0,-12-1 16,-1 14-16,1-14 0,0-13 0,-1 14 15,1-1-15,-27 1 16,39-14-16,1 0 0,-13 1 16,52-14 15,-13 0-31,14 0 0,-1-14 16,1 14-16,13-13 0,52 0 15,-39 13-15,-13-13 0,13 13 0,0-14 16,-14 1-16,14 0 0,13-14 15,-13 14-15</inkml:trace>
  <inkml:trace contextRef="#ctx0" brushRef="#br0" timeOffset="46313.88">11192 10028 0,'0'26'16,"0"1"-16,0-14 15,-13 27-15,-1-14 16,14 0-16,-13 1 0,13-14 16,-13 27-16,0 0 0,-1-14 15,14-13-15,80-330 0,-160 647 0,67-316 0,13-1 16,0 0-16,-13 14 16,13-14-16,0-40 31,0 14-31,0-13 15,13-1-15,-13 1 0,13-14 0,1 14 16,-14-1-16,13-13 0,0 14 16,-13 13-16,0 0 15,13-1-15,1 41 16,-1-14 0,-13 0-16,0 0 15,13 1-15,-13-1 0,13-13 16,-13 13-16,27-13 15,12 0-15,-25-13 16,-1 13-16,13 0 0,-12 0 0,-1-13 16,13 13-16,-12 0 0,-14 13 15,13-13-15,13 13 16,-13-13-16,-13 13 0,14 1 16,-1-1-16,0 0 0,0 0 15,1 1-15,-14-1 16,13-13-16,-13 13 0,26 0 15,-12 0-15</inkml:trace>
  <inkml:trace contextRef="#ctx0" brushRef="#br0" timeOffset="47438.54">8996 10451 0,'13'0'0,"-13"13"0,-13-26 16,26 40-16,-13-14 0,0 0 15,0 0-15,0 0 16</inkml:trace>
  <inkml:trace contextRef="#ctx0" brushRef="#br0" timeOffset="47610.68">8996 10372 0,'0'-14'0</inkml:trace>
  <inkml:trace contextRef="#ctx0" brushRef="#br0" timeOffset="47936">9128 10451 0,'0'13'15,"-13"1"-15,13-1 16,0 0 0,13-13-1,0 0 1,1 0 0,-1 0-16,0 0 31,0 0-16,-13 13-15,27-13 16</inkml:trace>
  <inkml:trace contextRef="#ctx0" brushRef="#br0" timeOffset="48504.99">9379 10451 0,'14'27'31,"-14"-14"-31,0 0 16,0 0-16,0 0 0,0 1 15,0-1-15,0 0 16,-14 0-16,14 1 0,0-1 16,0 0-16,-13-13 0,13 13 15,0-39 16,27-1-15,-27 14-16,13-13 16,0 12-16,0 1 0,-13 0 15,27-13-15,-14 12 16,-13-12-16,13 13 0,-13-1 0,14 1 16,-1 0-16,-13 0 0,13-1 15,-13 1-15,0 0 16,13 13-16,-13-13 0,0 0 0,0 39 47,0-13-47,0 0 15,0 1-15,0-1 0,0 0 0,0 0 16,0 1-16,13-14 0,-13 13 16,14 0-16,-14 0 15,13-13-15,0 0 16,0 0-1,-13 14 1,14-14 0,-14 13-16,13-13 0,-13 13 15,13 0-15,0-13 0,14 13 16,-14-13-16,27 0 0,-14 14 16,14-14-16,-1 0 0,14-14 15</inkml:trace>
  <inkml:trace contextRef="#ctx0" brushRef="#br0" timeOffset="49923.03">11774 10186 0,'-53'14'0,"40"-1"15,13 0-15,-13 0 0,-1 1 0,14-1 16,0 0-16,0 0 15,14 1 1,-1-14-16,0 0 16,0 0-16,1 0 0,-1-14 15,0 14-15,0-13 16,14 0-16,-14 0 16,0-1-16,0 14 15,1 0-15,-1 0 0,0 0 16,0 14-16,0-1 15,-13 0 1,14-13-16,-14 13 0,0 1 16,13-1-16,-13 0 15,13 0 1,0-26 15,1 0-15,-1 0-16,0-1 15,0 14-15,1 0 16,12 0 0,-13 0-16,-13 14 15,13-14-15,-13 13 16,14-13-16,-14 13 0,13 0 16,0-26 30,-13 0-46,13 0 32,1-1-32,-1 1 15,0 13-15,0-13 16,1 13 0,-1 0-1,0 13-15,0-13 16,0 13-1,1-13-15,-1 14 16,0-14 0,-13 13-1,0 0 1,0 0 0,0 0 15,0 1-16,27-28 32,-14 1-47,0 0 16,-13 0 0,13 13-16,-13-13 15,13 13 1,1-14-1</inkml:trace>
  <inkml:trace contextRef="#ctx0" brushRef="#br0" timeOffset="50080.15">12462 10279 0,'0'13'15,"-13"1"1,13-1-1,0 0 1,-14 13 0</inkml:trace>
  <inkml:trace contextRef="#ctx0" brushRef="#br0" timeOffset="50215.85">12475 10134 0</inkml:trace>
  <inkml:trace contextRef="#ctx0" brushRef="#br0" timeOffset="50800.18">12621 10319 0,'0'-27'0,"13"27"0,-13-13 16,-40 40 15,27-27-15,13 13-16,-13 0 15,26 0 1,0-13 0,0 0-1,1 0-15,12-13 16,-13 13-16,14 0 15,-14 0-15,0 0 16,0 13 0,1-13-16,-1 0 15,13 0 1,-12-13-16,-1 13 16,0-13-16,14-14 15,-14 1-15,-13 13 0,39-54 16,-25 41-16,-1-27 15,0 27-15,0 12 0,-13 1 16,0 0-16,0 39 31,-13-12-31,0-1 0,13 13 0,-13-12 16,-1 25-16,1-12 16,13-14-16,-13 13 0,13-12 15,0-1-15,0 0 0,0 0 0,0 1 16,13-1-16,-13 0 15</inkml:trace>
  <inkml:trace contextRef="#ctx0" brushRef="#br0" timeOffset="51139.52">11628 10689 0,'291'0'15,"-132"-13"-15,13 13 16,-79 0-16,-14 0 0,14 0 16,66-13-16,-93 13 15,-13-14-15,0 14 0,-14 0 16,27 0-16,-39 0 0,-14-13 0,0 13 16</inkml:trace>
  <inkml:trace contextRef="#ctx0" brushRef="#br0" timeOffset="51394.94">11708 10808 0,'278'0'15,"-133"-13"-15,-79 13 16,14-13-16,-1 13 0,-13 0 16,53-13-16,-79 13 0,39-14 15,-52 14-15,-1 0 0,-13 0 16,1 0-16,-41 0 31,-39 14-31</inkml:trace>
  <inkml:trace contextRef="#ctx0" brushRef="#br0" timeOffset="51854.04">8493 10927 0,'146'0'15,"-93"-13"-15,52 13 0,-52-13 16,13 13-16,133-13 15,-146 13-15,0 0 0,0 0 16,0-14-16,-14 14 0,-12 0 16,39 0-16,-40 0 15,-12 0-15</inkml:trace>
  <inkml:trace contextRef="#ctx0" brushRef="#br0" timeOffset="52076.07">8427 11060 0,'198'-14'16,"-131"14"-16,52-13 0,-40 13 15,-26 0-15,13 0 0,53 0 16,-66 0-16,-13 0 0,-1 0 15,1 0-15,-13 0 0,25 0 16,-25 0-16,-1 0 0,1 0 16</inkml:trace>
</inkml:ink>
</file>

<file path=ppt/ink/ink201.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43:25.514"/>
    </inkml:context>
    <inkml:brush xml:id="br0">
      <inkml:brushProperty name="width" value="0.05292" units="cm"/>
      <inkml:brushProperty name="height" value="0.05292" units="cm"/>
      <inkml:brushProperty name="color" value="#0070C0"/>
    </inkml:brush>
  </inkml:definitions>
  <inkml:trace contextRef="#ctx0" brushRef="#br0">13600 767 0,'92'-13'0,"-52"13"0,13-13 15,39 13-15,-39-13 16,-13 13-16,53-14 0,-54 14 15,1 0-15,-14 0 0,27-13 16,-26 13-16,-14 0 0,0-13 16,1 13-16,-1 0 0</inkml:trace>
  <inkml:trace contextRef="#ctx0" brushRef="#br0" timeOffset="226">14208 516 0,'80'40'0,"-54"-27"0,-13 0 0,14 0 15,12 1-15,-12 12 0,-14-13 0,13 14 16,-12-14-16,-1 0 16,0 0-16,0 14 0,-13-14 0,14 0 15,-14 27-15,-14-27 0,14 14 16,-13-1-16,-13 1 0,12-14 15,-12 13-15,-14-13 0</inkml:trace>
  <inkml:trace contextRef="#ctx0" brushRef="#br0" timeOffset="1910.72">2474 2844 0,'26'0'0,"1"0"0,-14 0 15,13 0-15,1 0 0,-1-13 0,41 13 16,-28-13-16,1 13 16,-14-13-16,1 13 0,-1 0 0,14-14 15,-14 14-15,-12 0 16,-1 0-16,-26 14 31,-120 25-15,94-25-16,-1-1 0,0 0 15,1 0-15,-1-13 0,13 13 16,1-13-16,13 14 0,0-14 0,-14 13 16,54 0 15,-14-26-31,0 13 0,13 0 15,27 0-15,-26-13 0,13 13 16,26-14 0,-40 14-16,-13-13 0,14 13 0,-14 0 15,0-13-15,1 13 0,-1 0 16</inkml:trace>
  <inkml:trace contextRef="#ctx0" brushRef="#br0" timeOffset="2902.54">2897 2090 0,'-13'-26'15,"13"52"16,0-13-31,-13-13 0,13 14 16,-13 39-16,13-40 16,0 26-16,-14-39 0,14 27 15,0-14-15,0 0 0,0 1 16,-13-1 0,13-40 15,0 14-16,0 0-15,0 0 0,-13-1 0,13 1 16,0-13-16,-13-40 16,-1 52-16,14 1 15,0 0-15,-13 0 0,13-14 16,0 14 0,27 26-1,12 27 1,-25-27-1,-1 0-15,13 1 0,-13-14 16,1 13-16,-1 0 0,0-13 0,0 13 16,14 1-16,-14-1 0,0-13 15,0 0-15,1 0 16</inkml:trace>
  <inkml:trace contextRef="#ctx0" brushRef="#br0" timeOffset="3273.07">2686 2262 0,'52'-40'16,"-25"27"-16,-1 0 0,1 0 0,-1 0 16,1-1-16,-1 1 15,14 0-15,-14 0 0,-12 13 16</inkml:trace>
  <inkml:trace contextRef="#ctx0" brushRef="#br0" timeOffset="4475.88">2844 2289 0,'-13'-14'0,"0"-12"16,0 26-1,13-13-15,-14-1 0,1 1 0,0-13 16,13 13-16,-13-1 15,-14-12-15,27 13 0,-13-1 0,13 1 16,-13 0-16,13 0 16,-13 0-16,39 26 31,-13-13-31,40 26 16,-40-13-16,14 1 15,-14-14-15,14 13 0,-14-13 0,0 13 16,0-13-16,0 13 0,1-13 15,-1 14-15,0-14 16,-26 13 0,0-13-1,-14 0-15,14 0 0,0 0 16,-14 0-16,1-13 0,-1 13 16,14-14-16,0 14 0,0-13 15,-1 0-15,1 0 0,13-1 0,0 1 16,0 0-16,0 0 15,0 0-15,13-14 0,1 14 0,-1 0 16,0 13-16,-13-14 0,13 1 0,1 13 16,-14-13-16,13 13 0,0 13 15,0 0-15,-13 14 16,0-14-16,0 14 16,0-1-16,-13 0 0,13 14 15,-13-13-15,13-1 0,0 0 16,-13-12-16,13 25 0,0-25 15,0-1-15,0 0 0</inkml:trace>
  <inkml:trace contextRef="#ctx0" brushRef="#br0" timeOffset="7790.93">2064 3506 0,'-13'0'0,"52"0"31,-12 0-16,26 0-15,-1 0 0,107-14 16,-79 14 0,-14-13-16,0 13 0,13-13 0,-13 13 0,1-13 15,-1 13-15,0-13 16,-13 13-16,0-14 0,-14 14 0,14-13 16,-13 13-16,-14-13 0,1 13 0,-1 0 15,1 0-15,-14-13 0,0 13 16,1 0-16,25 0 15,-26 0-15,1-14 16,-1 14 0</inkml:trace>
  <inkml:trace contextRef="#ctx0" brushRef="#br0" timeOffset="8638.99">6032 3532 0,'27'0'0,"-1"0"16,27 0-16,0-13 0,13 13 15,14 0-15,-1-13 0,1 13 0,12-14 16,1 14-16,13-13 0,13 0 16,13 0-16,-39 13 0,12-13 0,-12 13 15,39-14-15,-26 14 0,0 0 0,-13-13 16,12 13-16,-12-13 0,0 13 16,-14-13-16,14 13 0,65-14 15,-92 14-15,-13 0 0,0 0 16,-13 0-16,-14-13 0,1 13 15,26 0-15,-40 0 0,0 0 0,0 0 16,1 0-16,-1 0 16</inkml:trace>
  <inkml:trace contextRef="#ctx0" brushRef="#br0" timeOffset="11978.02">14301 3400 0,'145'40'15,"-105"-27"-15,344 66 16,-292-66-16,1 1 0,26-1 0,-27 0 0,1-13 16,13 13-16,-13-13 15,12 14-15,-12-14 0,0 0 0,-14-14 16,14 14-16,-14-13 0,-13 0 0,13 0 15,-12-14-15,-1 14 0,-13-14 16,-14 1-16,14 0 0,-26-1 0,12 1 16,-12-1-16,-14-12 0,27-28 15,-40 14-15,0 14 0,-13-67 16,-1 53-16,-12 0 16,-14 0-16,-52-53 0,12 53 0,1 14 15,-14-1-15,1 0 16,-133-13-16,119 27 0,-13 0 15,0 12-15,-119 1 0,105 13 16,1 0-16,0 13 0,-1 1 16,1-1-16,13 13 0,-13 1 15,13 12-15,13 1 0,0 0 0,0 13 16,27 0-16,26-14 0,0 1 0,0 0 16,13 13-16,14-14 0,13 1 0,-1 0 15,14-14-15,14 1 0,-1 12 0,0-12 16,27 12-16,0 1 15,12-13-15,1-1 0,-13 0 0,13-12 16</inkml:trace>
  <inkml:trace contextRef="#ctx0" brushRef="#br0" timeOffset="13432.02">1905 4220 0,'53'13'0,"-27"-26"0,80 13 15,-53 0-15,26-13 0,-12 13 16,12 0-16,14-13 16,-14 13-16,80-14 0,-80 14 15,1 0-15,-28 0 0,67-13 16,-79 13-16,40 0 16,-28 0-16,-38 0 0,12 0 15,-13-13-15</inkml:trace>
  <inkml:trace contextRef="#ctx0" brushRef="#br0" timeOffset="13703.65">3863 4048 0,'93'13'0,"-67"-13"16,27 0-1,-27 0-15,14 0 16,-13 0-16,-14 0 16,0 0-16,13 0 0,-12 0 15,-1 14-15,0-14 16</inkml:trace>
  <inkml:trace contextRef="#ctx0" brushRef="#br0" timeOffset="15585.16">6178 4128 0,'146'0'0,"-94"-14"0,1 14 15,66 0-15,27-13 16,-67 13-16,14-13 0,0 13 16,-1-13-16,14 13 0,-13-14 0,12 14 15,160-13-15,-133 13 0,-13-13 16,14 13-16,12 0 0,-13 0 16,1 0-16,-1 0 0,14-13 15,131 26-15,-131-13 0,-14 0 16,0 0-16,1 13 0,-27-13 15,-14 0-15,14 13 0,79-13 0,-92 0 16,-14 14-16,1-14 16,-1 0-16,-26 0 0,0 13 0,-13-13 15,-1 0-15,-12 0 0,-14 0 0,13 0 16,-12 0-16,12 0 16,-13 0-16,0 0 0,1 0 15</inkml:trace>
  <inkml:trace contextRef="#ctx0" brushRef="#br0" timeOffset="16170.01">19275 3585 0,'40'79'0,"-40"-52"0,0 26 16,0-27-16,0 14 16,0 0-16,0-14 0,-14 14 0,14 13 15,-13-40-15,13 13 0,0 1 16,-13-1-16,13-12 16,0-1-16</inkml:trace>
  <inkml:trace contextRef="#ctx0" brushRef="#br0" timeOffset="16452.08">19592 3757 0,'-39'0'16,"-27"27"-1,52-27-15,-12 13 16,13 0-16,-53 27 15,66-27-15,-14 0 0,1 0 16,0 1-16,13-1 0,0 0 16,0 0-16,0 1 0,13-14 15,0 13-15,1-13 16,25 13-16,-12-13 0,-1 0 16,14 0-16,-14 0 0,54 0 0,-41 13 15,-12-13-15,12 0 0,-12 0 16,-1 0-16</inkml:trace>
  <inkml:trace contextRef="#ctx0" brushRef="#br0" timeOffset="17066.11">20135 4088 0,'-13'-13'15,"-1"-1"1,1 1 0,13 0-16,-13 0 15,13-1-15,-13-12 16,13 13-16,0-27 0,0 27 15,0 0-15,0-14 0,0 1 16,0 12-16,0 1 16,13 0-16,-13 0 0,13 0 0,0 13 15,14 0 1,-14 0-16,-13 13 16,13-13-16,-13 13 0,13-13 15,-13 13-15,14-13 0,-14 13 16,0 1-16,13-14 0,-13 13 15,13-26 32,14-27-31,-27 27-16,13 13 16,0-27-16,0 27 0,1-13 15,-1 13-15,13 0 0,-13 0 16,1 0-16,-1 13 15,-13 1-15,13-1 16,-26 13-16,13-13 16,-13 1-16,-1-1 0,-25 27 15,12-14-15,-26 14 16,27-14-16,13 1 0,-14-14 0,14 0 16,-13 14-1,12-14-15,1 0 0,0 0 0</inkml:trace>
  <inkml:trace contextRef="#ctx0" brushRef="#br0" timeOffset="22870.02">12303 10411 0,'318'-13'0,"-265"13"0,26 0 16,0 0-16,93 0 15,-79 0-15,-1 0 0,-12 0 0,-1 0 16,14 0-16,-14 0 0,1 0 0,-1 0 16,-13 0-16,0 0 0,-13 0 15,0 0-15,-13-13 0,13 13 16,-27 0-16,14 0 0,0 0 0,-27-13 16,0 13-16,0 0 0,0 0 15,1 0-15,-1 0 0,0-14 16,0 14-1</inkml:trace>
  <inkml:trace contextRef="#ctx0" brushRef="#br0" timeOffset="23239.84">14288 10358 0,'13'0'0,"0"0"0,-39 0 0,65 0 0,-12 0 16,-14-13-16,13 13 16,-12 0-16,25 0 0,27 0 15,-39 0-15,79 0 0,-53 0 16,0 0-16,13 0 0,0 0 16,13 0-16,-13 0 0,159 13 15,-172-13-15,27 0 0,-14 0 16,0 0-16,0 0 0,-13 0 15,0 0-15,0 0 0,0 0 0,-14 0 16,-12 0-16,12 0 0,-25 0 16,12 0-16,-13 0 0,1 0 15,-1 0-15,0 0 0,0 0 0,1 0 0,-1 0 16,0-13-16,0 13 16,0 0-1,-52 13 32,-1 1-31</inkml:trace>
  <inkml:trace contextRef="#ctx0" brushRef="#br0" timeOffset="23882.03">12091 11126 0,'106'0'0,"0"13"0,-40-13 0,14 0 16,12 0-16,93 0 16,-79 0-16,27 0 0,-14 13 0,-14-13 15,28 0-15,-1 0 0,-26 0 0,0 13 16,0-13-16,-14 0 0,14 0 16,-13 0-16,-1 14 0,-12-14 0,-1 0 15,0 0-15,-26 0 0,0 0 16,0 0-16,-13 0 0,13 0 15,-27 0-15,-13 0 0,1 0 0,-1 0 16,0 0-16,0 0 0,1 0 16,12 0-1</inkml:trace>
  <inkml:trace contextRef="#ctx0" brushRef="#br0" timeOffset="24297.93">15227 11139 0,'317'-40'16,"-264"40"-16,13 0 0,0-13 0,133 13 15,-120 0 1,1 13-16,-14-13 0,0 0 0,0 0 16,-13 0-16,0 13 0,0-13 0,0 0 15,13 0-15,-26 0 0,-14 0 16,27 14 0,-40-14-16,0 0 0,1 0 15,-1 0-15,0 0 0,0-14 16,1 14-1,-1 0-15,0 0 16,0-13 15</inkml:trace>
  <inkml:trace contextRef="#ctx0" brushRef="#br0" timeOffset="27741.47">13692 11880 0,'40'13'0,"0"0"0,12-13 0,1 13 15,14 1-15,157 12 16,-131-13-16,0 1 0,-14-14 16,14 13-16,-1 0 0,14-13 0,-13 13 15,-1-13-15,1 0 0,-1 0 16,-12 14-16,12-14 0,-12-14 0,-1 14 15,1 0-15,-1 0 0,0-13 0,-13 13 16,1-13-16,-14 13 0,-1-13 16,1 13-16,-13-14 0,13 14 0,26-13 15,-13-13 1,-39 26-16,-1-14 0,1 1 16,-14 0-16,14 13 0,-1-13 0,-13 0 15,14-1-15,-14 1 0,0 0 0,14-14 16,-14 14-16,0 0 0,0 0 15,1 0-15,-14-1 0,13 1 0,0-13 16,-13 12-16,0-12 0,0 13 16,0-1-16,0 1 0,-13 0 15,13-13-15,-13 12 0,-1 1 16,1-13-16,0 12 0,-14-12 0,1 13 16,-1-14-16,1 14 0,0-13 0,-1 12 15,1 1-15,-1-13 0,-13 12 16,1 1-16,-1-13 0,-66-14 15,67 14-15,-14 12 16,13 1-16,0 0 0,-13 0 0,14-1 16,-14 1-16,0 0 0,-132-27 15,132 40-15,-13-13 16,13 13-16,-13-13 0,-1 0 16,1 13-16,0-14 0,0 14 0,0-13 15,-53 0-15,53 0 0,-1 13 16,1-14-16,0 14 0,0-13 0,0 13 15,0 0-15,0-13 16,-14 13-16,14 0 0,13 0 0,-13 0 0,13-13 16,-13 13-16,-53 0 15,66 0-15,0 0 0,-13 13 0,13-13 16,0 0-16,0 13 0,0-13 16,0 13-16,0-13 0,-52 27 15,65-14-15,-13 0 0,13 1 16,-13 12-16,0 0 0,14-12 15,-14 12-15,13 1 0,0-1 0,1 1 0,12-1 16,-12 0-16,12 1 16,1 13-16,12-14 0,-12 14 0,13-1 15,0-12-15,13 13 0,0-1 0,0-12 16,26 12-16,0 1 0,27 0 16,66 26-16,-13-40 0,13 1 15,14-14-15,-1 14 0,27-27 16,-14 13-16,14-13 0,0 0 0,-1 0 15,1 0-15,0-13 0,-14 13 0,1-14 16,-27 1-16,-13 0 0</inkml:trace>
  <inkml:trace contextRef="#ctx0" brushRef="#br0" timeOffset="29670.89">6152 11827 0,'-14'0'0,"28"26"16,-1-26-16,13 14 0,93 25 16,-53-26-16,-13 1 15,14-1-15,12 0 0,0 0 0,1 1 16,12-1-16,1 0 0,26 0 0,106 1 16,-93-1-16,0-13 15,1 13-15,-1-13 0,-26 13 0,0-13 16,132 0-16,-146 0 0,107-13 15,-120 13-15,14-13 16,-14 0-16,1-1 0,-1 1 16,-13 0-16,13 0 0,-26-14 0,14 1 15,-15 12-15,1-12 0,-13 0 16,26-27-16,-39 39 0,-1-25 16,1 12-16,-14 1 0,13-1 15,-13 1-15,1-1 0,-14 14 0,13-13 16,-13-1-16,0 1 0,0-1 0,0 1 15,-13 13-15,-1-27 0,1 14 16,0-1-16,-13-13 0,-14 14 16,-26-27-16,13 27 0,26 12 15,-12 1-15,-1-13 0,0 12 16,1 1-16,-1 0 0,0 0 0,1-1 16,-81-12-16,68 26 15,12-13-15,-13 13 0,0-13 16,0 13-16,13 0 0,-13-14 0,1 14 15,-1 0-15,-53 0 0,53 0 16,-13 0-16,13 0 0,-13 0 16,13 0-16,-13 0 0,0 0 0,13 0 15,-93 0-15,67 0 16,-1 0-16,14 14 0,-13-14 16,13 0-16,-67 0 0,80 0 15,1 0-15,-15 0 0,14 0 0,-13 0 16,13 13-16,-66-13 15,66 0-15,-13 0 0,13 0 0,-13 0 16,13 0-16,-13 0 0,0 0 16,-13 13-16,12-13 0,1 13 0,0 0 15,-53 1-15,66-1 0,0 0 16,0 14-16,0-14 0,1 0 16,-1 14-16,0-14 0,0 0 0,-27 13 15,41 1-15,-1-14 16,0 0-16,1 1 0,12-1 15,-12 13-15,-1-12 0,27-1 16,-14 0-16,1 13 0,12-12 0,1 12 0,-26 27 16,25-13-1,1-14-15,0 1 0,13 12 0,0-12 16,-13-1-16,26 1 0,-13 12 16,13 1-16,0-13 0,40 52 15,-13-53-15,0 14 0,13-13 0,-1-1 16,15-13-16,-1 14 0,13-14 15,0 0-15,14 0 0,0-13 0,13 14 16,-14-14-16,14 13 0,-13-13 16,105 0-16,-105 0 15,-14 0-15,14-13 0,65-1 0,-78 14 16,-1-13-16,-13 0 0,0 0 16,1-14-16</inkml:trace>
  <inkml:trace contextRef="#ctx0" brushRef="#br0" timeOffset="31309.9">5146 10517 0,'159'13'15,"-106"-13"-15,0 0 0,0 0 0,0 0 16,52 0-16,-52 0 15,-13 0-15,13 0 0,-13-13 0,-14 13 16,1 0-16,-1 0 0,-13 0 0,0 0 16,14 0-16,-14 0 0,0 0 15,1 0-15,-1 0 16,0 0-16,0 0 0,0 0 16,1 0-16,-1-13 0,0 13 0,0 0 15</inkml:trace>
  <inkml:trace contextRef="#ctx0" brushRef="#br0" timeOffset="31902.84">7250 10398 0,'198'0'0,"-158"0"16,66 0-16,-67 0 0,14 0 0,0 0 0,0 0 16,-13 0-16,26 0 15,-40 0-15,40 0 16,-39 0-16,-1 0 0,-12 0 0,12 0 15,-13 0-15,0 0 0,1-13 16,-1 13-16,0 0 0,0 0 0,1 0 16,-1 0-16,0 0 15,0 0 1,1 0 0,-1 0-1,0 0 63,0 0-62</inkml:trace>
  <inkml:trace contextRef="#ctx0" brushRef="#br0" timeOffset="51425.84">18071 7461 0,'13'-13'0,"-13"0"15,27 13-15,12 0 0,1-13 16,53 13-16,26 0 16,0 0-16,-66 13 15,66-13-15,-53 0 16,53 0-16,-66 0 0,0 13 15,0-13-15,-14 0 0,-12 0 0,-1 0 16,14 0-16,-27 0 16,1 0-16,-1 0 0,0 0 15,-39-13 1,12 13 0,-12-13-16</inkml:trace>
  <inkml:trace contextRef="#ctx0" brushRef="#br0" timeOffset="51836.18">18468 7157 0,'13'-13'15,"-39"26"1,12-13-16,-25 26 16,12 1-16,-65 26 15,65-40-15,-26 27 16,14-1-16,12-12 15,14-14-15,0 0 16,0 1-16,13-1 0,-14 13 16,28-13-16,-1 14 15,13-1-15,1 1 16,26-14 0,-27 0-16,0-13 0,-12 14 15,52 12-15,-40-26 0,27 13 16,13-13-16,-39 0 15</inkml:trace>
  <inkml:trace contextRef="#ctx0" brushRef="#br0" timeOffset="52249.83">20055 7223 0,'27'13'16,"-27"1"-16,0-1 0,13 0 16,-13 27-16,-13-14 15,13 14-15,-13 0 16,13-27-16,-14 26 15,14-12 1,0-14-16,0 0 0,14 1 16</inkml:trace>
  <inkml:trace contextRef="#ctx0" brushRef="#br0" timeOffset="52532.88">20466 7355 0,'-80'-13'16,"54"26"-16,-14-13 0,14 14 0,-1-1 15,-13 0-15,1 0 16,25 1-16,1-1 16,-13 13-1,39 1 1,305-160-16,-610 279 15,319-146-15,39 0 16,-39 0-16,25 0 16,28 0-1,-14 0-15</inkml:trace>
  <inkml:trace contextRef="#ctx0" brushRef="#br0" timeOffset="53150.96">20836 7580 0,'-13'-13'15,"-1"-13"1,1-54 15,13 67-31,0 0 16,0-53 0,13 52-16,-13-12 0,27-1 15,-1 1 1,27 52 15,-39-12-31,-14-1 16,13 0-1,-13 0 1,0 1 0,13-28-1,0-12 1,-145 277-1,317-555 1,-145 278 0,-27 26-16,14 0 15,-14 13 1,0 26 0,-13-25-16,0-1 0,-13 27 15,0-27-15,-40 27 16,-14 12 15,54-52-31,-40 53 31</inkml:trace>
  <inkml:trace contextRef="#ctx0" brushRef="#br0" timeOffset="54492.02">20611 7660 0,'66'26'16,"-39"-13"-16,-1-13 0,14 14 16,-1-14-16,14 13 0,40-13 15,-40 0-15,0 0 0,0 0 16,0-13-16,0 13 0,-1-14 0,68-12 15,-81 13-15,67-27 16,-53 14-16,0-1 0,40-39 16,-54 26-16,-12 1 15,-1-14-15,14-53 0,-40 0 16,-13 40-16,-1 0 16,-12 13-16,-106-146 15,13 107-15,26 39 0,-79-40 16,79 67-16,14-1 15,-93-12-15,-26 25 16,-1 28-16,-13 12 16,107 14-16,12-1 0,-79 54 15,53 13-15,40 13 16,52-53-16,14 53 16,13-53-16,13-13 15,0 13-15,27-13 0,0 0 0,13 0 16,66 53-16,39 0 15,-91-80-15,12 1 0,-13-1 16,80 1-16,-93-14 0,0-13 16</inkml:trace>
  <inkml:trace contextRef="#ctx0" brushRef="#br0" timeOffset="56431.07">19248 9234 0,'27'13'0,"-67"-13"31,14 0-31,-80 0 15,53 0-15,0 0 0,-13 0 16,-66 13-16,-40-13 16,119 0-16,-40 0 15,67 14-15,-1-14 16,-12 0-16,25 0 16,1-14-16</inkml:trace>
  <inkml:trace contextRef="#ctx0" brushRef="#br0" timeOffset="56562.45">18666 9406 0,'0'79'0,"0"-65"0,14-1 15,-14 0-15</inkml:trace>
  <inkml:trace contextRef="#ctx0" brushRef="#br0" timeOffset="61399.72">18918 8969 0,'13'-13'16,"0"26"-1,40 14-15,-40-27 16,14 26-16,12-12 0,54 38 16,-27-12-1,-39-27-15,-1 1 0,27 12 16,-26 1-16,-14-27 16,13 26-16,-13-13 15,-13 14-15,0-1 16,-39 27-16,-14 13 15,-13 0-15,26-26 16,0 0-16,-26 13 16,40-14-16,-1-12 0,-12 12 15,12-12-15,14-14 16</inkml:trace>
</inkml:ink>
</file>

<file path=ppt/ink/ink202.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44:33.525"/>
    </inkml:context>
    <inkml:brush xml:id="br0">
      <inkml:brushProperty name="width" value="0.05292" units="cm"/>
      <inkml:brushProperty name="height" value="0.05292" units="cm"/>
      <inkml:brushProperty name="color" value="#0070C0"/>
    </inkml:brush>
  </inkml:definitions>
  <inkml:trace contextRef="#ctx0" brushRef="#br0">7766 3162 0,'79'13'16,"-26"-13"-16,-27 0 15,14 0-15,-14 0 0,14 0 0,0 0 0,-1 0 16,14 0-16,0-13 16,53 13-16,-53 0 0,0 0 15</inkml:trace>
  <inkml:trace contextRef="#ctx0" brushRef="#br0" timeOffset="296.92">10028 2924 0,'158'-14'0,"-131"14"16,-1 0-16,1 0 0,-14 0 16,14 0-16,-1 0 0,27 0 15,-27 0-15</inkml:trace>
  <inkml:trace contextRef="#ctx0" brushRef="#br0" timeOffset="3427.75">18362 2778 0,'132'13'15,"-92"-13"-15,13 0 0,13 0 0,93 14 16,13-14-16,-66 0 15,0 0-15,158 13 16,1 0-16,-1-13 16,14 13-16,-146 1 15,1-14-15,-1 13 0,0-13 16,-39 13-16,119 0 0,-27 0 16,-93 1-16,-12-14 0,92 13 15,-40 0-15,-39-13 16,-1 0-1,-39 13-15,0-13 16,-40 0-16,0 0 0,14 0 16,-14 0-16,0 0 0,1 0 15,12 14-15,-13-14 16</inkml:trace>
  <inkml:trace contextRef="#ctx0" brushRef="#br0" timeOffset="5246.91">1495 3731 0,'26'-14'16,"1"14"-16,26 0 0,0-13 0,13 13 16,13-13-16,1 0 0,12 13 15,93-14-15,-92 1 0,105 0 16,-105 0-16,0 0 0,79 13 15,-93-14-15,-13 14 16,0 0-16,-26 0 0,0 0 16,-1 0-16,-12 0 0,-1 0 0,-13 0 15</inkml:trace>
  <inkml:trace contextRef="#ctx0" brushRef="#br0" timeOffset="12060.44">11893 2011 0,'-13'-53'15,"0"53"-15,-14 53 31,27-27-15,0 14-16,-13 0 0,0-1 0,13 27 16,-14-13-16,1 14 0,0-1 15,13 0-15,-13-13 0,13 13 16,-13-26-16,13 52 0,0 1 16,0-67-16,0 1 0,0-1 15,13 27-15,-13-40 16,13 14-16,-13-14 0,0 0 15,13 0-15,-13 1 16,13-14-16,14 0 0,-1 0 16,-12 0-16,12 0 0,0 0 15,41 0-15,-28-14 16,14 14-16,0-13 0,13 13 16,80-13-16,-54 13 0,80 0 15,-92 0-15,26 0 16,-14 0-16,14 0 0,-13 13 0,118-13 15,-118 0-15,13 13 0,0-13 16,105 14-16,-118-14 16,13 0-16,-14 0 0,1 13 0,0-13 15,-1 0-15,-13 0 0,1 0 0,-1 0 16,54 0-16,-67 0 16,-13 0-16,-1 0 0,-12-13 0,0 13 15,26 0-15,-40 0 0,1 0 16,-1 0-16,-12 0 0,12 0 15,-13-14-15,27 14 0,-27 0 16,0 0-16,1 0 0,-1 0 16,27-13-16,-27 13 15,0 0-15,0 0 0,14 0 0,-14 0 16,0 0-16,14 0 0,-14 13 16,0-13-16,14 0 0,-1 0 0,-13 0 15,14 0-15,-1 0 0,1 0 16,26 0-16,-27 0 0,0 0 15,1 0-15,26-13 0,-27 13 16,27-13-16,-26 13 16,-14 0-16,27-13 15,-14 13-15,14-13 0,-27 13 16,13-14-16,-12 14 0,12-13 16,1 13-16,-1-13 15,-13 13-15,0-13 0,1 13 16,-1-14-16,0 1 0,0 0 15,1 13-15,-1-13 0,13-14 16,-12 14-16,-1 0 16,0-14-16,0 14 0,0 0 0,14-27 15,-1 1-15,-12 12 16,-1 1-16,0-1 0,27-39 16,-1-13-1,-12 12-15,13-12 16,-14 13-16,1 0 15,-1 26-15,-26 14 16,26-14-16,-26 14 16,14 12-16,-14 1 15,0 0-15,0 0 0,13-1 16,-13 1 0,0 0-1,-13 13 1,-1-13-1,1 13-15,-13 0 0,13 0 16,-14-14-16,-105 1 16,-14 0-16,67 0 15,-106 0-15,92-1 0,0 1 16,-131-13-16,-1 12 16,106 14-16,-120-13 15,15 0-15</inkml:trace>
  <inkml:trace contextRef="#ctx0" brushRef="#br0" timeOffset="13143.64">19910 8189 0,'-13'53'15,"13"-40"-15,0 13 0,-14-12 16,1 39-16,13-27 0,-26 40 16,26-39-16,0-14 15,0 13-15,-13-12 0,13-1 16,0 0-16,0 0 0</inkml:trace>
  <inkml:trace contextRef="#ctx0" brushRef="#br0" timeOffset="13492.83">19804 8242 0,'53'-66'0,"-27"52"15,-12 14-15,12 0 0,-13 14 16,1-14-16,-1 13 0,0 0 16,-13 0-16,0 14 15,0 12-15,-26 1 16,12-13-16,-12-1 15,13-13-15,-14 14 16,14-14-16,0-13 16</inkml:trace>
  <inkml:trace contextRef="#ctx0" brushRef="#br0" timeOffset="13751.12">20201 8136 0,'-40'13'0,"27"0"15,0 1-15,-14 12 0,14 1 16,0-1-16,-14 27 0,1 0 16,13 0-16,13-40 15,0 0-15,-14 27 16,28-14-16,-14 1 15,13-14-15,0 0 0,-13 0 0,27 1 16,-1-1 0,1-13-16,-14 0 15</inkml:trace>
  <inkml:trace contextRef="#ctx0" brushRef="#br0" timeOffset="14147.26">20505 8506 0,'-26'40'16,"26"-27"-16,0 0 15,-13-13-15,13 14 16,0-54-1,0 27 1,0-27-16,13 14 16,0-54-16,-13 54 15,13-27-15,0 13 16,14 14-16,-27 13 16,13 13-16,14 13 15,-14 0-15,0 13 16,0 1-16,-13-14 0,14 27 15,12 13 1,-26-40-16,13 13 16,0 1-16,-13-1 15,0-12-15,0-1 16</inkml:trace>
  <inkml:trace contextRef="#ctx0" brushRef="#br0" timeOffset="14327.07">20479 8520 0,'-13'-14'31,"26"14"-31,0-13 0,0 13 16,27 0-16,-14-13 15,14 13-15,-27 0 16,14 0-16,12-13 15</inkml:trace>
  <inkml:trace contextRef="#ctx0" brushRef="#br0" timeOffset="14767.47">21101 8401 0,'-14'-14'0,"1"14"15,-13 0 1,12 14-16,1-14 0,0 13 16,0 13-1,-1-26-15,14 13 16,0 1 0,14-1-1,-1-26-15,0 13 16,0-14-16,1 14 15,-1-13 1,0 0 0,0 13-16,1 13 15,-1-13 1,0 0 0,-13 13-16,13-13 15,0 14-15,1-14 16,-1 13-1,0-13 1,0 0-16,1 0 31,-1 0-31,0 0 16</inkml:trace>
  <inkml:trace contextRef="#ctx0" brushRef="#br0" timeOffset="15152.71">21550 8255 0,'-13'26'15,"13"-12"1,-13 12-16,13-13 0,-13 27 15,13-27-15,-14 1 16,14-1-16,0 0 0,0 0 16,-13 0-1,0 1-15,0-14 16,-14 0-16,14 13 16,0-13-16,-14 13 15,1 0 1,13-13-16,13 14 0,-14-14 15,14 13 1,14 0 0,-1-13-16,13 0 15,1 0-15,-14-13 16,13 13-16</inkml:trace>
  <inkml:trace contextRef="#ctx0" brushRef="#br0" timeOffset="15393.52">21987 8229 0,'-40'13'16,"40"0"-16,-13 0 15,0 0-15,13 14 16,-13-14-16,13 0 0,-14 1 0,1-1 15,13 0-15,-13 14 0,0-14 16,13 0-16,0 0 0,-14 0 16,28 1-1,-1-14 1</inkml:trace>
  <inkml:trace contextRef="#ctx0" brushRef="#br0" timeOffset="16162.16">21960 8242 0,'40'-13'16,"-27"26"-16,-13 0 15,0 0-15,0 0 16,0 14 0,0-14-16,0 0 15,0 1 1,0-1-16,14-13 0,-14 13 0,-14 0 15,14 14 1,0-14-16,0 0 16,-13 0-16,0-13 15,13 14-15,-13-14 0,-1 0 16,1 0 0,0-14-16</inkml:trace>
  <inkml:trace contextRef="#ctx0" brushRef="#br0" timeOffset="16340.92">22053 8109 0,'40'14'16,"-14"39"0,-26-27-1,0 1-15,0-14 0,0 13 0,-13-13 16,13 14-16,0-1 15,-13 1-15,13-14 16</inkml:trace>
  <inkml:trace contextRef="#ctx0" brushRef="#br0" timeOffset="16559.93">22609 8281 0,'53'-26'16,"-27"26"-16,-13 0 16,0 0-16,1 0 15,-14 13-15,13-13 0</inkml:trace>
  <inkml:trace contextRef="#ctx0" brushRef="#br0" timeOffset="16718.05">22582 8401 0,'27'0'31,"-14"0"-31,0 0 0,0-14 15,1 14-15,25-13 0,-26 13 16</inkml:trace>
  <inkml:trace contextRef="#ctx0" brushRef="#br0" timeOffset="16990.88">23032 8255 0,'13'26'31,"-13"-12"-31,13-14 16,-13 13-16,27 0 0,-14-13 16,0 13-16,1-13 15,-1 0-15,13-13 16,-12 13-16,-1 0 0,-13-13 0,13 13 16,-13-13-16,13-1 15,-13 1-15,13 0 0,-13 0 16,-13 0-16,0-1 15,-13 14 1,12 0-16,-12 0 16,-1 0-16</inkml:trace>
  <inkml:trace contextRef="#ctx0" brushRef="#br0" timeOffset="19036.89">19725 9684 0,'0'-13'0,"0"52"16,13-12-16,-13-1 15,0-13-15,0 14 16,0 26-16,0-40 0,0 13 16,0 1-16,0-14 0,0 14 0,0-14 15,0 13-15,0-13 16,0 1-16,0-1 0,0 0 0,0 0 0,-13-13 16</inkml:trace>
  <inkml:trace contextRef="#ctx0" brushRef="#br0" timeOffset="19396.08">19645 9657 0,'66'-39'16,"-26"25"-16,-27 28 16,1-14-16,12 0 0,-13 13 15,27 13-15,-27-12 16,-13-1-16,13 0 0,-26 0 0,13 14 15,-13-14-15,0 0 0,0 14 0,-1-14 16,-12 13-16,13-13 0,-27 1 16,13-1-16,1 0 15,13-13-15,0 0 0</inkml:trace>
  <inkml:trace contextRef="#ctx0" brushRef="#br0" timeOffset="19882.64">20241 9432 0,'-80'80'0,"67"-54"0,-13 54 16,12-41-16,-12 14 16,-1 40-16,1 26 15,26-79-15,0 12 16,0-25-16,0 26 16,26-13-16,-12-14 15,-1-13-15,13 14 16,14-14-1,-27-13-15,0 0 0,14-13 16,-1 13-16,-12-14 16,-1 14-16,0-13 15,0 0-15</inkml:trace>
  <inkml:trace contextRef="#ctx0" brushRef="#br0" timeOffset="20168.82">20452 9710 0,'0'40'31,"0"-14"-15,0 1-16,0-1 0,-13-13 16,13 14-16,0-1 0,0-12 15,-13 25-15,13-12 0,-13-14 16,13 13-16,0-12 0,0-1 16</inkml:trace>
  <inkml:trace contextRef="#ctx0" brushRef="#br0" timeOffset="20400.93">20690 9697 0,'0'-13'16,"0"52"-1,0-25 1,0 12-16,-13 1 15,13-14-15,0 13 0,0 1 0,-13-1 16,13-13-16,0 14 16,-13-1-16,13-12 0,0-1 15,0 0-15,-13 0 16</inkml:trace>
  <inkml:trace contextRef="#ctx0" brushRef="#br0" timeOffset="20595.43">20346 9935 0,'0'-13'15,"27"13"-15,-14 0 0,0 0 0,1-13 16,25 13-16,1 0 15,-14-14-15,1 14 0,-14 0 16,14 0-16</inkml:trace>
  <inkml:trace contextRef="#ctx0" brushRef="#br0" timeOffset="21468.83">21167 9829 0,'-14'-13'15,"1"13"-15,0 0 16,0 0-16,0 13 16,-1-13-16,1 13 0,0 14 15,0-27-15,13 26 16,-14-12-16,14-1 0,0 0 15,0 0 1,0 1-16,14-14 16,-1 13-16,13-26 31,-12 13-31,-1-14 16,0 1-16,0 0 15,14-14 1,-27 14-1,13 13-15,-13-13 16,13 0 0,-13 39 31,0-13-16,13 1-16,-13-1-15,14 0 32,-1-13-17,0 0 1,0 0 0,0 0-1,1 0-15,-1 13 16,0-13-1,-13 14 1,13-14 0,1 0-1,-1 13-15,0-13 16,0 0 0,1 0-1,-1-13 1,0-1 15</inkml:trace>
  <inkml:trace contextRef="#ctx0" brushRef="#br0" timeOffset="21846.9">21590 9737 0,'0'13'31,"0"0"-31,0 0 16,0 1-16,0 12 15,0 0-15,0-12 0,0-1 16,0 0-16,13 0 16,-26 1-1,13-1-15,-13-13 16,0 0-16,-1 13 15,1 0-15,0-13 16,0 14-16,-1-14 0,14 13 16,-13-13-16,0 13 0,0 0 15,26 0 17,0-13-32,0 0 15,1 0-15,12-13 16,-13 13-16,14 0 0,12-13 15,-12 13-15,-14-13 0,14 0 16</inkml:trace>
  <inkml:trace contextRef="#ctx0" brushRef="#br0" timeOffset="22279.75">21987 9750 0,'26'0'16,"-12"0"-1,-1-13-15,0 13 0,40-27 16,-40 27-1,0-13-15,1 0 16,-1 0-16,0-1 16,0 1-16,-26 40 31,0-14-15,0 53-1,-1-40 1,14 14-1,0-14-15,0 14 16,0-27 0,0 1-16</inkml:trace>
  <inkml:trace contextRef="#ctx0" brushRef="#br0" timeOffset="22536.32">22212 9459 0,'39'40'31,"-25"-27"-31,-1 13 0,0 1 0,14 26 16,-14 39-1,0-65-15,-26-1 0,13 27 16,-13-27 0,-1 14-16,-25 26 0,25-52 15,1-1-15,0 0 16,0 0-16,13 0 0</inkml:trace>
  <inkml:trace contextRef="#ctx0" brushRef="#br0" timeOffset="22803.76">22609 9750 0,'53'-13'0,"-40"13"15,0 0-15,13 0 16,-12 0-16,-1 0 0,0-14 16,0 14-1</inkml:trace>
  <inkml:trace contextRef="#ctx0" brushRef="#br0" timeOffset="22991.67">22635 9909 0,'27'26'0,"-14"-13"15,0-13-15,0 0 16,0 0 0</inkml:trace>
  <inkml:trace contextRef="#ctx0" brushRef="#br0" timeOffset="24087.25">23310 9618 0,'-13'-14'0,"-14"28"31,14-1-31,0 0 0,13 0 0,-14 1 16,14 12-16,0-13 0,-13 27 16,13-14-16,13-12 0,-13 12 15,14-13-15,-1 0 0,0 14 0,14-14 16,-14 0-16,26 1 15,-25-14-15,12 0 0,1-14 16,-14 1-16,0-13 16,-13 12-16,13 1 0,-13 0 15,0-13-15,-13-14 16,0 13-16,0-12 0,-1 26 16,1-14-16,0 14 0,0 13 15,-1-13-15,1 13 0,0 0 16,0 0-16,0 13 0,-14 13 15</inkml:trace>
  <inkml:trace contextRef="#ctx0" brushRef="#br0" timeOffset="24285.15">23892 9671 0,'-66'79'0,"13"-26"16,-27 26-16,-39 40 15,80-79-15,-1-14 16,14 14-16,-41 26 16,54-53-16</inkml:trace>
  <inkml:trace contextRef="#ctx0" brushRef="#br0" timeOffset="24482.67">24156 9776 0,'-39'40'16,"26"-27"-16,-1 14 0,-12-14 15,-93 93-15,26-40 16,40-26-16,-26 39 15,-14-13-15,1 27 16,65-67-16</inkml:trace>
  <inkml:trace contextRef="#ctx0" brushRef="#br0" timeOffset="25872.97">10253 5437 0,'-27'0'16,"80"0"-1,40 0 1,65 0-16,-78 0 0,118 0 16,-105 0-16,158 13 15,-119-13-15,14 0 0,0 0 16,131 14-16,-131-14 16,-14 0-16,146 13 0,-185-13 15,12 0-15,81 0 16,39 0-16,-173 0 15,28 13-15,-54-13 0,14 0 16,-80 0 15</inkml:trace>
  <inkml:trace contextRef="#ctx0" brushRef="#br0" timeOffset="26242.74">10636 5609 0,'265'-26'15,"-186"26"-15,106-14 0,54 1 16,-134 13-16,28 0 0,-27 0 15,132 0-15,-27 13 16,-12-13-16,-27 14 16,-40-1-16,-79-13 15,0 0-15,13 0 16,-13 0-16,-40 0 0,14 0 16,-14 0-16,13 0 15,-12 0 1,-14-13-16,13 13 15,-13-14-15,-13 1 16</inkml:trace>
  <inkml:trace contextRef="#ctx0" brushRef="#br0" timeOffset="29596.18">17092 6443 0,'40'0'15,"-14"0"-15,14 0 16,13 0-16,0 0 0,26 0 0,80 0 16,-80-14-16,14 14 15,264 0 1,-264 0-16,-1 0 0,1 0 0,79 0 16,-27 14-1,-79-14-15,-13 0 0,0 0 16,-13 0-16,-14 0 0,1 0 0,-14 0 15,0 0-15,1 13 0</inkml:trace>
  <inkml:trace contextRef="#ctx0" brushRef="#br0" timeOffset="29891.97">17079 6548 0,'53'14'0,"-14"-14"0,54 13 15,-14-13-15,-12 0 0,105 13 16,0 0-16,119 1 16,-199-1-16,1-13 15,145 26 1,-106-12-16,-92-14 0,0 0 15,-14 0-15,0 0 0,-12 13 16,12-13-16,-13 0 16,-52-27-1,25 27 1</inkml:trace>
  <inkml:trace contextRef="#ctx0" brushRef="#br0" timeOffset="30402.97">17052 5371 0,'40'0'16,"-13"0"-16,65 0 16,-39 0-16,119 0 0,0 0 15,13 0 1,14 0-16,-107 0 15,14 0-15,79 0 0,14 0 16,52 0-16,-172 0 16,-26 0-16,40 0 15,-27 0-15,-66 13 16,13-13-16</inkml:trace>
  <inkml:trace contextRef="#ctx0" brushRef="#br0" timeOffset="30867.88">17264 5530 0,'265'-13'0,"-186"13"0,93 0 15,-93 0-15,14 0 0,0 0 16,-1 13-16,80-13 16,0 13-16,0-13 15,-13 13-15,-80-13 0,-13 13 16,-13-13-16,53 0 16,13 14-16,-92-14 15,12 13-15,1-13 16,-27 0-16,14 0 15,-14 0 1,0 0-16,0 0 16,1 0-1,-14-13-15,0-1 47,0 1-16,13 13 1,0-13-32</inkml:trace>
  <inkml:trace contextRef="#ctx0" brushRef="#br0" timeOffset="33930.87">2752 8692 0,'26'0'15,"120"0"-15,-80-14 0,13 14 16,93-13-16,-79 0 0,-1 13 16,14-13-16,79-1 15,-79 14-15,-13-13 0,-1 13 0,-12-13 16,92 0-16,-93 13 16,67-14-16,-80 14 15,-13-13-15,53 13 0</inkml:trace>
  <inkml:trace contextRef="#ctx0" brushRef="#br0" timeOffset="34555.91">6919 8506 0,'26'0'0,"14"0"15,0 0-15,26 0 0,13 0 16,186 0-16,-159-13 15,119 13-15,52-13 16,-144 13-16,144 0 16,-12 0-16,13 0 15,-172 0-15,119-13 16,-93 13-16,80 0 16,-107 0-16,94 0 0,-14 13 15,-92-13-15</inkml:trace>
  <inkml:trace contextRef="#ctx0" brushRef="#br0" timeOffset="34996.03">16484 8559 0,'132'0'0</inkml:trace>
  <inkml:trace contextRef="#ctx0" brushRef="#br0" timeOffset="35863.78">2818 10292 0,'92'0'0,"-52"0"15,13 0-15,-238 0 0,449 0 0,-171 0 16,79 0-16,-66 0 0,26-13 16,0 13-16,279-13 15,-266 13-15,159-13 16,1-1-16,-14 1 15,0 0-15,-146 13 0,-13 0 16,14-13-16,-14 13 16,-26-14-16,26 14 0</inkml:trace>
  <inkml:trace contextRef="#ctx0" brushRef="#br0" timeOffset="36851.72">11126 9962 0,'608'-14'16,"27"14"-1,-529 14-15,0-14 0,-13 0 0,12 0 16,94 0-16,-107 0 0,1 0 15,-14 13-15,1-13 0,92 0 16</inkml:trace>
  <inkml:trace contextRef="#ctx0" brushRef="#br0" timeOffset="37844.9">14221 10001 0,'40'13'0,"-13"-13"0,78 0 16,41 0-16,-54 0 15,-12-13-15,12 13 0,94 0 16,-107-13-16,14 13 16,79 0-16,-80-13 15,-12 13-15,78 0 0,-12 0 0,-93 0 16,53 0-16,26 13 31,-119 0-31</inkml:trace>
</inkml:ink>
</file>

<file path=ppt/ink/ink203.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45:28.028"/>
    </inkml:context>
    <inkml:brush xml:id="br0">
      <inkml:brushProperty name="width" value="0.05292" units="cm"/>
      <inkml:brushProperty name="height" value="0.05292" units="cm"/>
      <inkml:brushProperty name="color" value="#0070C0"/>
    </inkml:brush>
  </inkml:definitions>
  <inkml:trace contextRef="#ctx0" brushRef="#br0">4657 3003 0,'13'0'47,"0"13"0,14-13-16,-14 0-15,13 0-16,14 27 16,0-27-16,13 0 15,79 13 1,-79 0-1,-14-13-15,14 0 0,0 13 16,-39-13-16,12 0 16,-26 14-1,13-14 17,0 0-1</inkml:trace>
  <inkml:trace contextRef="#ctx0" brushRef="#br0" timeOffset="6377.82">17806 2064 0,'0'-13'0,"0"39"32,14-13-32,-14 0 0,0 27 15,0-13-15,0-1 16,0 0-16,0 1 0,-14-1 0,14 27 15,0-26-15,-13-14 0,13 13 16,0 1-16,-13-1 0,13-12 16,0-1-16,-13 0 0,26-13 0,-13 13 15</inkml:trace>
  <inkml:trace contextRef="#ctx0" brushRef="#br0" timeOffset="6686.12">18164 2222 0,'-14'-13'15,"1"13"-15,-13 0 0,-54 27 16,41-14-16,12 0 16,-12 14-16,12-14 0,1 0 15,-14 14-15,27-14 0,-14 0 16,14 0-16,13 0 15,-13 1-15,26 12 16,0-26-16,0 13 16,1-13-16,-1 0 0,0 0 15,14 0-15,-14 0 0,0 0 16,14 0-16,-1 0 0,-13 0 0,14-13 16,-1 13-16,14 0 0,-14 0 0,1-13 15,-1 13-15,27-13 16,-26 13-16</inkml:trace>
  <inkml:trace contextRef="#ctx0" brushRef="#br0" timeOffset="8266.18">18918 2289 0,'-66'-40'16,"52"40"-1,1 13-15,0-13 0,13 13 0,-13-13 16,-14 27-16,14-14 15,13 0-15,-13 1 0,13-1 16,-14 13-16,14-13 16,0 1-16,14-1 0,-14 0 15,13 0-15,0-13 16,14-13 0,-14 13-16,0-13 15,0 13-15,-13-13 0,14-1 16,-1 1-16,0 0 15,-13 0 1,13 13-16,-13-13 16,0-1-16,13 1 15,-13 40 95,0-14-110,14 13 15,-1 1 1,13-27 0,-26-14-1,14 14-15,-1 0 16,0-13-1,0 13 1,1 13-16,-1-13 31,0 0-31,0 14 32,0-14-17,-13 13 16,14-13-15,-1 0 0,13-13-1,14-14 1</inkml:trace>
  <inkml:trace contextRef="#ctx0" brushRef="#br0" timeOffset="8597.54">19354 2236 0,'14'13'32,"-14"0"-17,0 0 1,13-13-16,-13 14 0,0-1 16,0 0-1,-13-13 16,-1 13-31,-25 1 32,39-1-32,-27 0 15,14 0-15,0 0 16,13 1 0,13-14-1,13 0 1,14 0-1,-27-14-15,27 14 0,-14-13 16,-12 13-16</inkml:trace>
  <inkml:trace contextRef="#ctx0" brushRef="#br0" timeOffset="9117.83">20055 2064 0,'0'-13'16,"-26"26"-16,13 13 15,-1 1-15,1-14 16,13 13-16,-13-12 0,13-1 15,0 0-15,0 0 0,0 0 0,0 14 16,13-1-16,0-26 16,-13 14-16,14-14 0,12 13 15,1-26-15,-1-1 16,-13 14-16,1-26 0,12-14 16,-13 14-16,0-40 15,1 26-15,-14 0 16,0 1-16,0-14 0,0 39 15,-14-25-15,14 26 0,0-1 16,-13 14 0,0 14-16,0 12 15,0 0-15,-1 27 16,14-26-16,0-14 16,0 53-16,0-39 0,0-1 15,14-13-15,-1 27 0,0-27 16,0 14-16,0-14 0,1-13 15,25 26-15,1-26 16,13 0-16,-13 0 16,-1-13-16,41 0 0</inkml:trace>
  <inkml:trace contextRef="#ctx0" brushRef="#br0" timeOffset="9338.21">21048 2090 0,'26'-26'0,"1"26"0,-1-13 16,-105 52-16,198-78 0,-93 25 15,1 14-15,12 0 0,14 0 16,-26 0-16,-14 0 15,0 0-15</inkml:trace>
  <inkml:trace contextRef="#ctx0" brushRef="#br0" timeOffset="9526.29">21087 2196 0,'53'-13'0,"13"13"16,-39-13 0,39 13-16,-13-14 15,26 1-15,-52 13 16,39-13-16</inkml:trace>
  <inkml:trace contextRef="#ctx0" brushRef="#br0" timeOffset="9892.96">22119 1918 0,'0'-13'16,"0"26"-16,-13-26 0,0 0 16,-1 26-1,1-13-15,13 13 16,-13-13-16,0 13 0,0 14 15,-1-1-15,14-12 0,-13 12 16,13-13-16,13 14 16,1-14-16,-1-13 0,-13 13 15,13 0-15,0-13 0,40 14 16,-40-14-16,1 0 16,25-14-16,-25 1 15,-1 0-15,0-13 16,-13 12-16,0 1 0,0 0 15,0-27-15,0 27 16,-13 0-16,13-1 0,-13 1 0,-14 0 16,1 13-16,-14 0 15,13 0-15,-65 13 0,13 14 16</inkml:trace>
  <inkml:trace contextRef="#ctx0" brushRef="#br0" timeOffset="10403.23">18150 3492 0,'14'53'16,"-14"-26"-16,0-1 0,-14 1 15,14 39-15,-13-13 16,0 26 0,0-39-16,13-14 15,-13-12-15,13 12 0,13-13 16,0-13 0</inkml:trace>
  <inkml:trace contextRef="#ctx0" brushRef="#br0" timeOffset="10689.55">18666 3598 0,'-26'-13'16,"-14"26"-16,-26 14 16,-27-1-16,-39 40 15,66-26 1,0 0-1,39-1-15,27 1 32,14-27-32,91 14 31,-91-27-31,52 0 16,40-27-16,13-12 15,-53-1 1</inkml:trace>
  <inkml:trace contextRef="#ctx0" brushRef="#br0" timeOffset="11000.21">18984 3598 0,'-106'119'16,"93"-105"-1,13 25-15,39 14 16,-12-26 0,13-14-16,13-13 15,-40-13 1,26-1-16,-39 1 16,14-26-1,-120-147-15,198 332 0,-118-186 16,-14 0-1,27 27-15,0 0 0,-14 13 16,14 0-16,-13 0 16</inkml:trace>
  <inkml:trace contextRef="#ctx0" brushRef="#br0" timeOffset="11472.42">19222 3625 0,'40'39'16,"-27"-25"-16,0 12 15,-13-13-15,13 40 16,1-26-16,-14-14 16,0 13-16,0 1 15,0-14 1,0-53 15,26-26-31,14 0 16,-27 40-16,0-1 15,-198 1-15,410-1 0,-212 14 16,14 0-16,-1 13 16,-13 0-16,0 0 15,-39 40 1,0-1-16,-27 14 15,0 0 1,40-26-16,-1-14 0,1 0 16,13 0-1,13 0 1,14-13-16,-1 0 16,-13 0-16,14 0 0,-1 0 15,14 0-15,-27-13 0,40 0 16,-26 0-1,-14 13-15,13-13 16,-12-1-16</inkml:trace>
  <inkml:trace contextRef="#ctx0" brushRef="#br0" timeOffset="11951.37">20346 3387 0,'-39'26'0,"26"-13"16,-14 14-16,14-14 0,-14 53 15,-12 0-15,39-39 16,-14 12-16,14-12 0,-13 26 16,13-27-16,27 14 15,-1 0-15,-13-27 0,1-13 16,52 13-1,-40-26-15,27 0 0,0-40 16,-26 26-16,-14-12 0,0-1 16,0-13-16,0 0 0,-13 13 15,0-52-15,-13 52 16,0-26-16,0 53 0,0-14 16,-1 1-16,1 26 15,0 0-15,0 13 16,-54 80-16,107-159 0,-53 92 15,0 0-15,-1 41 0,14-28 0,0-12 16,0-1-16,0 1 0,0 12 16,14 41-16,-14-41 0,13-12 15,0 13-15,-13-27 0,13 26 16,14 1-16,-27-27 16,13-13-16,0 14 0,14-14 15,-1 0-15,27 0 16,-13-27-16,-14 14 15</inkml:trace>
  <inkml:trace contextRef="#ctx0" brushRef="#br0" timeOffset="12169.12">21206 3625 0,'27'-27'16,"-14"27"-16,0 0 0,0 0 15,1 0-15,25 0 0,-12 0 16,-1 14-16,-12-14 16,-14 13-16,0 0 15</inkml:trace>
  <inkml:trace contextRef="#ctx0" brushRef="#br0" timeOffset="12311.1">21206 3784 0,'-13'0'0,"26"13"16,-13-26-16,14 39 0,-1-26 0,0 0 16,27 0-16,-14 0 0,1 0 15,26 0-15,13 0 16</inkml:trace>
  <inkml:trace contextRef="#ctx0" brushRef="#br0" timeOffset="12707.03">22344 3373 0,'13'-39'0,"14"12"0,-67 93 15,106-145-15,-53 79 0,1 0 16,12 0-16,1 27 15,-1-14-15,0 26 0,-26-25 16,14 39-16,-28-27 0,14 14 16,-26 39-16,13-52 0,0 12 15,-1-12-15,-25 39 16,12-13-16,14-27 0,13-13 16,-13 14-16,0-14 15,13 0-15,0 14 0,-14-14 16,14 0-16,0 1 15,0-1-15</inkml:trace>
  <inkml:trace contextRef="#ctx0" brushRef="#br0" timeOffset="12833.4">22450 4194 0,'0'13'16,"26"-26"15,-26-1-31,-26 28 0,66-28 15,-27 1-15</inkml:trace>
  <inkml:trace contextRef="#ctx0" brushRef="#br0" timeOffset="17488.5">19473 5794 0,'-26'14'62,"13"-1"-62,-1-13 16,-52 53-16,40-40 16,13 0-16,-14 0 15,14-13-15,0 27 0,-14-27 0,1 26 16,26-12-16,-13-14 0,-1 13 15,14 0-15,-13-13 16,26 26-16,1-26 16,-1 0-16,0 14 0,0-14 15,40 0-15,-26 0 16,-1 0-16,53 0 0,1 0 16,-1-14-16,-39 14 15,-14 0-15,1 0 16,-14 0-16,40-13 15,-40 13-15,0-13 0,1 0 16,-1 13-16,-13-13 0,13-1 16,-13 1-16</inkml:trace>
  <inkml:trace contextRef="#ctx0" brushRef="#br0" timeOffset="17717.14">19619 5689 0,'-27'66'0,"54"-132"16,-80 198-16,40-106 0,-1 14 15,-12 39-15,0 1 0,12-41 16,1 1-16,0 0 16,13-14-16,-13 1 0,-1-1 0,14-13 15,-13 27-15,0-27 16,13 1-16,0-1 0,0 0 0,0 0 15,-13 0-15,13 1 16</inkml:trace>
  <inkml:trace contextRef="#ctx0" brushRef="#br0" timeOffset="18021.16">18706 6615 0,'0'0'0,"40"-14"16,-27 14-16,27 0 16,105-13-16,-92 0 15,93 0-15,-93 13 16,145-27-16,-119 27 15,-26-13-15,93 0 16,-54 13-16,-52 0 16,-13 0-16,-14 0 15,-13 13 1,-13 0-16</inkml:trace>
  <inkml:trace contextRef="#ctx0" brushRef="#br0" timeOffset="18464.87">19235 7064 0,'53'-26'16,"-106"39"15,40-13-31,-13 0 16,12 13-16,-12-13 0,13 14 16,-1-14-16,-12 13 0,13 0 15,13 0 1,0 1-1,13-1-15,0 0 16,0-13-16,14 26 16,-14-12-16,0-1 15,1 0-15,-14 0 16,-14 14 0,-12-1-16,13-26 15,-1 13-15,1 1 0,-13-1 16,12 0-16,1-13 15</inkml:trace>
  <inkml:trace contextRef="#ctx0" brushRef="#br0" timeOffset="18745.47">19460 7078 0,'40'26'0,"-53"14"16,-1-27 0,1 0-16,0 0 15,0 14-15,-1-1 16,14-12-16,0-1 16,14-13-16,-14 13 15,26-13-15,1 0 16,-14 0-16,40 0 0,-40 0 15,40-13-15,-40 13 16,27 0-16,13 0 16,-27 13-16,-13-13 15</inkml:trace>
  <inkml:trace contextRef="#ctx0" brushRef="#br0" timeOffset="19295.5">20677 7210 0,'13'-13'0,"-39"13"15,0 0-15,-14 0 16,13 13-16,-26-13 15,14 0-15,-14 13 0,26-13 16,14 0-16,-13 13 0,-1-13 16,1 14-16,-14-14 15,14 13-15,12-13 16,1 13-16,0-13 16,0 13-1</inkml:trace>
  <inkml:trace contextRef="#ctx0" brushRef="#br0" timeOffset="19558.15">20307 7197 0,'-40'13'16,"14"0"-16,12 0 0,-12 1 15,13 12-15,-14 0 16,27 1-16,-13-14 16,13 14-16,13-1 15,-13-13-15,13 1 16,14-1-16,-14 0 0,0-13 16,14 0-16,-1 13 0,1-13 0,26 0 15,-27 0-15,1 0 16</inkml:trace>
  <inkml:trace contextRef="#ctx0" brushRef="#br0" timeOffset="22714.14">20571 5794 0,'80'-13'16,"-54"13"-16,1 0 0,26 0 15,-14-13-15,14 13 0,0 0 0,0 0 16,93 0 0,-107 0-16,-12 0 0,12-13 15,14 26-15,-26-26 0,26 13 16,-40 0-16,0 0 0,14 0 16,-14 0-1,0 0-15,-53 0 31,27 0-15</inkml:trace>
  <inkml:trace contextRef="#ctx0" brushRef="#br0" timeOffset="23129.06">20809 5583 0,'-52'26'0,"25"-26"16,14 13-16,-27 14 0,14-14 16,-1 0-16,1 14 0,-14 12 15,14-25-15,12-1 0,-12 13 16,26-12-16,-13-1 16,13 0-16,0 27 15,13-27-15,0 0 0,0-13 0,27 27 16,-13-14-1,-14-13-15,13 0 0,27 13 16,0 0-16,-13 1 16,-1-1-16,-12 0 15,-14-13-15</inkml:trace>
  <inkml:trace contextRef="#ctx0" brushRef="#br0" timeOffset="28895.31">5001 6376 0,'-27'0'0,"27"14"0,53-1 47,-26-13-47,-14 0 0,13 0 16,1 0-16,-14 0 0,13 0 0,14 13 15,-13-13-15,-14 0 16,0 0-16,0 0 0</inkml:trace>
  <inkml:trace contextRef="#ctx0" brushRef="#br0" timeOffset="29118.09">4961 6654 0,'13'14'15,"14"-14"-15,-14-14 0,0 14 16,0 0-16,1 0 0,-1 0 15,13 0-15,-13 0 16,1 0-16,-1 0 0,0 0 0,0 0 16,1 0-16,-1 0 15</inkml:trace>
  <inkml:trace contextRef="#ctx0" brushRef="#br0" timeOffset="31238.09">6310 6297 0,'14'0'16,"-41"13"-1,14 1 1,-14-1-16,14 0 0,-40 27 16,0-1-16,14-25 15,-14 25-15,39-12 0,-12-14 16,13 0-16,0 0 0,-1 1 15,14-1-15,-13-13 16,13 13-16,0 0 16,13 1-16,1-14 0,25 13 15,-12-13-15,26 0 16,-27 0-16,14 0 0,-14-13 16,93 13-16,-66-14 15,-26 14-15,12 0 16,-12-13-16,-1 13 15,1 0-15,-27-13 16,13 13 0</inkml:trace>
  <inkml:trace contextRef="#ctx0" brushRef="#br0" timeOffset="31523.22">6310 6284 0,'-13'26'15,"13"-12"-15,0-1 0,0 40 16,0 13-16,-13-26 0,13 65 31,0-38-31,0-41 0,0 0 16,0 14-16,0-27 0,0 14 15,0-14-15,0 0 0,0 0 16,0 1-16,0-1 0</inkml:trace>
  <inkml:trace contextRef="#ctx0" brushRef="#br0" timeOffset="31915.33">5583 7078 0,'39'-14'0,"28"1"0,25 0 16,54 0-16,-67-1 16,93 1-1,66 0-15,-158 0 16,131 13-16,-158-13 15,53 13-15,-53 0 16,13 0-16,-26 0 16,13 13-1,-27-13 1,-13 0-16</inkml:trace>
  <inkml:trace contextRef="#ctx0" brushRef="#br0" timeOffset="32768.15">8057 6575 0,'13'66'31,"-13"-39"-16,0-14-15,13 13 0,-13 1 0,0 26 16,13-1-16,-13-25 16,13-1-16,-13 1 0,14-14 15,-14 0-15,0 14 0,0-14 16</inkml:trace>
  <inkml:trace contextRef="#ctx0" brushRef="#br0" timeOffset="32957.26">7845 6826 0,'93'-13'15,"-67"13"-15,93-26 0,-79 26 16,39-14-1,14 1-15,-54 0 0</inkml:trace>
  <inkml:trace contextRef="#ctx0" brushRef="#br0" timeOffset="33410.21">9551 6350 0,'0'13'16,"0"0"-16,-13 1 0,-13 12 16,-40 67-1,39-80-15,14 13 16,0-12-16,-1-1 0,1 13 0,0 1 16,0-27-16,13 13 0,0 0 15,0 1-15,26-1 16,-13-13-16,1 13 0,12-13 15,-13 0-15,54 13 0,-1-26 16,-27 13-16,14 0 16,-13 0-16,13 0 0,26-13 15,-26 0-15,-13-1 16,-27 14-16,14-13 16,-14 0-16</inkml:trace>
  <inkml:trace contextRef="#ctx0" brushRef="#br0" timeOffset="33623.08">9644 6324 0,'-26'158'0,"26"-39"16,13-52-1,-13-41-15,0 14 0,0-14 16,0 1-16,0 25 0,0-38 16,0 12-16,13 1 15</inkml:trace>
  <inkml:trace contextRef="#ctx0" brushRef="#br0" timeOffset="34061.87">9155 7236 0,'224'-26'16,"-171"26"-1,14 0-15,12-13 0,0 13 0,80-14 16,-66 1-16,65 13 16,-91-13-16,12 13 0,-13 0 15,53-13-15,-26 13 16,-67-13-16,1 13 0,-1 0 16,14 0-16,-27 0 15,0 0-15</inkml:trace>
  <inkml:trace contextRef="#ctx0" brushRef="#br0" timeOffset="37042.51">6085 7422 0,'27'26'0,"-1"-26"15,1 0 1,-14 0-1,0 0-15,0 0 16,1 0-16,-1 0 0,-26 0 47,-1 13-47,1-13 0,0 0 16,-27 13-16,14 1 0,-14-1 15,14-13-15,12 13 16,-25-13-16,26 13 0,-1-13 15,1 14-15,0-1 16,26 0 0,0 0-1,1-13-15,12 14 0,-13-14 16,0 13-16,27 0 0,0 13 16,-27-12-16,0-14 0,1 13 15,-1 0-15,0-13 0,0 27 16,-13-14-1,-13 13-15,0-12 16,0-1-16,-14-13 16,1 13-16,-1 0 0,14-13 15,-14 0-15,-12 0 16,26 0-16,-1 0 0,-12 0 16,13-13-1</inkml:trace>
  <inkml:trace contextRef="#ctx0" brushRef="#br0" timeOffset="37545.62">6390 7501 0,'79'0'0,"-66"13"0,1 0 16,-1 1-16,-13-1 0,0 13 16,-27 67-1,-12-27 1,12-26-16,1-14 16,12-13-16,14 1 15,-13-14-15,13 13 0,13-13 31,14 0-31,-1-13 16,14 13-16,-13-14 16,12 1-16,1 0 15,-14 13-15,-12-13 0,12 13 16,1-13 0,-14 13-16,0 0 15</inkml:trace>
  <inkml:trace contextRef="#ctx0" brushRef="#br0" timeOffset="38957.93">9631 7580 0,'26'-13'0,"-12"13"0,-1-13 16,13 13-16,-13 0 16,27 0-16,-27-13 0,14 13 15,-14 13 1,-26 0-1,-40 0 1,40-13-16,-14 14 0,1-14 16,-1 13-16,14-13 15,0 0-15,-14 13 16,41 0 15,39 0-31,-14 1 16,1-14-1,-14 13-15,-12 0 16,-1-13-16,0 13 0,-13 1 16,-40 12-1,1 1-15,-1-14 16,-13 0-16,13 0 16,1-13-1,-1 13-15,14-13 16,12-13-1</inkml:trace>
  <inkml:trace contextRef="#ctx0" brushRef="#br0" timeOffset="39385.87">10107 7567 0,'53'27'15,"-53"-14"-15,0 0 16,0 0-16,-26 40 16,12-40-16,-12 27 15,13-27-15,13 1 0,-14-1 16,14 0-16,14 0 16,-1-13-1,0 0-15,14 0 0,12 0 16,14-13-16,0 13 15,-13 0-15,-14-13 16,40 13-16,-26-13 16,-27 13-16,14 0 15,-14 0-15</inkml:trace>
  <inkml:trace contextRef="#ctx0" brushRef="#br0" timeOffset="41521.32">5887 5106 0,'0'27'0,"0"-14"0,0 27 16,13-27-16,-26 14 15,13-14-15,0 13 0,0 1 16,0 12-16,0-12 0,0-14 16,0 14-16,-13-14 0,13 13 15,0-13-15,-13 14 0,13-14 16,0 0-16</inkml:trace>
  <inkml:trace contextRef="#ctx0" brushRef="#br0" timeOffset="41837.58">6231 5212 0,'-93'27'16,"40"-1"-16,27-13 0,-1 1 15,1 12-15,0-13 16,12 1-16,1-1 0,0 0 16,13 0-16,-13-13 0,26 14 15,-13-1 1,13-13-16,14 0 16,-1 13-16,-13-13 0,27 0 15,-27-13-15,0 13 16,27 0-16,-27 0 0,14 0 15,-14-13-15</inkml:trace>
  <inkml:trace contextRef="#ctx0" brushRef="#br0" timeOffset="43038.77">6178 5636 0,'93'0'0,"-80"0"0,13-14 16,-12 14-16,12-13 0,0 13 0,1-13 15,13 0-15,-14-1 16,14-12-16,-14 13 16,-13 0-16,14-14 0,-14 1 0,14-14 15,-14 14 1,-13-1-16,13-13 0,-13-39 16,0-14-16,-13-12 15,0 52-15,-1 13 0,-12 0 16,-1 1-16,-39-28 0,13 28 15,14 12-15,-1 14 0,-26 0 0,-40 0 16,-13 13 0,53 0-16,13 13 0,-13 0 0,13 13 15,-66 27-15,13 27 16,53-41-16,0 14 0,-26 40 16,52-40-16,1 0 0,13 0 15,-14 26-15,27-39 16,13 0-16,1-1 0,-1 1 15,66 66-15,-39-80 16,-14 1-16,67 12 0,-53-25 16,52 12-16,1-13 15,-14 0-15,-52-13 16,-14 0-16,13 14 0,1-14 16,-14 0-16,0 0 0</inkml:trace>
  <inkml:trace contextRef="#ctx0" brushRef="#br0" timeOffset="43784.88">6628 6826 0</inkml:trace>
  <inkml:trace contextRef="#ctx0" brushRef="#br0" timeOffset="46367.49">8136 6641 0,'-13'-13'0,"13"0"31,0-1 63,0 41 0,0-14-94,0 14 0,0-14 15,0 0-15,0 13 0,0 1 0,0-14 16,0 14-16,0-14 0,0 13 15,0 14-15,0-27 16,0 0-16,0 1 0,0-1 0,0 0 16,0 0-16</inkml:trace>
  <inkml:trace contextRef="#ctx0" brushRef="#br0" timeOffset="46624.87">7964 6813 0,'53'-13'0,"-27"13"15,-12 0-15,25-13 16,-26 13-16,1 0 16,25-14-16,-12 14 15,-1-13-15</inkml:trace>
  <inkml:trace contextRef="#ctx0" brushRef="#br0" timeOffset="48173.13">9644 5014 0,'-26'-27'0,"12"41"16,14-1-1,-13 0-15,0 53 16,13-13-16,0-26 16,0-1-16,0 27 0,0-27 15,13 27 1,0-26-16,-13-14 0,14 0 0,-1 1 15,0-14-15,0 13 0,1-13 16,-1 0-16,0 0 0,0 0 0,14-13 16,-1 13-16,1-27 0,-1 14 15,0-14-15,-12 1 0,-1-1 0,13-39 16,-12 27-16,-14-41 16,-14 41-16,14-1 0,-13 0 0,-27-26 15,27 40-15,-13-14 16,13 27-16,-1-1 15,1 1-15,0 13 0,-14 0 16,14 0-16,0 13 0,13 1 16,-13 12-16,0 27 15,13-40-15,13 53 16,0-26-16,-13-13 0,13 12 16,14-12-16,-14 12 0,13-12 15,27 52-15,-26-52 0,12 12 16,-12-25-16,-14 12 15,0-13-15,14 1 0,-14-1 16,0 0-16,-13 0 16,13-13-16,1 13 15,-1-13 1,-13 14-16,13-14 31</inkml:trace>
  <inkml:trace contextRef="#ctx0" brushRef="#br0" timeOffset="49577.13">9631 6337 0,'0'-27'0,"-27"41"93,14-1-93,0 0 16,0 0-16,13 0 0,-14 1 16,1-1-16,0 0 0,0 14 15,-14-1-15,14 1 0,-13-1 16,12 0-16,1 1 0,-13-14 0,12 27 16,1-27-16,0 0 0,13 1 15,-13-1-15,13 0 0,-13 0 16,13 0-16,-14 1 15,28-14-15,-14 13 16,13-13-16,13 0 16,-13 0-16,1 0 0,-1 0 15,13 0-15,-12 0 0,78-27 16,-65 27 0,-1 0-16,1-13 0,-1 13 15,1-13-15,-14 13 16,13-13-16,-13 13 15</inkml:trace>
  <inkml:trace contextRef="#ctx0" brushRef="#br0" timeOffset="49798">9684 6403 0,'13'159'0,"-13"-120"16,13 41-16,-13-1 15</inkml:trace>
  <inkml:trace contextRef="#ctx0" brushRef="#br0" timeOffset="51083.88">6152 9565 0,'26'0'16,"-13"0"-16,14 0 0,-1 0 16,1 0-16,52-14 0,-39 14 15,13 0-15,-14 0 0,-12 0 16,-1-13-16,1 26 0,26-13 15,-40 14-15</inkml:trace>
  <inkml:trace contextRef="#ctx0" brushRef="#br0" timeOffset="51269.01">6006 9882 0,'40'0'0,"-27"-13"0,27 13 0,13-13 16,-1 13-16,1-14 0,66 1 16,-66 13-16,14-13 0,-15 13 15,1 0-15,14 0 0,52-13 16,-40 13-16</inkml:trace>
  <inkml:trace contextRef="#ctx0" brushRef="#br0" timeOffset="51955.33">8215 9459 0,'-79'-13'16,"79"52"-16,0-25 0,53 65 31,-13 14-31,-27-41 16,-13-38-16,-13 52 15,13-53-15,-14 13 16,1-12-16,0-1 16,0-13-16,-1 0 15,1 0-15,0-13 16,13-1-16,0 1 16,13-13-16,27-40 15,13-27 1,-14 40-16,-25 27 15,-1-27-15,0 0 16,-26 26-16,0-12 16,-1 25-16,-12 1 15,-27-13-15,27 13 0,-27-1 16,26 14-16,-12 0 16,-14 14-16,26-1 15,14 13-15,0-13 16,0 54-16,26-14 15</inkml:trace>
  <inkml:trace contextRef="#ctx0" brushRef="#br0" timeOffset="52287.36">7660 10398 0,'66'-26'16,"-40"26"-16,54-27 15,-41 14-15,14 0 0,40-14 16,13 14-16,-67 0 0,67 0 16,-53-1-16,0 14 0,40-13 15,-67 13-15,14 0 16,-1 13-16,-25-13 0,12 14 16</inkml:trace>
  <inkml:trace contextRef="#ctx0" brushRef="#br0" timeOffset="52711.04">8057 10544 0,'-53'0'0,"26"0"0,14 13 16,-13-13-16,-1 13 15,1 0-15,12 1 0,1-1 16,26 0-1,1 0-15,12 0 16,14 14-16,-27-14 16,27 0-16,-14 14 15,1-1-15,-27-12 16,0-1-16,0 0 16,-40 27-1,27-27-15,-14 13 0,1 1 16,13-27-16,-14 13 15</inkml:trace>
  <inkml:trace contextRef="#ctx0" brushRef="#br0" timeOffset="53006.85">8215 10649 0,'27'40'16,"-40"-27"-16,-14 54 15,14-41-15,13 0 16,-13 1-16,13-14 16,0 0-16,0 1 15,13-14 1,0 13-16,14-13 15,-14 0-15,13-13 16,14 13-16,66-27 16,-67 14-16,80-40 15</inkml:trace>
  <inkml:trace contextRef="#ctx0" brushRef="#br0" timeOffset="53515.12">9472 10054 0,'93'-53'0,"-67"40"16,1 13-16,-14 0 0,0 0 15,14 0-15,-14 13 16</inkml:trace>
  <inkml:trace contextRef="#ctx0" brushRef="#br0" timeOffset="53696.85">9499 10253 0,'13'0'15,"40"-14"1,-40 14-16,27-13 16,-14 13-16,27-13 15,-13 13-15,13-13 16,13 13-16,-53 0 15</inkml:trace>
  <inkml:trace contextRef="#ctx0" brushRef="#br0" timeOffset="87930.92">16140 7924 0,'0'-26'0,"0"13"15,-14 13 1,14 26 0,14-13-1,52 106 1,-53-79-16,0 0 0,14-14 0,-1 54 16,-13-54-1,1 0-15,-14 1 0,0-14 0,0 0 16,0 27-16,-14-27 0,14 1 15,-13-1-15,0-13 16,0 0-16,-1-13 16,1 13-16,13-14 15,13-25 1,1 25-16,-14-12 0,26-1 0,-13 1 16,1 0-16,25-27 15,-12 39-15,-14-12 0,-13-1 0,13 14 16,-13-13-16,0 13 0,0-14 0,0 14 15,0-14-15,-13 1 16,0 13-16,-1 0 0,-12-1 16,13 1-16,-14 13 0,14-13 0,-13 13 15,-1 0-15,1 0 0,12 0 0,-12 0 16,13 0-16,-14 0 0,14 0 16,0 0-16,13-13 0,-13 13 0,13-14 15</inkml:trace>
  <inkml:trace contextRef="#ctx0" brushRef="#br0" timeOffset="88316.85">16100 7474 0,'-278'278'15,"252"-212"1,-1 1-16,1-1 0,12 13 0,1 0 15,13 1-15,0-14 0,0 0 0,13 0 16,14 0-16,-1-13 0,54 40 16,-41-53-16,14-14 0,0 1 0,0-1 15,-13-13-15,13 0 16,0-13-16,0 0 0,13-13 0,0 0 0,-13-13 16,0-1-16,13 1 0,-26-14 15,13 0-15,-1-13 0,-12 0 16,-13 1-16,12-1 0,-12-14 0,-14 15 15,0-15-15,0-38 0,-13 65 16,-13 0-16,0 1 0,0-1 16,-14 0-16,-12 14 0,-1-14 0,-13 14 15,13-1-15,-13 14 0,0 0 0,14-1 16,-14 1-16,13 13 0,-13-13 16,14 13-16,-1 0 0,13 0 15,1 0-15,-1 0 0,-25 13 16,38-13-16</inkml:trace>
  <inkml:trace contextRef="#ctx0" brushRef="#br0" timeOffset="89716.06">16867 10636 0,'40'-13'16,"-27"13"-16,0 0 0,1 0 15,12 0-15,-13 0 0,0-13 0,1 13 16,39 0-1,-40 0-15,-40 13 32,-12 0-17,25-13-15,-12 13 0,13-13 16,-14 14-16,14-14 0,-13 13 0,12-13 16,1 13-16,0-13 0,13 13 0,-13-13 15,13 14-15,0 12 16,13-13-16,0 1 15,0-14-15,14 13 0,-14 0 0,0 0 16,14 0-16,-14 1 16,0-1-16,14 13 0,-27-12 15,13-1-15,-13 0 16,0 0-16,-13-13 0,13 14 16,-14-1-16,14 0 0,-13 0 0,0-13 15,0 27-15,0-27 0,-1 13 16,1-13-16,0 0 15,13 13-15</inkml:trace>
  <inkml:trace contextRef="#ctx0" brushRef="#br0" timeOffset="90018.31">17449 10649 0,'13'14'16,"-26"-1"-16,0 0 0,-27 27 15,14-14-15,-1 1 16,14-1-16,0-13 0,0 1 16,0-1-16,-1 0 0,14 0 0,0 1 0,-13-1 15,13 0 1,13 0-16,1-13 0,-1 0 15,26 0-15,1 0 16,13 0-16,-27-13 16,1 13-16,26-26 15,-27 26-15,-12-14 0,-1 1 16</inkml:trace>
  <inkml:trace contextRef="#ctx0" brushRef="#br0" timeOffset="90316.78">16775 10385 0,'-119'225'0,"119"-172"0,-14 13 15,14-13-15,14 0 16,52 105-16,0-65 16,40-27-16,-1-26 15,-52-27-15,0-13 16,40 0-16</inkml:trace>
  <inkml:trace contextRef="#ctx0" brushRef="#br0" timeOffset="90552.28">18045 10239 0,'145'80'0,"-92"-14"16,-13 0-16,-40-13 15,-14 92-15,-12-92 16,0 0-16,-41 40 0,41-40 16,-14-13-16,1-1 0,-54 27 15,27-26-15</inkml:trace>
  <inkml:trace contextRef="#ctx0" brushRef="#br0" timeOffset="91296.9">16470 9260 0,'-79'159'0,"79"-106"16,0-26-16,0-1 16,13 0-16,-13 1 0,13 26 15,1-40-15,25 40 16,-12-40-16,-14 0 0,0-13 0,0 0 16,40 0-1</inkml:trace>
  <inkml:trace contextRef="#ctx0" brushRef="#br0" timeOffset="91693.35">16814 9300 0,'14'13'15,"-14"1"-15,0 38 32,0-25-32,0-14 0,0 14 0,0-1 15,0 14-15,0-27 16,0 0-16</inkml:trace>
  <inkml:trace contextRef="#ctx0" brushRef="#br0" timeOffset="91966.3">17158 9327 0,'-13'-14'0,"0"14"16,0 14-16,-14-14 0,-13 13 15,27 0-15,-13 0 16,12 0-16,-25 14 0,26-14 16,-1 0-16,1 1 0,13-1 15,-13 0-15,13 0 0,0 1 16,0-1-16,0 0 0,13-13 16,0 13-16,1 0 15,-1-13-15,0 0 0,0 14 16,14-14-16,-1 0 0,1-14 15,-14 14-15,13 0 16</inkml:trace>
  <inkml:trace contextRef="#ctx0" brushRef="#br0" timeOffset="92197.09">17423 9313 0,'13'14'16,"-13"-1"-16,13 0 15,-13 0-15,0 40 16,0-26-16,-13-1 16,0 1-16,0 25 0,-1-38 0,1 12 15,0 1-15,0-14 0,-1 0 16,1 0-16,13 1 0,-13-1 15</inkml:trace>
  <inkml:trace contextRef="#ctx0" brushRef="#br0" timeOffset="92445.75">17648 9221 0,'26'66'16,"-39"-13"-16,0 0 16,13-27-16,-14-13 15,14 14-15,-13-1 0,13-12 0,0-1 16,-13 0-16,13 0 0</inkml:trace>
  <inkml:trace contextRef="#ctx0" brushRef="#br0" timeOffset="92696.13">17912 9274 0,'-53'26'0,"40"-13"15,-27 1-15,27-1 16,0 0-16,0 0 0,0 0 16,13 1-16,-14-1 0,1 13 15,0-12-15,26 12 16,-13-13 0,13-13-16,14 0 15,-27 14-15,13-14 0,0 0 16,0 0-1</inkml:trace>
  <inkml:trace contextRef="#ctx0" brushRef="#br0" timeOffset="92863.01">18071 9446 0,'13'13'0,"-13"13"16,0-12-16,0-1 0,-13 0 15,13 0-15,-13 0 0,0 1 16,-1-1-16,1 13 0,13-12 16,-13-1-16</inkml:trace>
  <inkml:trace contextRef="#ctx0" brushRef="#br0" timeOffset="93080.18">18481 9234 0,'0'26'16,"0"-12"-16,0-1 16,-13 0-16,0 27 0,-1-14 15,-12 1-15,13 12 0,0-12 16,-14 13-16,14-14 15</inkml:trace>
  <inkml:trace contextRef="#ctx0" brushRef="#br0" timeOffset="93328.76">18680 9287 0,'-53'13'15,"39"0"-15,-12 1 0,0 12 16,12-13-16,1 0 16,0 1-16,0 12 15,13-13-15,0 1 16,13-1-16,0-13 16,0 0-1,14 0-15,-14 0 0,0 0 0,0-13 16,1 13-16,-1 0 0,0 0 15</inkml:trace>
  <inkml:trace contextRef="#ctx0" brushRef="#br0" timeOffset="93528.85">18944 9366 0,'0'40'0,"-26"13"16,12-40-16,-25 40 15,26-40-15,-14 40 16,14-40 0</inkml:trace>
  <inkml:trace contextRef="#ctx0" brushRef="#br0" timeOffset="93792.55">19209 9260 0,'26'67'16,"-26"-54"-16,-13 13 15,13 1-15,-13-14 0,13 13 16,-13 14 0,13-27-16</inkml:trace>
  <inkml:trace contextRef="#ctx0" brushRef="#br0" timeOffset="94013.4">19434 9340 0,'-40'13'16,"27"-13"-16,-14 0 0,14 13 0,0-13 16,-14 27-16,1-14 15,185-79-15,-331 145 0,172-66 16,0 1-16,0-1 15,0 0-15,13-13 16,0 0-16,0 13 0,1-13 16,12 0-16,-13 0 0,1 0 15,-1 0-15,26 0 0</inkml:trace>
  <inkml:trace contextRef="#ctx0" brushRef="#br0" timeOffset="94180.11">19698 9459 0,'-13'26'31,"0"-12"-31,0 12 16,-1-13-16,1 0 0,0-13 0,0 27 16,-1-14-1,14 0-15</inkml:trace>
  <inkml:trace contextRef="#ctx0" brushRef="#br0" timeOffset="94719.82">20320 9274 0,'-40'39'15,"40"-25"-15,-13-1 0,-13 53 16,26-26-1,0-14-15,0-13 0,0 14 16,26-1-16,-26-13 16,13-13-16,1 14 0,-1-14 15,13-14-15,-13 14 0,14-26 16,-14-27-16,-13 40 16,13-14-16,-13-65 15,0 79-15,0-14 0,0 1 16,0 12-16,0 1 15,0 0-15,-13 39 32,13-12-32,0-1 0,0 0 0,13 14 15,-13-1-15,14 0 16,-14 1-16,13-1 0,13 27 16,-26-39-16,14-1 0,-14 0 0,13 13 15,0-12-15,-13-1 16,13 0-16,0 0 0,14-13 15,-1 0 1,-12 0-16</inkml:trace>
  <inkml:trace contextRef="#ctx0" brushRef="#br0" timeOffset="95035.87">20968 9591 0,'0'66'16,"-13"-39"-16,13-14 16,-13 0-16,0 0 0,13 1 15,-27 12-15,27-13 0,-13 1 16</inkml:trace>
  <inkml:trace contextRef="#ctx0" brushRef="#br0" timeOffset="95445.11">21286 9287 0,'-14'-27'16,"-12"41"-16,13-1 0,0 0 15,-1 14-15,14-14 16,-26 13-16,13 27 0,-1-26 15,14 12-15,0-12 0,0-14 16,14 0-16,-1 14 0,0-14 16,0-13-16,1 13 0,-1-13 15,13-13-15,-13 0 0,1-1 16,-1 1-16,0-53 16,0 13-16,-13 40 15,-13-27-15,13 27 0,0 0 16,0-14-16,-26 41 31,26-1-31,0 0 0,-14 0 16,14 14-16,0-1 0,0 1 15,0-1-15,14 14 0,-14-14 16,13 14-16,-13-14 16,0-12-16,13-1 0,-13 13 15,0-12-15,0-1 0,13 0 0,1 0 16</inkml:trace>
  <inkml:trace contextRef="#ctx0" brushRef="#br0" timeOffset="95628.66">21616 9618 0,'-26'53'16,"13"-40"-1,0 0-15,-1 0 0,-12 14 0,13-1 16,-14-13-16,1 27 0,12-27 16,1 0-16,13 1 0,0-1 15</inkml:trace>
  <inkml:trace contextRef="#ctx0" brushRef="#br0" timeOffset="96064.45">22106 9260 0,'-27'-13'16,"1"26"-1,-14 14-15,14-14 0,-1 0 0,1 14 16,13-1-16,-14 1 0,14-1 15,13-13-15,-13 14 0,13-14 16,0 0-16,13 27 0,0-27 16,1-13-16,-1 13 0,0 1 15,0-14-15,14-14 0,-1 1 16,14-26-16,-27 25 16,0-12-16,0-27 15,1 13-15,-14 14 0,0 13 16,0-1-16,-14 1 15,14 0-15,-13 39 16,0-26 0,13 40-16,-13-27 15,13 14-15,0 12 0,0-12 16,0-14-16,13 66 16,-13-65-16,0-1 15,0 13-15,13-12 16,-13-1-16</inkml:trace>
  <inkml:trace contextRef="#ctx0" brushRef="#br0" timeOffset="96253.72">22304 9631 0,'-13'13'15,"0"-13"1,0 27-16,-27 12 15,27-26-15,-27 27 16,14-13-16,26-14 16,-14 0-16,1-13 15</inkml:trace>
  <inkml:trace contextRef="#ctx0" brushRef="#br0" timeOffset="96694.05">22794 9313 0,'-13'0'16,"-14"14"-16,27-1 16,-13 0-16,0 0 0,-14 27 15,14 0-15,-13 13 16,26-27-1,0-13-15,0 0 0,13-13 0,-13 14 16,13-1-16,0-13 16,0 0-16,1-13 0,-1-1 15,0 1-15,0-26 16,1-28-16,-1 28 16,-13-1-16,0 27 15,0 0-15,0-1 16,-13 14-16,-1 14 15,1-1-15,13 13 16,0-13-16,-13 1 0,13 12 16,0-13-16,0 27 0,0-27 15,0 27-15,0-27 16,0 0-16,0 1 0,13-1 0,0 0 16,1-13-1,-1 13-15,13-26 16,-12 13-16,-1-13 15</inkml:trace>
  <inkml:trace contextRef="#ctx0" brushRef="#br0" timeOffset="96997.86">23138 8943 0,'53'40'0,"-14"13"16,14 13-16,-26-27 15,12 28-15,-25 12 16,-239-423-16,450 767 0,-252-330 15,-39-14-15,-26-13 16,52-26-16,-13-13 16,0 12-16,-26 1 0,-1-14 15</inkml:trace>
  <inkml:trace contextRef="#ctx0" brushRef="#br0" timeOffset="105545.97">12475 2024 0,'13'13'31,"1"14"-15,-14-14-16,0 0 0,13 0 15,-13 1-15,0 12 16,0-13-16,0 1 0,0-1 0,0 0 16,0 0-16,0 0 0,0 1 15</inkml:trace>
  <inkml:trace contextRef="#ctx0" brushRef="#br0" timeOffset="105779.29">12726 2222 0,'0'67'31,"-13"-14"-31,13-40 16,-13-13-16,13 26 16</inkml:trace>
  <inkml:trace contextRef="#ctx0" brushRef="#br0" timeOffset="106130.63">13018 2051 0,'13'13'0,"-13"0"15,0 13 1,0-12-16,0-1 0,0 0 16,0 0-16,0 1 0,0-1 0,0 0 15,0 0-15</inkml:trace>
  <inkml:trace contextRef="#ctx0" brushRef="#br0" timeOffset="106709.04">12277 2064 0,'-40'106'16,"40"-80"-16,26 80 15,-12-80 1,12 1-16,-13-14 0,14 0 0,26 14 15,-14-14-15</inkml:trace>
  <inkml:trace contextRef="#ctx0" brushRef="#br0" timeOffset="106965.85">13454 1998 0,'66'66'0,"-66"-53"0,0 0 15,13 14-15,-13-14 0,0 0 0,0 0 16,0 14-16,0-14 0,0 0 0,-13 14 15,13-14-15,0 0 16</inkml:trace>
  <inkml:trace contextRef="#ctx0" brushRef="#br0" timeOffset="107449.92">13851 1945 0,'-13'26'15,"13"-13"-15,0 1 0,0-1 0,0 13 16,13-12-16,-13-1 0,0 13 16,26 1-16,-26-14 0,14 13 15,-1-12-15,0-1 0,14-13 0,-14 13 16,0-13-16,0 13 0,0-13 15</inkml:trace>
  <inkml:trace contextRef="#ctx0" brushRef="#br0" timeOffset="107781.12">14142 1984 0,'40'0'15,"-27"0"-15,-13 14 16,13-1-16,-13 0 0,0 0 16,-13-13-16,13 14 0,0-1 0,0 0 15,0 0-15,0 0 16,0 1-16,13-1 31,0-13-31,14 0 16,13-13-1,-14 13 17</inkml:trace>
  <inkml:trace contextRef="#ctx0" brushRef="#br0" timeOffset="108033.08">14420 1971 0,'26'-13'15,"1"26"1,-14-13-16,-13 13 0,0 1 16,0-1-16,0 0 15,0 0-15,0 1 0,0-1 16,0 0-16,13 0 15,0 0-15,1-13 16,-1 0-16,0 0 16,0 0-16,1 0 0,12 0 15,-13-13-15,27 13 16,-14 0 0,-12-13-16</inkml:trace>
  <inkml:trace contextRef="#ctx0" brushRef="#br0" timeOffset="108684.89">15002 2024 0,'0'119'16,"-13"-106"0,13 14-16,-14-27 0,14 13 0,0 0 15,-13 0-15,13 1 16</inkml:trace>
  <inkml:trace contextRef="#ctx0" brushRef="#br0" timeOffset="109189.99">14883 1879 0,'26'79'0,"-26"-53"16,0 1-16,0-1 0,0 54 15,0-54 1,-13 14-16,13-14 0,-26 40 16,12-52-16,14-1 0,-13 0 15,0 14-15,0-14 16</inkml:trace>
  <inkml:trace contextRef="#ctx0" brushRef="#br0" timeOffset="109515.02">15293 1852 0,'0'132'0,"13"-118"0,-13-1 15,13 0-15,1-13 0,-1 13 0,-13 1 16,13-14-16</inkml:trace>
  <inkml:trace contextRef="#ctx0" brushRef="#br0" timeOffset="109852.43">15571 1799 0,'-13'13'31,"13"1"-31,-14-1 0,14 0 16,0 0-16,0 1 16,0-1-16,0 0 15,14 0-15,-14 0 16,13-13-16,-13 14 0,0-1 16,0 0-16,0 0 15,0 1-15,0-1 16,-13-13-16,13 13 15,-14 0-15</inkml:trace>
  <inkml:trace contextRef="#ctx0" brushRef="#br0" timeOffset="110153.18">15782 1746 0,'40'27'0,"-27"-14"16,1 0-1,-14 0-15,13 1 0,-13-1 0,13 13 16,0-26-16,-13 14 0,0-1 15,0 0-15,0 0 0,13-13 16,-26 13-16,13 1 0,0-1 0,0 0 16,0 0-16,-13 1 15,13-1-15,-13-13 16,13 13-16</inkml:trace>
  <inkml:trace contextRef="#ctx0" brushRef="#br0" timeOffset="110413.57">16206 1905 0,'13'53'16,"-13"-27"-16,0-12 15,0-1-15,0 0 0,-13 0 16,13 14-16,0-14 16,-14 0-16</inkml:trace>
  <inkml:trace contextRef="#ctx0" brushRef="#br0" timeOffset="110773.11">16761 1588 0,'-53'66'15,"40"-40"-15,0 1 16,13-14-16,-13 0 0,13 0 16,0 0-16,0 1 0,0-1 15,0 0-15,0 0 16,13-13-16,-13 14 0,13-1 15,0-13-15,-13 13 16,14-13-16,-1 13 16,0-13-16,0 0 15,14-13-15,-14 13 16</inkml:trace>
  <inkml:trace contextRef="#ctx0" brushRef="#br0" timeOffset="111153.16">16894 1627 0,'-27'40'0,"1"0"16,26-27-16,-13 13 15,-1 14-15,1-14 0,13-12 16,-13 12-16,13-13 0,0 1 16,-13 12-16,13-13 0,0 0 15,0 1-15,13-1 16</inkml:trace>
  <inkml:trace contextRef="#ctx0" brushRef="#br0" timeOffset="111521.78">17410 1601 0,'-40'26'0,"27"-13"16,-1 1-16,14-1 0,-13-13 16,13 13-16,-13 0 15,13 1-15,0-1 0,0 0 16,13 0 0,0-13-16,1 0 15,-1-13-15,13 13 16,-12-13-16,-1 13 15,0 0 1,-13 13 15,0 0-15,13 0-16</inkml:trace>
  <inkml:trace contextRef="#ctx0" brushRef="#br0" timeOffset="111820.97">17912 1535 0,'0'26'0,"0"-13"0,-13 1 16,13-1-16,0 0 15,0 0-15,-13 14 0,13-1 16</inkml:trace>
  <inkml:trace contextRef="#ctx0" brushRef="#br0" timeOffset="112004.44">18865 1654 0,'26'-14'0</inkml:trace>
  <inkml:trace contextRef="#ctx0" brushRef="#br0" timeOffset="113383.73">13361 2619 0,'120'-39'0,"-68"25"0,306-65 16,-239 66-1,0-14-15,13 1 0,0-1 16,-13 14-16,27-13 0,-14-1 0,0 1 16,-12 13-16,12-1 0,-26-12 15,-14 13-15,-12 13 0,-1-14 0,-26 1 16</inkml:trace>
  <inkml:trace contextRef="#ctx0" brushRef="#br0" timeOffset="113611.06">13917 2633 0,'979'-146'16,"-860"133"-16,0 0 16,13-1-16,-39 1 0</inkml:trace>
  <inkml:trace contextRef="#ctx0" brushRef="#br0" timeOffset="116352.45">17013 9869 0,'39'0'16,"-12"0"-16,13 13 0,12-13 15,147 13 1,-14 1-16,-92-14 0,13 0 15,26 13-15,0-13 0,0 0 16,-13 13-16,14-13 0,105 13 16,-106-13-16,-39 14 0,-1-14 0,1 0 15,0 13-15,-14-13 0,80 13 16,-106-13-16,0 0 0,-1 0 16,15 0-16,-41 0 15,1 0-15,-1 0 0,-13 0 0,14 0 0,-14 0 16,13 0-1,-12 0-15,-1 0 0,0 0 16,0 0-16,1 0 16,-14-13-1,13 13-15,0 0 16,0 0 0,0 0-1,1 0-15,-1-13 16,0 13-16,0-14 15,1 1-15,-1-27 32,0 27-32,-13-13 0,0-1 15,13-12-15,-13 12 16,0 1-16,0-1 0,0-12 16,0-1-16,13-40 0,-13 1 15,0 39-15,0 1 0,0-1 16,14 0-16,-14 1 0,0-1 0,13 14 15,-13-14-15,0 13 0,13 14 0,-13-13 16,0 12-16,0 1 0,0-13 16,0 13-16,0-1 15,0 1-15,0 0 16,-13 13 0,0 0-1,-14 0-15,14 0 0,-13 0 0,-1 0 16,-13-13-16,-12 13 15,12 0-15,-79-14 0,39 14 16,1 0-16,-14-13 0,1 13 0,-1-13 16,-132 0-16,93 13 15,0-14-15,13 14 0,-14-13 0,28 13 16,-120-13-16,119 13 0,0 0 16,13 0-16,1 0 0,12 13 15,-78 0-15,105-13 16,-27 27-16,54-14 0,-1 14 15,27-1-15,40 14 16,-13-27-16,25 13 0</inkml:trace>
  <inkml:trace contextRef="#ctx0" brushRef="#br0" timeOffset="117304.63">20876 10120 0,'595'66'15,"-344"-39"-15,14-1 16,-133-12-16,0 12 0,1-13 16,105 14-16,-40-14 15,-118-13-15,-1 0 16,53 13-16,-13-26 0,-26-13 16,-53 12-16,-14 1 15,14-13-15,-14-1 0,-12 1 16,12-1-16,-13 1 0,-13-14 0,13 0 15,-13-39-15,0 0 16,0 26-16,-13 13 0,13-26 0,0 0 16,0 13-16,0 0 0,0 0 15,0-13-15,0 13 0,13 13 0,-13-26 16,0-26-16,14 52 16,-14 0-16,0 0 0,0 14 15,0 0-15,0-1 0,-14-13 0,-12-13 16,0 27-16,-1 0 15,1-1-15,-14 14 0,-66-40 16,53 40-16,-13-14 0,-13 1 16,-1 13-16,-39-14 0,-13 14 15,13-14-15,-13 14 0,-14-13 0,1 12 16,-1 1-16,-145-13 0,145 13 16,14-1-16,-132 1 15,65 0-15,107 13 0,-1-13 16,0 13-16,14-14 0,-53 14 15,79-13-15,13 13 0,14 0 16,-1 0-16,1 0 0,-1 0 16,1 0-16,13 0 15,-1 0-15,1 13 0,0 1 16,-14-1-16,27 0 0,-13 0 16,0 27-16,0-27 15,13 14-15,-14-1 0,1 14 0,0 0 16,0-1-16,-14 14 0,-26 119 15,40-106 1,-13-13-16,-1 13 0,-12 53 16,12 0-16,1-26 15,39-14-15,0-39 16,40 92 0,0-65-16,-27-41 0,14 0 15,-13 1-15,12-14 0</inkml:trace>
  <inkml:trace contextRef="#ctx0" brushRef="#br0" timeOffset="122718.88">1376 1217 0,'-13'0'63,"39"13"-47,40-13-1,80 0-15,-27 0 16,40 0-16,-1 0 15,319 0 1,-200 0-16,14 0 16,106 0-16,-106 0 15,252 0 1,-371 0 0,79 0-1,-225 0-15,-12 0 16</inkml:trace>
</inkml:ink>
</file>

<file path=ppt/ink/ink204.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47:37.940"/>
    </inkml:context>
    <inkml:brush xml:id="br0">
      <inkml:brushProperty name="width" value="0.05292" units="cm"/>
      <inkml:brushProperty name="height" value="0.05292" units="cm"/>
      <inkml:brushProperty name="color" value="#0070C0"/>
    </inkml:brush>
  </inkml:definitions>
  <inkml:trace contextRef="#ctx0" brushRef="#br0">13494 2831 0,'26'0'140,"146"0"-140,-66 0 32,53 0-32,0 0 0,13 0 15,39 0 1,-39 0-16,27 0 0,39 0 16,-66 0-16,66 0 15,93 0-15,-40 0 16,26 0-16,14 0 15,-14 0-15,14 0 16,0 0-16,-14 0 16,80 0-16,-106 0 15,27 0-15,-27 0 16,-27 0 0,-78 0-16,12 0 0,-26 0 15,-13 0-15,-53 0 16,-27 0-16,0 0 15,-26 0-15,-40 0 16,27 0-16,13 0 16,-13 0 15,-1 0-31,1 0 16,39 0-1,-26 0 1,-13 0-1,0 0-15,-27 0 94,-13-40-63,-26-39-15,12 26-16,-12-26 16,-1-54-16,-52-105 15,53 146 1,-27-80 0,26 106-16,14-14 15,13 54 1,-13-14-1,13 27 142,-14 13-142,-12 0 1,-27-13-16,-13 13 0,-40 0 16,-13 0-1,-66 0-15,0 0 0,-305 0 16,226 0-1,-27 0-15,-27 0 16,93 0 0,-26 0-16,-40 0 0,39 0 15,41 0 1,-14 0-16,40 0 0,-186 0 31,226 0-31,12 0 16,1 0-16,26 0 15,-119 0 1,120 0-16,-173 0 16,132 0-1,-13 0-15,-13 0 16,14 0-16,-1 0 16,-13 0-1,13 0-15,40 0 0,27 0 16,-41 0-1,54 0 1,39 0 0,27 0-16,-40 0 15,13 0 1,14 0-16,-27 0 16,0 0-16,-13 0 15,-13 0-15,-14 0 16,0 0-16,-79 26 15,80-26 1,26 26 0,26-26-16,0 0 15,27 0-15,-13 0 16,12 14 0,1-14-16,-13 0 15,-14 13-15,27-13 16,-27 0-1,0 0-15,14 13 16,13-13-16,-1 0 16,14 13 62,-13 14-63,0 13 1,0-1-16,13 14 16,0-13-16,0 26 15,0 13-15,0 14 16,0 92 0,0-105-16,0-28 15,0 1 1,0 40-16,0-14 15,0-39-15,0 0 16,0 26 0,0-40-1,0-12 157,106-14-156,-1 0-16,28 0 15,92 0 1,-106 0-16,13 0 16,-26 0-16,0 0 15,-53 0-15,-1 0 16,-38 0 109</inkml:trace>
  <inkml:trace contextRef="#ctx0" brushRef="#br0" timeOffset="3019.12">1349 5689 0,'119'0'94,"344"0"-78,-211 0-1,79 0 1,-14 0-16,-26 0 0,0 0 16,-66 0-16,-53 0 15,-53 0-15,-53 0 16,-26 0-16</inkml:trace>
  <inkml:trace contextRef="#ctx0" brushRef="#br0" timeOffset="4122.14">860 6337 0,'0'13'63,"198"27"-47,-39-40-1,0 0-15,53 0 16,-14 13-16,-39 0 15,-27-13-15,0 0 16,-39 27-16,-40-27 16,-14 0-16,-25 0 422</inkml:trace>
  <inkml:trace contextRef="#ctx0" brushRef="#br0" timeOffset="9612.14">21193 3479 0,'0'13'0,"0"1"16,0-1-16,0 13 16,13 1-16,-13-14 0,14 14 0,-1-1 15,-13 0-15,13 1 0,0 13 16,0-14-16,1 14 15,12-1-15,-26-12 0,13-14 0,1 0 16,-14 1-16,13-1 0,-13 0 16,13 0-16,-13 1 0,13-14 0,-13 13 15</inkml:trace>
  <inkml:trace contextRef="#ctx0" brushRef="#br0" timeOffset="10478.15">21101 3519 0,'13'-40'0,"-13"27"16,13 13-16,-13-13 0,13-14 16,0 27-16,-13-13 15,14 0-15,-1 0 0,0 13 16,14-14-16,-14 1 0,0 13 15,0 0-15,27 0 16,-27 0-16,-13 13 16,13 1-16,1-14 0,-14 13 15,13 0-15,-13 0 0,13 1 16,-13-1-16,13 0 0,-13 0 0,14 14 16,-14-14-16,0 0 15,13 0 1,-13 1-1,13-28 1,0-12 0,0-1-1,-13 14-15,14 0 0,-1 0 0,-13 0 16,13-1-16,0 1 0,1 0 0,-14 0 16,13-1-16,13 1 0,-12 0 15,-1 13-15,0 0 16,0-13-16,0 13 0,1 0 15,-1 13-15,0-13 0,0 13 0,1 0 16,-1 1-16,-13-1 0,13 0 16,-13 27-16,0-27 15,0 13-15,0 1 0,-13-1 0,13-12 16,-13 25-16,-1-12 0,-12 26 16,13-14-16,-1-12 0,1-1 15,0-12-15,0 12 0,0-13 16,-14 14-16,14-14 0,0 0 0,-1 0 15,1 1-15,13-1 0,-13-13 0,0 13 16,-1 0-16,14 1 16,-13-14-16,13 13 15</inkml:trace>
  <inkml:trace contextRef="#ctx0" brushRef="#br0" timeOffset="11102.14">22040 3585 0,'26'-13'0,"-13"13"15,14-13-15,-14 13 0,0 0 16,14 0-16,-14 0 0,14 0 16,-1 0-16,0 0 0,-12 13 15,-1-13-15,-13 13 0</inkml:trace>
  <inkml:trace contextRef="#ctx0" brushRef="#br0" timeOffset="11259.21">22093 3784 0,'0'0'16,"13"0"0,0 0-1,14 0-15,-14 0 0,0 0 16,14 0-16,-14-14 0,13 14 0,-13 0 16,27-13-16,-27 13 15,14 0-15</inkml:trace>
  <inkml:trace contextRef="#ctx0" brushRef="#br0" timeOffset="15769.18">22939 3413 0,'0'13'0,"0"1"16,0-1-16,0 0 0,0 0 0,0 14 16,-13-14-16,13 13 0,0-12 15,0-1-15,0 13 0,-13-12 0,13 12 16,0 0-16,-13-12 16,13-1-16,0 0 0,0 0 0,0 1 31</inkml:trace>
  <inkml:trace contextRef="#ctx0" brushRef="#br0" timeOffset="16345.33">23178 3453 0,'39'0'0,"-26"0"16,-65 0-16,118 0 0,-53 0 0,-13 13 0,13-13 15,0 13 1,-13 0-16,-13 1 0,0-1 16,0 0-16,-1 0 0,1 1 15,0-1 1,13 0 0,13 0-16,0 1 15,14 12 1,-27-13-16,13-13 0,-13 13 15,0 1-15,-26 12 16,12-13 0,1 1-16,0-14 0,-13 13 0,12 0 15,1-13-15,-13 0 0</inkml:trace>
  <inkml:trace contextRef="#ctx0" brushRef="#br0" timeOffset="17196.91">21458 4551 0,'13'0'0,"0"13"16,-13 0-16,13 14 15,-13-14-15,0 13 0,0-12 0,-13 105 16,0-93-1,13 1-15,0-1 0,-13 1 16,13-14-16,-14 13 0,14 1 16,-13-27-16</inkml:trace>
  <inkml:trace contextRef="#ctx0" brushRef="#br0" timeOffset="17501.04">21802 4670 0,'-40'13'0,"27"-13"15,-27 27-15,27-27 0,-27 26 0,27-13 16,-14 0-16,-25 14 16,38-14-16,1 0 0,0-13 15,13 14-15,-13-1 0,13 0 16,0 0-16,0 1 15,13-14-15,0 0 16,0 13-16,1-13 16,-1 0-16,0 0 0,0 0 0,14 0 15,-1 0-15,14-13 16,-14 13-16,-12-14 0,12 14 16,0-13-16,-12 13 0</inkml:trace>
  <inkml:trace contextRef="#ctx0" brushRef="#br0" timeOffset="17712.73">22238 4670 0,'40'-13'16,"-14"-1"-16,-12 14 16,-1 0-16,0 0 0,0 0 0,-13 14 15</inkml:trace>
  <inkml:trace contextRef="#ctx0" brushRef="#br0" timeOffset="17897.47">22172 4868 0,'40'-13'15,"-27"13"1,13-13-16,-12 13 16,12 0-16,-13-13 0,27 13 0,-27 0 15,14-14-15,-14 14 0,0 0 16</inkml:trace>
  <inkml:trace contextRef="#ctx0" brushRef="#br0" timeOffset="19689.09">23178 4643 0,'13'-13'16,"-40"40"15,14-27-31,0 13 16,-27 13-16,27-26 0,0 14 15,-14 12-15,14-13 0,0 0 0,0-13 16,13 14-16,-14-1 0,14 0 16,-13-13-16,26 13 15,1 1-15,-1-14 16,13 0-16,-13 0 0,14 0 16,-1 0-16,1 0 0,13 0 0,-14 0 15,0-14-15,1 14 0,-14 0 0,14 0 16,-14 0-16,0-13 0,0 13 15,0 0-15,1-13 0,-1 0 16,-13-1-16</inkml:trace>
  <inkml:trace contextRef="#ctx0" brushRef="#br0" timeOffset="19865.86">23270 4617 0,'-13'13'16,"0"0"-16,13 1 15,-14-1-15,14 0 0,0 0 0,0 1 16,0-1-16,0 13 0,0-13 0,0 1 16,0-1-16,0 13 0,0 1 15,0-14-15,0 0 0,0 1 16,0-1-16,-13 0 16</inkml:trace>
  <inkml:trace contextRef="#ctx0" brushRef="#br0" timeOffset="20967.93">22886 5199 0,'106'-13'0,"-66"0"0,13 13 16,-13-14-16,13 14 0,-1 0 15,-12-13-15,66 0 0,-53 13 0,0-13 16,-14 13-16,94-14 15,-107 14-15,-13-13 16,14 13-16,-1 0 0,-12 0 16,-1 0-1</inkml:trace>
  <inkml:trace contextRef="#ctx0" brushRef="#br0" timeOffset="21753.21">23019 5980 0,'106'0'0,"-80"0"0,120-14 15,-94 14 1,15-13-16,-1 13 0,-13-13 0,13 13 15,-13 0-15,0 0 0,0 0 0,-1-13 16,-12 13-16,40 0 16,-54 0-16,-13 0 0,14 0 15,-14 0-15,0 0 16,0 0-16</inkml:trace>
  <inkml:trace contextRef="#ctx0" brushRef="#br0" timeOffset="23055.99">23217 5464 0,'13'53'0,"-13"-27"15,0 0-15,0-12 16,0-1-16,0 13 0,0-12 0,-13 12 16,13-13-16,0 1 0,0-1 15,-13 0-15,13 0 0,0 0 16,0 1-16,13-1 15</inkml:trace>
  <inkml:trace contextRef="#ctx0" brushRef="#br0" timeOffset="23434.09">23402 5424 0,'40'-13'15,"-27"13"-15,1 0 0,-1 0 16,13 13 0,-13 0-16,-13 0 0,14-13 0,-14 14 15,13-1-15,-13 0 0,0 0 16,0 1-16,0 12 0,13-13 0,-13 0 16,0 1-16,-13 12 0,13-13 15,0 1-15,0-1 0,0 0 0,0 0 16,0 1-16,0-1 0,0 0 15,0 0-15,0 0 16</inkml:trace>
  <inkml:trace contextRef="#ctx0" brushRef="#br0" timeOffset="23609.03">23455 5662 0,'40'-26'16,"-14"12"-16,1 14 0,39-13 31,-39 13-31,-1 0 0,0 0 0</inkml:trace>
  <inkml:trace contextRef="#ctx0" brushRef="#br0" timeOffset="24345.66">23416 6588 0,'13'13'0,"-13"1"15,0 39 1,0-40-16,0 13 0,0-13 0,0 14 15,0-14-15,0 14 0,0-1 16,0-13-16,0 0 0,0 14 16,0-14-16,0 0 0,0 1 15</inkml:trace>
  <inkml:trace contextRef="#ctx0" brushRef="#br0" timeOffset="24664.98">23574 6575 0,'53'-13'15,"-39"13"-15,-1 0 0,0 13 16,0-13-16,-13 13 0,13 0 16,1 1-16,-14-1 0,13 0 15,-13 0-15,0 1 0,13-1 0,-13 0 16,0 13-16,0-12 0,13-1 16,-13 0-16,0 0 0,0 1 15,0-1-15,14 0 0,-14 0 16,13 0-1</inkml:trace>
  <inkml:trace contextRef="#ctx0" brushRef="#br0" timeOffset="24845.33">23641 6787 0,'0'-14'0,"13"1"16,0 13-16,0 0 0,14-13 15,-14 13-15,13 0 0,14-13 16,-14 13-16,14 0 16,-27 0-16,1 0 0,-1 0 0,0 0 15,0 13-15,1-13 0</inkml:trace>
  <inkml:trace contextRef="#ctx0" brushRef="#br0" timeOffset="25097.1">23495 7051 0,'79'-13'15,"-158"26"-15,185-26 0,-93 0 16,66-1-16,-65 14 16,12 0-16,1 0 0,-14-13 15,0 13-15,13 0 0,-12 0 16</inkml:trace>
  <inkml:trace contextRef="#ctx0" brushRef="#br0" timeOffset="25486.62">23760 7144 0,'-40'0'15,"27"0"-15,66 0 0,-120 13 0,54-13 0,0 0 16,0 0-16,13 13 16,-13-13-16,13 13 0,0 1 15,13-14-15,-13 13 0,13 0 16,0 0-16,0 1 16,1-1-16,-1 0 0,0 0 15,0 0-15,1 1 0,-14-1 16,0 0-1,0 0-15,-14-13 0,14 14 16,-13-1-16,0-13 16,0 13-16,-1-13 15,-12 13 1</inkml:trace>
  <inkml:trace contextRef="#ctx0" brushRef="#br0" timeOffset="25793.53">23918 7197 0,'53'13'0,"-53"0"16,-26 14-1,13-14-15,13 0 16,-14-13-16,14 13 0,-13 0 15,13 1-15,-13-14 0,13 13 16,13 0 0,0-13-1,1 0-15,-1 0 16,0 0-16,0 0 0,0 0 0,1-13 16,-1 13-16,0 0 0,14-13 15,-14 13 1,0 0-16,-13-14 0,13 14 0</inkml:trace>
  <inkml:trace contextRef="#ctx0" brushRef="#br0" timeOffset="27068.88">23098 7025 0,'66'-14'15,"-52"14"-15,-1 0 0,0 0 16,0 0-16,-13 14 0,13-14 0,1 0 16</inkml:trace>
  <inkml:trace contextRef="#ctx0" brushRef="#br0" timeOffset="27225.35">23164 7157 0,'53'-13'0,"-40"13"15,1 0-15,-1 0 0,13 0 0,-12 0 16</inkml:trace>
  <inkml:trace contextRef="#ctx0" brushRef="#br0" timeOffset="33091.06">23839 3810 0,'0'13'31,"0"40"-15,0-26-16,0-14 0,-13 13 16,13-12-16,0 12 0,0 0 15,0 1-15,-14-14 0,14 0 16,0 1-16,0-1 16,0 13-1,-13-26 1,0-13-1,0 0-15,0 13 16,-14-13 0,1 13-16,-27 0 15,26 0-15,14 13 16,0 0-16,0-13 16,-1 13-16,1 1 15,13-1-15,13 0 16,1-13-1,-1 0-15,0 0 0,0 13 0,14-26 16,-14 13-16,0 0 0,14 0 0,-1 0 16,-13-13-16,14 0 0,-14 13 15,13-14-15,-12 14 0,-1-13 0,0 0 16,0 13-16,1-13 0,-1-1 16,0 14-16,-13-13 0,13 13 15,-26 13 16,13 14-15,0-14 0,0 0-16,13-13 0,-13 14 15,14-14-15,-1 13 16,0-13-16,13 0 16,-12-13-16,-1 13 15,0-14-15,14-12 16,-27 13-16,0-1 15,0 1-15,0 0 0,0 0 16,0-1-16,-14 1 16,1 0-16,0 13 15,-14 13 1,14 0-16,0-13 16,13 14-16,-13-1 0,13 0 15,0 0 1,26 1-1,-13-14-15,14 0 16,-1-14 0,-12 14-1,-14-13-15,13 13 0,0-13 16,0 13 0,-13-13-1,14-1-15,-14 41 47,0-14-31,0 0-16,0 1 15,13-1 1,0-13-16,0 0 16,27-13 15,-27-1-16,0 1 1,1 26 47,-14 1-48,0-1 1,0 0-16,0 0 15,13 1 1,0-14 0,0 0-1</inkml:trace>
  <inkml:trace contextRef="#ctx0" brushRef="#br0" timeOffset="33480.05">24395 3784 0,'-27'52'16,"27"-38"-16,-13-1 0,13 0 15,-13 0-15,13 1 0,-14-1 0,14 13 16,-13 1-16,13-14 15,-13 0-15,13 0 16,13-13 0,0 0-1,1 0-15,12 0 16,-13 0 0,1 0-16,-1 14 0,0-14 15,-13 13-15,13 0 0,-13 0 16,0 1-16,-13-1 15,0 13 1,0-26-16,13 14 0,-14-14 16,14 13-16,-13-13 0,0 13 15,0-13-15</inkml:trace>
  <inkml:trace contextRef="#ctx0" brushRef="#br0" timeOffset="33826.6">24567 3757 0,'0'40'16,"0"-1"-1,-14 28 1,14-54-16,-13 13 0,13-12 0,0-1 15,0 0-15,0 13 0,13-26 0,-13 14 16,0-1-16,14-13 0,-1 13 16,0-13-16,0 0 15,-13-13-15,13 13 16,1 0-16,-14-13 16,13 26-1,-13 0 1,13 0-1,-13 1-15,27-1 32,-14-13-32,0 0 0</inkml:trace>
  <inkml:trace contextRef="#ctx0" brushRef="#br0" timeOffset="34758.04">23932 4405 0,'-27'27'0,"27"-1"15,0-13-15,0 1 16,13-14 0,-13 13-16,14-13 0,-1 0 15,0 13-15,13-13 16,-12 0 0,-1 0-16,0 13 31,0 1-16,1-14-15,-14 13 0,39-13 32,1-13-17,-27 13-15,-13-14 16,13 1 0,-13 0-16,0 0 0,0-1 15,-13 14-15,13-13 16,-13 13-16,0 0 15,-14 27 17,14-14-32,13 0 15,13-13-15,1 13 16,12-13 0,0 0-1,-12 0 1,-1-13-16,0 13 0,0 0 31,1 13-15,-14 1-1,13-1 1,13 0 0</inkml:trace>
  <inkml:trace contextRef="#ctx0" brushRef="#br0" timeOffset="35002.26">24395 4419 0,'0'-27'16,"-14"54"-1,14-14 1,0 13 0,-13-13-16,13 1 0,0-1 0,-13 27 15,13-27 1,0 0-16,0 0 0,-13 1 16,13-1-16</inkml:trace>
  <inkml:trace contextRef="#ctx0" brushRef="#br0" timeOffset="35259.97">24342 4617 0,'0'-26'0,"13"12"16,0 14 0,14-13-1,-14 13-15,0 0 16,-13-13-16,13 13 0,1 0 15,-1 0-15,0 0 0,0 13 16,0-13-16,1 13 16,-1 1-1,-13-1 1</inkml:trace>
  <inkml:trace contextRef="#ctx0" brushRef="#br0" timeOffset="35411.8">24567 4471 0,'0'-13'0</inkml:trace>
  <inkml:trace contextRef="#ctx0" brushRef="#br0" timeOffset="35543.24">24672 4511 0,'14'0'0</inkml:trace>
  <inkml:trace contextRef="#ctx0" brushRef="#br0" timeOffset="38723.74">20227 10755 0,'-105'80'16,"65"-41"-16,-40 54 16,41-27-16,-14 0 15,-26 53-15,-1 14 0,54-67 16,-1 0-16,1 0 0,-1 13 16,14-12-16,0-1 0,0 66 15,13-66-15,0 0 0,13-13 16,13 13-16,1-13 0,12 0 0,1 0 15,13 0-15,0 0 0,0-13 16,0-1-16,13 1 0,13-14 0,-13 14 16,14-13-16,-14-14 0,13 13 15,67 1-15,-80-27 0,0 0 16,-13 0-16,13 0 0,0-13 0,1-1 16,-1 1-16,-13 0 0,0-14 0,-1 14 15,1-13-15,0-1 0,0 1 16,-13-14-16,52-26 0,-52 26 15,0-13-15,0 14 0,-1-1 16,1-13-16,0 0 0,-1 13 16,14-65-16,-40 52 0,14-13 15,-14 13-15,-13 0 0,13 0 0,-13 13 16,0-13-16,0-53 16,0 67-16,0-14 0,0-13 0,-13-40 15,-13 0-15,12 53 16,-12 0-16,0 0 0,12 0 15,-25 0-15,12 0 0,-13 14 0,-39-54 16,39 67-16,1-14 0,-67-26 16,0 0-1,53 53-15,-13-14 0,13 14 16,-79-14-16,66 14 0,-14 13 16,1-13-16,0 13 0,-14 0 15,14 0-15,-1 13 0,1-13 0,-212 53 16,185-26-16,13 12 15,1 1-15,-107 66 16,120-53-16,-14 13 0,-65 66 16,25 14-16,67-67 15,26-26-15,14 13 0,-14 0 16</inkml:trace>
  <inkml:trace contextRef="#ctx0" brushRef="#br0" timeOffset="41209.87">23733 3545 0,'93'-53'16,"-54"27"-16,-12 0 0,-1 12 15</inkml:trace>
  <inkml:trace contextRef="#ctx0" brushRef="#br0" timeOffset="41857.12">23733 4855 0,'53'0'0</inkml:trace>
  <inkml:trace contextRef="#ctx0" brushRef="#br0" timeOffset="43167.42">23310 10517 0,'0'27'0,"0"-14"16,0 27-16,-13-14 15,13 0-15,0 1 0,-14-1 16,1 41-16,0-41 16,13 0-16,-13 27 0,-1-13 15,14-27-15,0 1 16,0-1-16,0 13 0</inkml:trace>
  <inkml:trace contextRef="#ctx0" brushRef="#br0" timeOffset="43514.12">23812 10544 0,'0'-14'0,"-13"28"0,0-1 16,-13 27-16,-1-1 15,1 14-15,-1-13 0,14-14 0,0 1 16,0 26-16,13-27 16,0 1-16,13-14 0,0 0 15,-13 0-15,13-13 16,0 0-16,-13 14 0,14-14 15,-1-14-15,0 1 16,0 0-16,-13 0 16,0-1-16,-13 1 0,0 0 15,0 13-15,-1 0 16,-25 0 0,26 13-16,-14 0 0,1 14 15</inkml:trace>
  <inkml:trace contextRef="#ctx0" brushRef="#br0" timeOffset="44025.48">24289 10927 0,'-252'185'16,"173"-118"-16,0-1 0,-107 79 16,94-65-16,-93 92 15,-1-27-15,94-65 0,12-14 16,-52 66-16,79-92 0,-26 52 16,39-52-16,27-14 15,-14 14-15,14-27 0</inkml:trace>
</inkml:ink>
</file>

<file path=ppt/ink/ink20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48:38.367"/>
    </inkml:context>
    <inkml:brush xml:id="br0">
      <inkml:brushProperty name="width" value="0.05292" units="cm"/>
      <inkml:brushProperty name="height" value="0.05292" units="cm"/>
      <inkml:brushProperty name="color" value="#0070C0"/>
    </inkml:brush>
  </inkml:definitions>
  <inkml:trace contextRef="#ctx0" brushRef="#br0">4498 3545 0,'26'14'47,"41"-14"-31,25 13-16,40 13 0,-26-12 16,27-14-1,-1 0-15,-13 0 16,-26 0-16,26 0 15,-53 0-15,0 0 0,-40 0 16</inkml:trace>
  <inkml:trace contextRef="#ctx0" brushRef="#br0" timeOffset="557.23">6945 3651 0,'40'0'32,"53"0"-17,52 40-15,14-14 16,-14-26-16,14 0 16,0 0-1,-40 0-15,0 0 0,-40 0 16,-52 0-1</inkml:trace>
  <inkml:trace contextRef="#ctx0" brushRef="#br0" timeOffset="2517.26">9049 3651 0,'0'13'15,"13"27"1,13-40-1,27 13-15,-13 27 0,53-27 16,12-13 0,-12 14-16,39-14 0,1 0 15,12 0-15,-13 0 16,27 0 0,-13 0-16,-27 0 0,13 0 15,-26 0-15,13 0 16,-53 0-16,133-53 15,-133 39 1,-27-12-16,1 13 16,-13 13-1,-14 0-15,0 0 0,-13-14 16,26 1 31,-12-13-32,-1 13-15,27-1 16,-27-12 0,40-14-16,-14 14 0,-25-14 15,-1 14-15,13-14 16,-26 13-16,14-52 16,-14 53-1,0-1 1,0-26-16,0 14 0,0-1 15,0 13-15,0-12 16,0 12-16,0 1 16,0-1-1,-14 14 1,1 13-16,13-26 16,-13 26-1,13-14 1,-27 1-16,-12 13 0,-54 0 15,27-26 1,-53 13 0,13-1-16,-26 14 15,-67-13-15,27 13 16,-13-40-16,26 40 16,1 0-16,25-13 15,1 0-15,13 13 16,26-13-16,-26-14 15,27 14-15,-14 13 16,13-13-16,14 0 16,13 13-16,-14 0 15,41 0-15,-14 0 16,26 0-16,-26 0 16,-119 0-1,80 0-15,-14 0 16,40 0-16,-27 0 15,1 0-15,39 0 16,26 26-16,-12-26 16,12 13-16,1 27 15,13-14 1,13 41 0,-14-41-16,14 14 15,0-14 1,0-13-16,0 14 15,0-1-15,0 1 16,0 12-16,0-12 16,14-1-16,38 40 15,-12-39 1,13 26 0,53 0-1,-80-27 1,54 14-1,-27-27-15,0 27 16,-14-40-16,1 26 16,-14-26-16,14 27 15,0-14-15,-1 0 16,1 0-16,0 1 16,-27-14-16,53 13 31,-39 0-31,-1-13 0,27 0 15,-27 13 1,14-13-16,0 0 0,13 0 16,0 0-1,79 27-15,-66-27 16,0 0-16,27 13 31,-53 0-31,12 0 16,-38-13-16,25 14 15,-25-1 1,-1-13-16,0 0 16</inkml:trace>
  <inkml:trace contextRef="#ctx0" brushRef="#br0" timeOffset="8056.99">4802 6231 0,'318'-13'16,"-239"-1"-16,0 14 0,80 0 15,-66 0-15,-14-13 0,14 13 16,-14 0-16,1 0 0,-1 0 0,-13 0 16,-13 0-16,40 0 15,-54 13-15,-12-13 0,-1 0 0,1 0 0,-14 0 16,0 0-16,0 0 0,1 0 15,-1 0-15,13 0 16,-13 0 0,-13 14-1</inkml:trace>
  <inkml:trace contextRef="#ctx0" brushRef="#br0" timeOffset="10704.13">8229 6218 0,'-14'0'15,"41"13"1,-14-13 0,27 0-16,-27 0 15,13 0-15,1 0 16,26 0-16,53 0 0,13 0 15,26 0-15,-65 0 16,92 0-16,-80-13 16,80 13-16,13 0 0,-92 0 15,13 0-15,79 0 16,-13-14-16,0 14 16,0 0-16,-27 0 15,-39 0 1,0 0-16,-66 0 0,-14 0 15,1 0-15,-1 0 0,1-13 16,-1 13-16,-13 0 16,1 0-16,-1 0 0,0 0 15,0 0-15,0 0 16,1 0-16,-1 0 16,0 0 30,0 0 1,1 0 110,-41-13 843</inkml:trace>
  <inkml:trace contextRef="#ctx0" brushRef="#br0" timeOffset="12446.34">3241 5384 0,'-79'14'0,"66"-14"0,-1 13 15,1-13-15,13 13 0,-13 0 16,13 0 0,0 1-16,13-1 15,0 0-15,1 0 0,12 1 16,-13-1-16,0 0 16,14 0-16,-14 0 15,0 1 1,-13-1-16,-13 0 15,0 0-15,0 1 16,-1-14-16,-38 39 16,38-39-16,1 14 15,0-14-15,0 0 0,-1 0 16,1 13-16,0-13 0</inkml:trace>
  <inkml:trace contextRef="#ctx0" brushRef="#br0" timeOffset="12679.53">3294 5384 0,'13'-13'15,"1"26"-15,-14 14 0,13-14 16,-13 13-16,13-12 15,-13-1-15,13 27 0,-13-27 16,0 13-16,13 1 16,-13-14-16,0 13 0,14-12 15,-14-1-15,0 0 0,0 0 16</inkml:trace>
  <inkml:trace contextRef="#ctx0" brushRef="#br0" timeOffset="13022.26">3268 5556 0,'53'-26'15,"-40"26"-15,13-13 16,1-1-16,-14 14 16,27-13-16</inkml:trace>
  <inkml:trace contextRef="#ctx0" brushRef="#br0" timeOffset="13334.26">3519 5450 0,'-13'0'0,"-1"14"16,14-1 0,14 0-16,-14 0 15,13 1-15,-13-1 16,13-13 0,0 13-16,1-13 15,-1-26 1,0 26-16,-13-14 0,13 1 15,-13 0 1,0 0-16,14 13 16,-14 13 31,13 0-47</inkml:trace>
  <inkml:trace contextRef="#ctx0" brushRef="#br0" timeOffset="14211.15">3797 5318 0,'0'-13'47,"0"39"-31,13 54-1,-13-54 1,0-13-16,0 1 16,-13-1-1,-14 13 17,27-12-17,-13-14-15,13 13 16,13-13 15,14 0-31,-14-13 16,0 13-16,0-14 15,1 14-15,-1 0 32,13-13-1,1 13-16,-14 0 1,0-13 0,27-14-1,-40 14 1,13 0 0,-13 0-16,27-14 15,-14 14 1,0 26 15,14 1-15,-1-1-16,-26 0 15,13-13-15,1 13 16,-28-13 31,1 0-32,13-13 1,13 0 0,14 0 15,-14 13-31,0-14 16,0 14-16,1-13 15,-1 13 1,0-13-1,0 26 1,1-13-16,-14 13 16,-14 1-1,14-1 1,-13-13-16,13 13 16</inkml:trace>
  <inkml:trace contextRef="#ctx0" brushRef="#br0" timeOffset="14306.99">4233 5424 0,'0'-26'16,"14"12"0</inkml:trace>
  <inkml:trace contextRef="#ctx0" brushRef="#br0" timeOffset="14550.27">3426 5781 0,'146'-53'16,"52"-13"-1,-65 26 1,12 1-16,-79 25 0,133-38 15,-14 12 1,-145 40 0,-27 0-16,0 0 15</inkml:trace>
  <inkml:trace contextRef="#ctx0" brushRef="#br0" timeOffset="14723.25">3585 5741 0,'-159'40'16,"556"-132"15,-331 78-31,120-25 0,-147 39 16,14-14-16,53 1 15,-66 0-15,92 0 16</inkml:trace>
  <inkml:trace contextRef="#ctx0" brushRef="#br0" timeOffset="17057.52">9406 5384 0,'-13'0'0,"-14"14"16,14-1 0,26 13 15,0-13-31,14 1 16,-14-1-16,0 0 15,1 0-15,-1-13 16,-13 14-16,13-1 15,-13 0-15,-13 13 16,0-12-16,-1-1 16,1-13-16,-13 13 15,-1 0-15,14-13 0,-13 0 16</inkml:trace>
  <inkml:trace contextRef="#ctx0" brushRef="#br0" timeOffset="17266.08">9485 5331 0,'27'0'0,"-14"14"16,-13-1-16,0 0 15,13 0-15,0 27 16,1-14-16,-14-12 0,13 25 15,0-25-15,0 25 16,-13-26 0</inkml:trace>
  <inkml:trace contextRef="#ctx0" brushRef="#br0" timeOffset="17487.16">9525 5517 0,'0'-27'0,"13"14"16,14 0-16,-1-1 15,-13 1 1,1 0-16,-1 13 0,0 0 15,-13-13-15</inkml:trace>
  <inkml:trace contextRef="#ctx0" brushRef="#br0" timeOffset="17771.34">9710 5398 0,'-13'13'0,"13"0"16,0 0-1,13 0 1,-13 1-16,13-14 16,1 0-1,-1-14-15,13 1 16,-12 0 0,-1 0-1,-13 26 16,13 13-15</inkml:trace>
  <inkml:trace contextRef="#ctx0" brushRef="#br0" timeOffset="18910.24">9988 5239 0,'0'-13'0,"0"39"32,0-13-32,0 0 0,0 14 15,0-1-15,0-12 0,0-1 16,0 0-16,0 14 16,0-14-16,0 0 15,-13-13 1,0 13-1,-1-13 1,1 0-16,0 13 16,0-13-16,13 14 15,-14-14-15,14 13 16,0 0 0,27-13-1,-14 0 1,0 0-16,1 0 0,12-13 15,-26 0-15,26 13 0,-12-14 16,-1 14 0,0-13-16,0 13 15,1 0 17,-1 0-32,0 0 15,0 0 1,1 0-16,-1 0 15,0 0-15,0 0 16,0-13 0,-13 0-16,14 13 15,-14-13-15,13-1 16,-13 1-16,13 0 16,-13 0-1,0-1-15,13 14 16,1 14 31,-1-14-16,-13 13-31,13-13 31,-13-13 0,0-14-15,-13 14-16,13 0 16,0-1-16,0 1 15,0 0-15,-13 13 16,13-13-16,0 0 16,0 52 15,0-26-31,0 1 15,0-1-15,0 0 16,13 0 0,-13 1-16,0-1 0,-13 0 15,13 0 17,-14-39-1,41-1-16,-27 14-15,13 0 16,0 0-16,1 13 16,-14-14-16,26 1 0,-13 0 15,0 13 1,1 0-16,-1 0 16,0 0-16,-13 13 15,0 0 1,13-13-16,-13 14 0,-13-1 15,13 0 1,0 0 0,-13-13-16</inkml:trace>
  <inkml:trace contextRef="#ctx0" brushRef="#br0" timeOffset="19049.97">10504 5265 0,'0'-13'16,"0"0"0</inkml:trace>
  <inkml:trace contextRef="#ctx0" brushRef="#br0" timeOffset="21878.04">16245 6244 0,'-13'0'16,"40"13"0,-1-13-16,27 14 15,-13-14-15,66 0 0,-54 0 16,68 0-1,25 0-15,-66 0 0,14 0 16,-27 0-16,14 0 0,-1 0 0,0 0 16,54 0-16,-67 0 15,0 0-15,66 13 0,-79-13 16,13 0-16,53 0 0,-66 0 16,13 0-16,-13 0 0,0 0 15,53 13-15,-13-13 16,-14 0-16,-39 13 15,-14-13-15,14 0 0,-14 0 16,27 0-16,0 0 16,-13 0-16,-14 0 15,27 0-15,0 0 16,-13-13-16,-14 13 0,-13 0 16,27 0-16,-27 0 0,1 0 15,-1 0-15,13-13 16,1 13-16,-14 0 15,0 0-15,14 0 0,-14 0 16,0 0-16,14 0 16,-14-13-16,13 13 15,1 0 1,-14-14 0,0 14-16,0 0 15,-13-13-15,14 13 16,-1 0-16,0-13 0,0 13 15,-13-13-15,14 13 16,-1-14-16,0 14 16,-13-13-16,13 13 0,1-13 15,25-27 1,-26 27-16,1 0 16,-14 0-16,13-1 0,-13 1 0,13-13 15,0 12-15,1-12 16,-1 0-16,0-1 15,0-13-15,-13 27 0,13-26 16,1-14 0,-1 13-16,-13 13 15,13 1-15,0-14 16,1 14-16,-1-14 0,0 14 16,-13 12-16,0-12 15,13 0-15,-13 12 0,0 1 16,-13 0-16,13-14 15,-13 14-15,0 0 16,-1 0-16,1 0 16,-13-1-16,-1 1 15,1 0-15,13 13 0,-14-13 16,-52-1-16,-1-12 16,-12-1-16,39 27 0,-40-26 15,27 13 1,0 0-16,-53-1 0,53 1 15,-14 0-15,14 13 0,0-13 0,13 13 0,-13-14 16,0 14-16,-80-13 16,14 13-16,66-13 0,-13 13 15,-54 0-15,80 0 0,-26 0 16,-53 0-16,-14 0 16,27 0-1,66 0-15,-66 13 0,79-13 16,-13 0-16,14 0 0,-1 13 15,-26-13-15,26 0 0,-13 14 16,-13-14-16,40 13 16,-14-13-16,14 0 0,-27 13 15,26 0-15,1-13 0,-14 27 16,14-27-16,-14 26 16,27-26-16,-40 27 15,40-27-15,-14 13 0,14 0 16,-14-13-16,-12 27 0,25-27 15,1 13-15,-13 0 0,-1 0 16,1 1-16,-1 12 16,14-13-16,0-13 15,13 13-15,-13 14 16,13-14-16,0 14 16,0 12-16,0-26 15,0 14-15,13-1 16,-13 1-16,13 13 0,14 39 15,-27-53 1,13 1-16,0 39 0,0-40 16,-13-12-16,40 78 15,-27-65-15,0-14 16,1 13-16,25 27 16,1-26-16,53-1 15,-54-13 1,67-13-16,0 0 15,0-13-15</inkml:trace>
  <inkml:trace contextRef="#ctx0" brushRef="#br0" timeOffset="25461.61">1812 6932 0,'14'13'15,"25"-13"-15,147-26 16,-107 26 0,13-13-16,1-1 0,0 1 0,26 0 0,0-14 15,0 14-15,53-13 0,13-1 16,-106 14 0,1-13-16,105-1 15,-145 27-15</inkml:trace>
  <inkml:trace contextRef="#ctx0" brushRef="#br0" timeOffset="25694.44">2394 7104 0,'133'-13'0,"237"-40"16,-185 26 0,1 14-16,184-13 31,-304 26-31,-13 0 16</inkml:trace>
  <inkml:trace contextRef="#ctx0" brushRef="#br0" timeOffset="30765.25">22199 1680 0,'0'27'31,"-14"-14"-31,14 13 16,0-13-16,0 14 0,0-1 0,-13 1 16,13-1-16,-13 27 15,13-40-15,0 14 0,-13 39 16,-1-53-16,1 27 15,13-27-15,0 0 0,0 1 16,0-1-16</inkml:trace>
  <inkml:trace contextRef="#ctx0" brushRef="#br0" timeOffset="31098.04">22516 1640 0,'13'-26'16,"-26"52"-1,13 1-15,-13 13 16,0 26-16,-1 0 16,14-40-16,0 1 0,0-1 0,14 1 15,-14-14-15,26 27 16,-13-27-16,0-13 0,1 13 0,12 0 15,-13-13-15,1 0 16,-1-13-16,0 13 0,0 0 16,1-13-16,-14-14 15,0 14 1,0 0-16,-14 13 0,1 0 16,-13 0-16,12 13 0,1-13 15,-13 13-15,12-13 0,1 14 16,-13-1-16</inkml:trace>
  <inkml:trace contextRef="#ctx0" brushRef="#br0" timeOffset="31725.29">23310 1601 0,'-13'26'16,"13"-13"-16,0 1 0,-14 12 15,14-13-15,0 14 0,0-1 0,0 1 16,-13-14-16,13 13 0,0-12 16,0 12-16,0-13 0,0 14 0,0-14 15,0 0-15,0 0 0,0 1 16,0-1-16</inkml:trace>
  <inkml:trace contextRef="#ctx0" brushRef="#br0" timeOffset="31992.39">23376 1627 0,'93'-39'15,"-67"39"-15,-13 0 16,0 0-16,-13 13 0,14-13 15</inkml:trace>
  <inkml:trace contextRef="#ctx0" brushRef="#br0" timeOffset="32153.42">23310 1812 0,'26'14'31,"-26"-28"-31,40 14 16,13 0-16,-27 0 16,1 0-16</inkml:trace>
  <inkml:trace contextRef="#ctx0" brushRef="#br0" timeOffset="33289.19">22238 2686 0,'13'-27'0,"1"27"0,12-13 15,1 26 1,-14-13-1,-13 13-15,13-13 0,-13 14 16,0-1-16,0 0 0,-13 0 16,0 0-16,13 1 0,-14-1 0,1 0 15,0 0-15,0 1 0,-1-1 0,14 0 16,-13-13-16,13 13 0,-13 1 16,0-1-1,39-13 1,1 0-1,-14-13-15,27 13 16,-27-14-16,0 14 16,27-13-16,-14 0 0,-13 0 0,14-1 15</inkml:trace>
  <inkml:trace contextRef="#ctx0" brushRef="#br0" timeOffset="33475.39">22675 2527 0,'13'-13'16,"-26"65"0,13-38-1,0-1-15,0 0 0,0 0 16,0 1-16,0-1 0,0 13 16,-13 1-16,13-1 15,0-13-15,0 1 0,0-1 16</inkml:trace>
  <inkml:trace contextRef="#ctx0" brushRef="#br0" timeOffset="33878.49">23574 2474 0,'-92'-13'0,"79"13"0,-1 0 16,14 13-16,-13-13 0,13 13 15,0 0-15,13 14 16,1-14-16,-14 0 0,13 0 16,13 14-16,-26-14 15,13 0-15,1 1 0,-14-1 0,13-13 0,-13 13 16,0 0 0,0 1-16,-13-1 0,13 0 15,-14-13-15,1 13 0,-26 0 16,25-13-16,-12 14 0,13-14 15,-1 13-15,-25-13 0,25 13 16,1-13-16</inkml:trace>
  <inkml:trace contextRef="#ctx0" brushRef="#br0" timeOffset="34487.19">21974 3188 0,'66'-13'0,"-40"13"15,27-13-15,40 0 0,-40 13 16,13-14-16,0 1 0,0 13 0,53-26 16,-66 26-1,13-14-15,0 1 0,53-13 0,-26 12 16,-53 1-16,39-13 16,-52 13-16,-1-1 15,1 1-15,-14 0 16,0 0-16,-13-1 0,0 1 0,0 0 15,0 0-15</inkml:trace>
  <inkml:trace contextRef="#ctx0" brushRef="#br0" timeOffset="35154.33">22860 3664 0,'26'-13'16,"-12"13"-16,-1 0 15,0 0-15,0 0 0,1 0 16,-1 0 0,0 13-16,0 1 0,-13-1 0,0 0 15,0 0-15,0 1 16,0-1-16,0 13 0,0 1 0,0-14 15,0 0-15,0 0 0,0 1 16,0-1-16,0 0 0,0 0 16,0 1-16,0-1 0</inkml:trace>
  <inkml:trace contextRef="#ctx0" brushRef="#br0" timeOffset="35361.08">22781 3836 0,'26'-13'0,"1"0"0,-1 13 16,-13 0-16,14-13 16,26 13-16,13-13 15,-53 13-15,0 0 0,0 0 16,1 0-16,-1 0 15</inkml:trace>
  <inkml:trace contextRef="#ctx0" brushRef="#br0" timeOffset="35693.16">22331 3784 0,'26'0'16,"-12"0"-16,12 13 16,0 13-1,-26 1 1,14-1-16,12-13 15,-26 1-15,27 12 16,-14 1-16,0-27 16,-13 13-16,13 0 0,-13 13 15,0-12 1,0-1-16,-26 27 16</inkml:trace>
  <inkml:trace contextRef="#ctx0" brushRef="#br0" timeOffset="36126.11">22053 4299 0,'384'0'15,"-331"0"-15,26-13 0,-13 13 16,0-13-16,0 13 0,120-26 15,-81-14-15,-52 27 16,-13-14-16,53-26 16,-14-13-16,0-13 15,-39 39-15,13-53 0,13-79 16,-53 67 0,-26 25-1,-40-12-15,14 52 0,-1 0 16,-92 1-16,-27-1 15,-225 66 1,292-12-16,-14 12 16,-66 27-16,26 26 15,40 14-15,53-40 0,14 0 16,12 0-16,1 13 0,13 53 16,13-66-16,13 0 15,40 53-15,26-14 0,40-26 16,-53-39-16,1-14 15,38 0-15</inkml:trace>
  <inkml:trace contextRef="#ctx0" brushRef="#br0" timeOffset="36638.37">23138 4458 0,'26'13'31,"-12"-13"-31,-1 14 16,0-1-16,27 13 15,-27-12-15,0-14 16,27 26-16,-14 1 16,-13-14-16,14 0 0,-14-13 15,14 26-15,-1-26 0,1 14 16,-14-1-16,0-13 15,13 13 1,-12-13-16,-1 0 16</inkml:trace>
  <inkml:trace contextRef="#ctx0" brushRef="#br0" timeOffset="36946.35">23508 4445 0,'53'53'15,"-26"-13"-15,-14-27 16,40 40 0,-27-14-16,1 1 15,-14 13-15,-13-27 16,-13 14-1,13-27-15,-14 1 0,-25 25 16,12-12-16,14-14 16,-13 0-16,-14 14 15,27-27 1,13-14 0</inkml:trace>
  <inkml:trace contextRef="#ctx0" brushRef="#br0" timeOffset="37481.94">24011 4591 0,'13'0'15,"0"13"-15,-13 0 32,0 0-32,-13 0 15,13 1-15,-13-1 16,13 13 15,13-12-31,-13-1 31,13 0-31,-26 13 16,13-12-16,-13-1 16,13 0-1,-13-13-15,13 13 16</inkml:trace>
  <inkml:trace contextRef="#ctx0" brushRef="#br0" timeOffset="37764.97">24183 4696 0,'-13'27'0,"13"-14"16,13 0-16,0 0 15,0-13-15,1 0 0,12 0 16,1 0-16,-14 0 16,13-13-16,-13 0 15,-13 0-15,14 0 16,-14-1-16,0 1 0,-27-13 16,-12 12 15,25 1-31,-12 13 0,-1-13 15,14 13 1,13-13-16</inkml:trace>
  <inkml:trace contextRef="#ctx0" brushRef="#br0" timeOffset="38173.98">24302 4141 0,'-119'39'0,"92"-12"16,-12-1-16,-41 40 16,1 40-16,0 0 15,26 13-15,39 0 16,14-66-16,14 66 16,-1-66-16,27 40 15,13-1-15,-27-65 0,0-1 16,1 1-16,13-14 0,-1 13 15,-12-26-15,26 0 16,79-39-16,-92 12 16,13 1-16,-14-1 0,54-52 15,-27-14-15,27-65 16,-80 105 0,-13-40-16,0 53 0,-13-52 15,-40 26-15,0 0 16,-40 26-1,54 27-15,-94-27 16,94 40-16,-28 0 0,41 0 16,-27 13-1,13 0-15,1-13 16</inkml:trace>
  <inkml:trace contextRef="#ctx0" brushRef="#br0" timeOffset="58852.28">15319 9909 0,'0'79'31,"0"-66"-31,0 0 0,0 40 16,0-39-1,0 12-15,0-13 0,0 14 16</inkml:trace>
  <inkml:trace contextRef="#ctx0" brushRef="#br0" timeOffset="59138.03">15306 9856 0,'80'-66'32,"-67"79"-32,0 13 15,0 1-15,0-14 16,1 40-16,-1 0 15,-13-27-15,0-13 0,13 14 16,-13-14-16,0 0 0</inkml:trace>
  <inkml:trace contextRef="#ctx0" brushRef="#br0" timeOffset="59342.22">15240 10094 0,'238'-53'16,"-158"53"-1,-41 0 1</inkml:trace>
  <inkml:trace contextRef="#ctx0" brushRef="#br0" timeOffset="59891.61">18759 9618 0,'0'-14'15,"-27"67"1,27-13-16,-39 39 16,12 14-1,27-67 1,-13 27-16,0-26 15,13-14-15,0 0 16</inkml:trace>
  <inkml:trace contextRef="#ctx0" brushRef="#br0" timeOffset="60510.04">18627 9750 0,'105'-13'31,"-78"13"-15,-27 13-16,13 0 15,0 14 1,1 12 0,25-12-16,1 26 31,-27-14-15,-39-12-1,-1-1-15,1-13 0,-27 14 16,0-14-1,-79 40 1</inkml:trace>
  <inkml:trace contextRef="#ctx0" brushRef="#br0" timeOffset="63504.21">6204 11642 0,'-132'79'16,"106"-52"-16,-1 12 0,1 1 0,-14 39 15,27 27-15,0 0 16,13-53-16,13 0 15,-13 13-15,26-13 0,27 53 16,13-1-16,-13-65 0,53 40 16,0-28-16,26 1 15,-66-39 1,1-1-16,38 13 0,-52-26 16,53-13-16,-40 0 0,-13 0 15,0-1-15,0-12 0,0-1 16,40-39-16,-14-13 15,-13 0-15,-13-14 16,-27 40-16,14-26 0,-27 39 16,1 0-16,12-39 15,-13 0-15,1-14 16,-14 53-16,0-13 0,0 14 16,-27-94-16,14 94 15,0-1-15,-27-39 16,27 52-16,-40-39 0,13 40 15,14 12-15,-133-65 16,80 52 0,39 27-16,-26-13 15,0 13-15,-1 0 16,-12 13-16,-53 14 16,92-1-16,0-12 15,-79 52 1,53-13-16,13-14 15,27-12-15,-1 26 0,14-40 16</inkml:trace>
  <inkml:trace contextRef="#ctx0" brushRef="#br0" timeOffset="63822.11">6403 11986 0,'-13'277'78,"26"-237"-78</inkml:trace>
  <inkml:trace contextRef="#ctx0" brushRef="#br0" timeOffset="64118.12">6628 12078 0,'0'106'16,"26"-79"-1,1 12 1,-1-39-16,1 13 0,12-26 15,14-26 17,-53 12-32,-26 1 31,-27 12-31,-13 41 31,53-14-31,-14 0 16,1 40-1</inkml:trace>
  <inkml:trace contextRef="#ctx0" brushRef="#br0" timeOffset="65090.24">8784 11324 0,'-26'13'0,"-54"80"16,14 66-16,53-40 15,0 13 1,13-66-16,13 0 0,13 80 15,14-14-15,-13-79 16,39 66-16,-27-66 16,41 40-16,-27-67 0,119 67 15,-119-67-15,105 1 16,-52-27 0,-13-14-16,-1-25 15,1-14-15,-40 13 16,39-26-16,-52 13 15,0 13-15,66-92 16,-27 40-16,-52 39 16,25-53-16,-12 0 15,-27 13-15,-13 1 16,-13 26-16,0 13 0,0-13 16,-40-54-16,26 68 0,-52-54 15,39 53-15,-13 13 16,-66-39-16,-13 13 15,-27 26-15,0 27 16,-92 13 0,159 13-16,12 13 0,-105 27 15,119-26-15,-67 39 16,67-26-16,-26 39 0,52-39 16,-26 65-1,53-78-15,-1-1 0</inkml:trace>
  <inkml:trace contextRef="#ctx0" brushRef="#br0" timeOffset="66142.53">9036 11986 0,'105'-14'15,"-78"14"-15,-14 0 0,0 14 16,-13-1-16,0 0 16,-13 14-16,13-14 0,-26 26 15,12-25-15,-12 25 16,13-25-16,13-1 15,-27 13-15,27-12 16,0-1 0,27-13-1,-14 0-15,0-13 0,67-14 16,-28 1 0,-12 12-16,-13-12 15,39-53-15,-27 26 16,1 0-16,-27 39 15,-13 1-15,14 0 0,-14 0 16,13 0-16,-26 52 31,13 1-15,-14-14-16,14 14 16,0-27-16,0 14 15,14-1-15,-14 1 16,13-1-1,0-13-15,-13 1 16,13-14-16</inkml:trace>
  <inkml:trace contextRef="#ctx0" brushRef="#br0" timeOffset="67057.75">7144 12859 0,'-53'106'16,"40"-40"-16,-1-27 0,-25 80 15,39-79 1,-14 40-16,14-54 0,14 53 15,25-26 1,-12-39-16,39 12 16,27-13-16,26-13 15,26-13 1,120 13-16,-80-13 16,0 13-1,14-13-15,145 13 16,-199-14-1,-79 14-15,-13 0 0,40-13 16,-40 0-16,-14 0 0,41-14 16,-27 1-16,-40 12 15,0 1-15,14-26 16,-1-1-16,-26-40 16,-13 1-1,0 0-15,-27-40 16,27 92-16,13 1 0,-14-14 15,1 27 1,0-40 0,0 79-1,13-12 1,0-1-16</inkml:trace>
  <inkml:trace contextRef="#ctx0" brushRef="#br0" timeOffset="67530.32">8850 13414 0,'-13'14'0,"26"-28"16,-39 54-16,13 0 0,-1-14 16,1 40-16,0-26 15,13-14-15,0 1 0,-13 26 16,13-27-16,0-12 0,13 12 15,-13-13-15,13 14 0,0-14 0,1 0 16,52 14 0,-40-27-16,27 0 0,0-14 0,93 1 15,12-13-15,1 12 16,-66 1-16,92-13 16,-93 13-16,14-1 15,80 1-15,-94 0 0,-12 13 0,12-13 16,-26 13-16,106 0 15,-132 0-15,-14-14 16,1 14-16,13 0 0,-14-13 16,-13 13-16,-13-13 0</inkml:trace>
  <inkml:trace contextRef="#ctx0" brushRef="#br0" timeOffset="67807.08">10557 13414 0,'79'53'0,"-26"-13"16,-185-133-16,304 239 0,-159-133 0,0 14 15,1-1-15,-14 14 16,0-1-16,-14 14 16,1-26-16,0-1 0,-14 14 15,1-14-15,26-12 16,-13-14-16</inkml:trace>
  <inkml:trace contextRef="#ctx0" brushRef="#br0" timeOffset="68555.19">11324 13335 0,'40'40'15,"-40"-27"1,-13 13-16,-1 14 16,14-13-1,0-14 1,0 0-16,14 0 0,-1 0 16,0 1-16,-13-1 0,13 13 15,-13 1 1,-26 12-16,13-25 15,-14 12 1,14-13-16,-14 1 0,27-28 31,0 1-15,14 0-16</inkml:trace>
  <inkml:trace contextRef="#ctx0" brushRef="#br0" timeOffset="68809.36">11509 13467 0,'53'80'47,"-26"-80"-47,-14 0 0,13 0 16,27-14 0,-39 1-16,12 0 0,-13-13 15,1 12 1,-28-25-16,1 25 15,-27-12-15,27 13 0,-13 13 16,-1-14-16,1 1 0,-27 0 16,-13-13-1,-14 12-15,54 1 16</inkml:trace>
  <inkml:trace contextRef="#ctx0" brushRef="#br0" timeOffset="72666.07">17529 11933 0,'-27'-27'0,"14"27"16,-14 0-16,-25 40 15,-1 0-15,-13 39 16,26-39-16,-26 52 15,-27 80 1,80-132-16,0 39 0,13-39 16,13-14-16,13 54 15,40-1-15,-13-39 16,14 0 0,-15-27-16,28 0 15,-54-13-15,1-13 16,26 0-16,-14-1 0,1 1 15,39-40 1,1-26-16,-41 13 16,-12 26-16,-14 0 0,0-13 15,1-66 1,-28 0-16,-12 40 16,-1 52-16,14 1 15,-13 0-15,-67-27 16,14 26-16,39 14 15,-39-14-15,26 27 0,26 0 16,-12 0-16,-1 0 0,14 0 16,-41 14-16,14-14 15,14 13-15</inkml:trace>
  <inkml:trace contextRef="#ctx0" brushRef="#br0" timeOffset="78425.33">17793 12581 0,'106'40'0,"-40"-14"15,40 14-15,-40-40 16,0 13-16,80 13 0,-54-12 15,-12-1-15,12 0 0,160 14 16,-160-27-16,41 13 16,-14-13-16,145 13 0,-158 0 15,-13-13-15,39 14 0,66-14 16,14 13-16,-119-13 0,-14 0 16,1 0-16,105 0 15,-146 0-15,28 0 16,-41 0-16,0 0 0,-12 0 15,-1 0-15,0-13 16,0 13 0,-13-14-16,-13 1 15</inkml:trace>
  <inkml:trace contextRef="#ctx0" brushRef="#br0" timeOffset="78716.98">20849 12647 0,'27'0'16,"-14"13"-1,13 1-15,-12-14 16,38 39-16,-25-26 0,-14 1 15,0 12-15,14 1 16,-14 12-16,-13-25 16,0 25-16,-13 1 15,0-27-15,-1 0 0,-65 67 16,39-54 0,1 1-1,25-27-15</inkml:trace>
</inkml:ink>
</file>

<file path=ppt/ink/ink20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50:16.198"/>
    </inkml:context>
    <inkml:brush xml:id="br0">
      <inkml:brushProperty name="width" value="0.05292" units="cm"/>
      <inkml:brushProperty name="height" value="0.05292" units="cm"/>
      <inkml:brushProperty name="color" value="#0070C0"/>
    </inkml:brush>
  </inkml:definitions>
  <inkml:trace contextRef="#ctx0" brushRef="#br0">10491 6165 0,'79'0'16,"-66"0"-16,1 0 16,12 0-16</inkml:trace>
  <inkml:trace contextRef="#ctx0" brushRef="#br0" timeOffset="2667.02">4577 6601 0,'93'40'16,"-67"-27"-16,14 1 16,0-14-16,52 13 0,-39 0 0,13-13 15,1 13-15,-15-13 16,1 0-16,14 13 0,-15-13 0,1 0 15,0 0-15,53 0 0,-53 0 16,0 0-16,0 0 0,-13-13 0,-1 13 16,14-13-16,-13 13 0,13-13 15,-27 0-15,1-1 0,-14 14 16,13-13-16,-12 0 0,12 0 16,0-14-16,-12 14 0,-1-14 15,0 14-15,0 0 0,1 0 0,-1-14 16,0 14-16,0 0 15,-13 0-15,14-27 0,-1 27 16,0-1-16,0-12 0,-13 0 16,13 12-16,-13 1 0,0-13 15,14-1-15,-14 1 16,0 12-16,0 1 0,0-26 16,0-1-16,0 27 15,-14-1-15,14-12 0,0 13 0,-13-1 16,0-25-16,0 12 15,0 14-15,-1 0 0,1 0 0,0-14 16,0 14-16,-14-13 16,-26-14-16,40 27 15,-13-1-15,-27-25 16,26 25-16,14 1 0,-53-13 16,39 26-16,-12-27 0,12 27 15,1-13-15,-40 0 0,39 13 16,1-13-16,-1 13 15,-65-14-15,26 14 16,13-13-16,-14 13 0,28 0 16,-54 0-16,67 0 15,-14 0-15,-13 0 0,13 13 16,-39-13-16,-14 0 16,54 14-16,-54-1 15,27-13-15,-13 26 16,26-26-16,13 14 0,14-1 15,-14-13-15,-26 26 16,0-13-16,13 14 16,0-14-16,13 14 15,14-14-15,-1-13 16,-13 26-16,14 1 16,0-1-16,12 1 0,-12-1 15,13 1-15,-14-1 16,14 14-16,-14 26 15,14-53-15,13 27 16,-13-1 0,13 1-16,0-27 0,0 1 15,0 25-15,13 1 16,-13-14-16,13-12 16,-13 12-16,14 1 15,-1-1-15,-13-13 0,13 14 16,0-14-16,1 0 15,-14 14 1,13-14-16,0 0 16,14 14-16,-27-14 15,26 0 1,-13 0-16,0 1 16,1-1-16,-1-13 15,0 13-15,0-13 0,27 13 16,-13-13-1,12 13-15,-26-13 16,27 0-16,0 14 16,13-14-1,-14 0-15,-25 0 16,-1 0-16,0 0 0,27 0 16,-14 0-16,-13 0 15,14 0-15,-14 0 16,0 0-16,27-14 15,-13 14 1,-1 0 0,-13 0-1,0 0-15,1 0 16,-1 0-16,0 0 16,0 0-1,1 0 1,-1 0 15,0 0 0,-13-13 391,13 13-406,-13-13-1,27-40 1</inkml:trace>
  <inkml:trace contextRef="#ctx0" brushRef="#br0" timeOffset="4551.34">8268 6654 0,'0'27'0,"13"-14"16,14 13-1,-1-12-15,1-14 16,26 26-16,66 14 15,-80-40-15,1 13 0,53 13 16,-54-26-16,41 14 16,12-1-16,1-13 15,0 0-15,-40 0 16,52 0-16,28 0 16,-54 0-1,-13-13-15,-39 13 16,39 0-16,-13-14 15,-14 14-15,14-13 0,-13 0 16,13-13 0,-13 12-16,-14 1 0,14 0 15,-27 0-15,13-1 0,1 1 16,-1-13 0,14-1-1,-13 1-15,-14 26 0,0-40 16,0 40-1,-13-13-15,27-27 16,-27 27-16,13 0 0,0-27 16,0 40-1,-13-13-15,0 0 0,14-14 16,-14 14-16,13-27 16,-13 27-16,0 0 15,0 0-15,-13-1 0,13-12 16,0-14-16,-14 0 0,1 1 15,-13-1 1,-1-13 0,14 27-16,0-1 0,0 1 15,-14-1 1,-26-12-16,27 25 16,-1-12-16,-52-27 15,39 27 1,27 12-16,-40-12 0,13-1 15,27 27-15,-27-26 16,1 13 0,12 0-16,1 13 0,13-14 0,-54 1 15,15 0 1,38 13-16,-39 0 16,0 0-16,-39 0 15,52 0 1,27 0-16,-27 0 15,-13 0-15,14 0 16,-1 0-16,27 0 16,-27 13-16,-13-13 15,27 0-15,12 0 0,-38 13 16,-15-13-16,28 14 16,-14-14-1,13 13-15,0 0 16,1 0-16,12-13 15,-12 13-15,-14 14 16,0-14 0,13 0-16,27 1 15,0-1-15,-14-13 0,1 13 16,-40 27 0,39-27-1,14 0-15,0-13 0,-54 40 16,54-27-1,0 0-15,-13 1 16,-1 12-16,14 0 16,-14 1-16,14-1 15,13-12 1,0-1-16,-13 40 16,26-40-16,-13 0 0,13 27 15,1 13 1,-1-40-16,13 40 15,14 0-15,13 0 16,-27-40 0,27 27-1,-39-27-15,52 13 16,-13 1-16,-14-14 16,-12 0-1,-14-13 1,27 14-16,-1-28 31,-25 14-31</inkml:trace>
  <inkml:trace contextRef="#ctx0" brushRef="#br0" timeOffset="5907.98">5900 6562 0,'-13'13'46</inkml:trace>
  <inkml:trace contextRef="#ctx0" brushRef="#br0" timeOffset="8803.82">6324 3268 0,'-14'53'15,"14"-27"-15,0 0 0,0 1 0,0-1 16,0 54-16,0-41 16,0 1-16,-13 13 0,13-27 15,0 1-15,0-1 0,0-12 0,-13 25 16,13-12-16,0-14 15,0 0 1</inkml:trace>
  <inkml:trace contextRef="#ctx0" brushRef="#br0" timeOffset="9482.96">6376 3281 0,'106'-13'16,"-92"13"-16,38 13 15,-38 0-15,25 0 0,1 27 16,-13-14-16,-14 1 0,0-1 16,0 1-16,0 26 0,-13-14 15,0-12-15,-13 13 16,-13 26-16,-14-13 15,0-14 1,27-12-16,-27-1 16,27-13-16,-13 1 0,-1-1 15,14-13-15,0 0 16,0 0-16,-1 0 0,14-13 16</inkml:trace>
  <inkml:trace contextRef="#ctx0" brushRef="#br0" timeOffset="9870.89">7038 3307 0,'-79'40'0,"65"-40"15,28 53-15,-1-13 16,13-14-16,-13 0 16,14 1-16,-1-14 15,1 14 1,-27-14-16,13 0 0,-13 14 15,0-14-15,-13 0 16,0 0-16,-27 0 0,0 1 16,-13 12-16,14-13 15,25-13-15,-12 0 16,13 0-16,-1 14 0,1-14 16</inkml:trace>
  <inkml:trace contextRef="#ctx0" brushRef="#br0" timeOffset="10169.9">8004 3492 0,'79'0'16,"-26"-13"-16,-13 13 0,-14-13 16,14 13-16,-1 0 0,28-13 15,-41 13-15,27-13 16,0-1-16,-40 14 15,0-13-15,1 13 0</inkml:trace>
  <inkml:trace contextRef="#ctx0" brushRef="#br0" timeOffset="10401.99">8467 3294 0,'79'27'16,"-39"-1"-16,-27-13 16,27 14-16,-27-14 0,13 27 15,-26-27-15,14 13 16,-28-13-16,14 14 0,-13-14 16,0 14-16,-80 65 0,27-39 15,26-26-15,-12-1 16,12 1-16,13-27 15</inkml:trace>
  <inkml:trace contextRef="#ctx0" brushRef="#br0" timeOffset="13173.3">9671 3175 0,'13'26'0,"-13"-12"16,13 12-16,-13-13 16,0 1-16,13 12 0,-13 1 0,0-1 15,13 14-15,1-1 16,-14-12-16,0-14 0,0 13 15,13-12-15,-13-1 0,0 0 16</inkml:trace>
  <inkml:trace contextRef="#ctx0" brushRef="#br0" timeOffset="13543.68">9618 3201 0,'39'-39'0,"-25"39"0,12-13 15,-13 26-15,0-13 0,14 0 0,13 13 16,12 13-16,-25 1 16,-14-14-16,14 0 15,-14 1-15,-13-1 0,13 0 0,-13 14 16,0-14-16,0 0 0,0 0 0,0 14 16,-13-1-16,0-13 15,-14 14-15,27-14 0,-13 0 0,0 0 16,-1-13-1</inkml:trace>
  <inkml:trace contextRef="#ctx0" brushRef="#br0" timeOffset="14325.87">10173 3122 0,'0'13'0,"0"1"16,0-1-16,0 26 15,13-12 1,-13-14-16,14 0 0,-14 1 16,0-1-16,13 13 15,-13-12 1,13-41 15,-13 14-31,0-14 16,0 14-16,0 0 15,0 0-15,0-1 16,0 1-16,0 0 16,13 13 15,1 13 0,-1-13-31,0 0 16,14-13-16,-14 0 15,13 13 1,-13-13-16,1 13 0,-1 0 16,13 13-16,-12-13 15,-1 13-15,0 13 16,0-12-16,1-1 15,-1 0-15,13 0 16,1 1 0,-14-14-16,0 0 15</inkml:trace>
  <inkml:trace contextRef="#ctx0" brushRef="#br0" timeOffset="15055.66">7726 4233 0,'0'27'15,"0"-14"-15,0 0 16,13 14-16,-13-1 16,0-13-16,13 1 0,-13-1 15,0 0-15,14 14 16,-14-14-16,13 0 15,-13 0 1</inkml:trace>
  <inkml:trace contextRef="#ctx0" brushRef="#br0" timeOffset="15335.23">7686 4220 0,'27'-40'0,"39"14"16,-40 26-16,-13 0 15,1 13-15,25 0 0,-12 14 16,-14-14 0,-13 14-16,0-14 0,0 13 15,0-13-15,-13 1 0,0 12 16,-1-13-16,14 1 15,-13-1-15,13 0 16,-13 0 0,39-26-1</inkml:trace>
  <inkml:trace contextRef="#ctx0" brushRef="#br0" timeOffset="15611.65">8083 4180 0,'-53'27'0,"40"-27"0,13 13 15,66-53-15,-132 107 0,79-41 16,0 0-16,14 14 16,-14-27-16,0 14 15,0-14-15,1 14 16,12 12-16,-26-12 15,-13-14-15,13 0 16,-13 0-16,-1 1 0,1 12 16,-26-13-1,25-13 1,1 0 0</inkml:trace>
  <inkml:trace contextRef="#ctx0" brushRef="#br0" timeOffset="15835.16">8731 4313 0,'93'-14'16,"-40"1"-1,-27 13-15,-13 0 0,40-13 16,-26 0 0,-14 13-16,14 0 0,-14-13 15</inkml:trace>
  <inkml:trace contextRef="#ctx0" brushRef="#br0" timeOffset="16050.69">9009 4128 0,'132'39'16,"-92"-12"-16,-27-1 16,1 1-16,-28 12 15,1 1-15,-40 13 16,40-27-16,-40 14 15,27-14 1,-1-12-16,14-1 0</inkml:trace>
  <inkml:trace contextRef="#ctx0" brushRef="#br0" timeOffset="16790.81">10200 3942 0,'0'40'0,"0"-14"16,0 41-16,0-28 15,0 1-15,13-14 16,-13-12-16,0-1 0,0 13 15,0-12-15,13-14 0</inkml:trace>
  <inkml:trace contextRef="#ctx0" brushRef="#br0" timeOffset="17070.28">10186 3969 0,'14'-53'16,"-1"40"-1,-13-1-15,13 1 16,0 13-16,27 13 16,-13 14-16,-14 13 15,13-1 1,1 27-16,-14-26 15,0 0 1,0-14-16,-13 1 16</inkml:trace>
  <inkml:trace contextRef="#ctx0" brushRef="#br0" timeOffset="17301.65">10213 4141 0,'13'-27'0,"0"14"16,-39 53-16,79-93 0,-27 40 15,14-1-15,0 1 16,-14 0-16,1 13 15,39-27-15</inkml:trace>
  <inkml:trace contextRef="#ctx0" brushRef="#br0" timeOffset="18365.48">10729 3876 0,'0'-13'16,"0"39"-1,13 1-15,-13-1 16,13 40-1,1-26-15,-14-27 16,13 14-16,-13-1 16,0-12-16,0-1 15,-13 0 1,-1-13-16,-12-13 16,13 13-16,-1 0 0,-12 0 15,-27 13 1,40-13-16,-14 13 15,1 0-15,13 1 16,13-1 0,0 0-16,13 0 15,13-13-15,-12 0 16,25-13-16,-12 13 16,-14-13-16,53-14 15,-39 1-15,-1 0 16,-13 12-1,-13 1-15,13 13 0,1-13 16,-14 0 0,13 26-1,-13 0 1,13-13 0,-13 13-16,13-13 15,1 0-15,-1 0 16,0 0-1,0 0 1,1-13-16,-1 0 16,0 13-16,13-13 15,-12-1-15,12 1 16,-13 13-16,14-13 16,-14 0-16,-26 26 62,0-13-46,13 13-16,13 0 31,0-13-31,0 0 16,0-13-1,1 13 1,-1 13-1,0-13-15,0 0 16,1 0 0,-1 14-1,0-14 1,14-14-16</inkml:trace>
  <inkml:trace contextRef="#ctx0" brushRef="#br0" timeOffset="19882.5">11562 3731 0,'0'26'32,"14"-13"-32,-14 1 15,13 25 1,13-12 0,1-27-1,-1 0-15,-13 0 16,1-14-1,-1 14-15,0-13 16,0 13 0,1 13-1,-1-13 1,0 0 0,0 0-1,0-13-15,1 0 16,-1-13-1,0 12 1,-13 1-16,0 0 16,0 0-16,13 13 15,-13-14-15,0 41 32,0-14-17</inkml:trace>
  <inkml:trace contextRef="#ctx0" brushRef="#br0" timeOffset="20110.52">11919 3823 0,'27'0'16,"-27"-13"-16,13 0 0,0 0 15,-13-1 1,14 1-16,-28 26 62,-39 40-62,106-92 0,-66 52 0,26 0 16,-13 0 0,14 0-1,12-13 1,-13 0-16,1-13 16</inkml:trace>
  <inkml:trace contextRef="#ctx0" brushRef="#br0" timeOffset="20540.43">12303 3532 0,'-13'40'0,"13"-14"16,0-12 0,0-1-16,0 0 0,-13 13 15,13 1-15,0-1 16,-14-12 15,1-14-15,0 0-1,0 0-15,0 0 16,-14 26 0,14-13-16,13 1 15,-13-1 1,26 0 0,13 0-1,-12-26 1,-1 13-16,0 0 15,0-13-15</inkml:trace>
  <inkml:trace contextRef="#ctx0" brushRef="#br0" timeOffset="20848.63">12634 3638 0,'159'-53'0,"-120"40"16</inkml:trace>
  <inkml:trace contextRef="#ctx0" brushRef="#br0" timeOffset="24844.63">10147 9260 0,'13'53'16,"0"-39"-16,0 52 15,-13-53-15,0 27 16,14-1-16,-14-12 16,0-14-16,0 27 15</inkml:trace>
  <inkml:trace contextRef="#ctx0" brushRef="#br0" timeOffset="25562.05">10345 9313 0,'13'40'15,"-13"-14"1,14-12-16,-1 12 16,27 14-1,-1-14-15,1-26 16,-27 0-1,0 0-15,54-26 16,-54 13 0,0-27-16,-26 27 15,0-27 1,-27 0 0,13 27-1,14 0-15,0 0 0,-13 13 16,12-14-1,1 14-15,0 14 16</inkml:trace>
  <inkml:trace contextRef="#ctx0" brushRef="#br0" timeOffset="25892.89">10729 9208 0,'0'52'16,"0"-25"-1,13-27-15,-13 26 16,13-12-16,1-1 16,25 0-16,-12-13 15,-14 0 1,0-13-1,0 0-15,-13-1 0,0 1 16,0 0-16,-13-14 16,0 1-16,0 0 15,13 12-15,-14 1 16,1 0 0,0 13-16,-40 53 31</inkml:trace>
  <inkml:trace contextRef="#ctx0" brushRef="#br0" timeOffset="26307.84">10226 9790 0,'27'13'16,"-14"-26"-16,0 13 0,66-14 15,-39 14-15,0-13 16,52 0-16,-52 0 16,0-1-16,-1 1 0,41 0 15,-40 0-15,12 0 0,-25-1 16,13 14-1,-27 0-15</inkml:trace>
  <inkml:trace contextRef="#ctx0" brushRef="#br0" timeOffset="26785.62">10345 9895 0,'93'-13'16,"-27"-13"-16,-40 26 15,27-14-15,0 1 16,-26 13-16,-1-13 0,-13 13 15,40-13-15,-39 13 0,12 0 16,-13-13-16,14 13 0,-1 0 16,1-14-1,-14 14-15,0 0 32,0 0-17,1 0 1,-1 0-16,0 0 31,-13-13 32,13 13-48,-13-13 1,13 0-1</inkml:trace>
  <inkml:trace contextRef="#ctx0" brushRef="#br0" timeOffset="29760.63">10425 11165 0,'39'-13'0,"1"13"32,-14 0-32,-12 0 15,12-13 1,-26 26 0,-26 0-1,-1 1-15,14-14 16,-40 26-16,40-13 15,-27 1-15,14-1 16,12 0 0,14 0-16,14-13 15,-14 13-15,39 1 16,14-1 0,-26 0-16,-14 0 15,27 1-15,-27-1 16,0 0-16,-13 0 15,13-13-15,-26 14 16,13-1-16,-40 13 0,27-13 16,0 1-16,0-14 15,-40 26-15,40-26 16,-14 0-16,14 0 16</inkml:trace>
  <inkml:trace contextRef="#ctx0" brushRef="#br0" timeOffset="30450.97">10835 11192 0,'39'-27'0,"-25"14"15,-1 13-15,-40 13 32,14 1-17,-27 12-15,14-13 16,0 1-16,-1-1 16,14 0-1,0 0 1,52 0-1,27 1 1,-52-1 0,25-13-1,-12 13-15,-27 0 16,-13 14 0,-14-14-1,14 0-15,-80 27 16,54-27 15,25 0-31</inkml:trace>
  <inkml:trace contextRef="#ctx0" brushRef="#br0" timeOffset="32661.92">10279 10716 0,'0'39'31,"0"-25"-15,0 12-16,-13 0 16,13 1-16,0 13 15,0-14 1,0 1-16,0-14 15</inkml:trace>
  <inkml:trace contextRef="#ctx0" brushRef="#br0" timeOffset="32951.53">10226 10676 0,'80'13'15,"-67"0"-15,0-13 0,0 27 16,14-1 0,-27-12-16,0-1 0,13-13 0,-26 13 15,13 13-15,-14 1 16,1-14-16,0 0 15,0 1-15,-14-1 16,14 0-16</inkml:trace>
  <inkml:trace contextRef="#ctx0" brushRef="#br0" timeOffset="33221.79">10517 10636 0,'-66'13'15,"79"27"1,1-13 0,-1-1-16,13 1 15,-26-14-15,13 0 16,-13 13-16,14 1 15,-28-14-15,14 0 0,0 1 16,-13-1-16,0 13 16,0-12-16,0-1 15</inkml:trace>
  <inkml:trace contextRef="#ctx0" brushRef="#br0" timeOffset="33606.8">11390 11179 0,'0'53'16,"0"-14"-16,0-12 15,0-1-15,0-13 16,0 14-16</inkml:trace>
  <inkml:trace contextRef="#ctx0" brushRef="#br0" timeOffset="33807.14">11258 11324 0,'79'-40'0,"-39"27"16,-13 13-16,-1-13 15,53 0 1,-12 13-16,-41-13 16</inkml:trace>
  <inkml:trace contextRef="#ctx0" brushRef="#br0" timeOffset="35584.08">12158 11060 0,'79'-27'16,"-66"27"-16,0 0 16,-52 13-1,26-13 1,-1 14-16,-12-1 0,-40 13 16,52-26-16,-12 13 15,0 1-15,12-14 0,1 13 16,0 0-16,26 0 15,0-13 1,1 14-16,-1-14 0,0 0 16,13 0-16,1 13 0,-1 0 15,1-13-15,-14 0 16,-13 13-16,13-13 16,-13 14-16,0-1 15,-13 13-15,-27-13 16,14 1-1,13-1-15,-27 0 0,14-13 16,-1 13 0,14-13-16</inkml:trace>
  <inkml:trace contextRef="#ctx0" brushRef="#br0" timeOffset="36043.04">12634 11007 0,'-27'0'0,"1"13"16,13-13-1,-1 0-15,1 13 0,0-13 16,0 13-16,0 1 16,13-1-16,13-13 15,0 0-15,0 13 16,0-13-16,27 13 15,-27-13-15,1 13 0,39 1 16,-40-1 0,0-13-16,0 13 0,0 14 15,-26-14-15,0 0 16,-13 14-16,-14-14 16,13 0-16,-65 27 15,65-27-15,-12-13 16,-14 13-16,26-13 15,14 0-15,0-13 16</inkml:trace>
  <inkml:trace contextRef="#ctx0" brushRef="#br0" timeOffset="37382.76">11986 10491 0,'13'-13'15,"-13"39"-15,13-13 16,-13 14 0,0-14-16,0 0 0,0 0 15,0 1-15,0 12 16,0 0 0,13-26-16,-13 14 0,0-1 15</inkml:trace>
  <inkml:trace contextRef="#ctx0" brushRef="#br0" timeOffset="38244.39">11972 10557 0,'0'-27'0,"0"14"15,14 0-15,-1 0 16,-13 0-16,13-1 16,0 1-16,1 13 0,-1-13 15,0 13-15,0 0 16,14 13-16,-14 0 15,0-13-15,0 14 0,1 12 16,-14-13-16,13 0 16,-13 1-16,0-1 15,0 0-15,13 14 0,-13-14 16,0 0-16,0 0 0,0 0 16,0 1-16</inkml:trace>
  <inkml:trace contextRef="#ctx0" brushRef="#br0" timeOffset="38433.48">11986 10649 0,'39'-39'16,"-25"39"-16,-1 0 15,26-13-15,28-14 16,-28 14-16</inkml:trace>
  <inkml:trace contextRef="#ctx0" brushRef="#br0" timeOffset="38790.17">12462 10411 0,'0'-13'15,"0"40"1,0-14-16,0 13 16,0-12-1,0-1-15,13 0 0,-13 0 16,0 14 0,0-14-16,0 0 15,-13-13 1,0 13-16,-14-13 15,14 0 1,-40 27 0,40-27-16,-14 13 15,14 0-15,13 0 16,13 1 0,1-14-16,-1 0 15,0 0 1,0 0-16,14 0 15,12 0-15</inkml:trace>
  <inkml:trace contextRef="#ctx0" brushRef="#br0" timeOffset="39302.12">12713 10504 0,'0'-26'16,"-13"52"-16,13-13 15,13 14 16,-13-14-31,13 0 16,1-13-16,-1 0 16,0 0-1,0-13-15,1 13 16,-1 0-16,0 0 31,0 13-15,1 0-1,-1-13 1,0-13 0,0 13-1,-13-13-15,13-14 16,1-12 0,-14 26-1,13-1-15</inkml:trace>
  <inkml:trace contextRef="#ctx0" brushRef="#br0" timeOffset="39646.92">13031 10570 0,'-13'-13'0,"13"0"31,-27 26-15,27 0 0,0 0-1,0 1-15,13-14 16,1 0 0,-1 0-1,26-14 1,-25 14-16</inkml:trace>
  <inkml:trace contextRef="#ctx0" brushRef="#br0" timeOffset="40263.06">13229 10319 0,'-13'13'16,"13"0"-16,-13 0 15,13 1-15,-14-1 0,14 13 16,0-12-16,0-1 0,-13 0 16,13 0-16,0 1 15,0-1-15,0 0 16,-13 0-1,13 0 1,0 1 0,0-1 15,-13-40 110,0 27-110,-1 0-16,1 14-15,0-14 16,13 13 0,13 0-1,0-13-15,1 0 16,-1 0-16,0 0 16,13-13-16,14 13 0,-13 0 0,-14 0 15,13-13-15,14 13 0</inkml:trace>
  <inkml:trace contextRef="#ctx0" brushRef="#br0" timeOffset="41392.14">13097 10266 0,'13'26'16,"-13"-12"-1,0-1-15,0 13 0,13 14 16,-13 0-16,0-27 0,0 13 16,0-12-16,0 12 15,0 14-15,0-14 16,0-13 0,0 1-1,0-54 16,14 13-15,12 1-16,14-40 16,-14 26-16,14 14 15,-14-1 1,-12 27-16,25-13 0,-26 13 16,14 13-16,-1 14 15,-12-14 1,-1 13-16,-13 1 0,0-1 15,-27 1 1,14-1-16,-27 1 16,27-14-16,0-13 15,0 13-15,-27-13 16,27 0-16,0 13 16,-1-13-16,1 0 15</inkml:trace>
  <inkml:trace contextRef="#ctx0" brushRef="#br0" timeOffset="41683.07">13110 10147 0,'13'-93'16</inkml:trace>
  <inkml:trace contextRef="#ctx0" brushRef="#br0" timeOffset="42619.96">10663 11972 0,'119'40'16,"119"0"0,-93-14-16,-65-26 0,184 13 15,-171-13 1,92-13-16,-92 0 0,145-13 16,-13-27-1,-119 39-15,79-39 0,-79 27 16,39-27-16,80-26 15,-93 26-15,-26 0 16,13-26 0,-66 26-1,-13-14-15,0-25 16,-27 12 0,-26-12-16,-14-1 15,1 40-15,-93-92 16,66 105-16,-13 0 15,-1 14-15,-157-53 16,-54 12-16,92 54 16,81 13-16,-1 0 15,-278 40-15,252-27 16,-119 53-16,12 14 16,1 12-16,119-39 15,0 0-15,-93 53 16,107-40-16,-67 40 0,106-53 15,-1 0-15,14-14 0,-52 94 16,65-54-16,53 1 16,14-41-1,52 27-15,-26-39 16,92 26-16,27-14 16,-92-25-16,12-1 0</inkml:trace>
  <inkml:trace contextRef="#ctx0" brushRef="#br0" timeOffset="43271.81">12382 12647 0,'67'-26'0,"-67"12"16,0 41-1,-14-14 1,14 0-16,-26 1 16,-1 12-1,27-13-15,-13-13 0,13 13 16,0 14-16,0-14 15,13 0-15,1 1 16,-14-1-16,13-13 16,-13 13-16,0 0 15,0 1-15,0-1 0,-13 13 16,-1-13-16,1-13 16,-26 27-16,25-27 15,1 0-15,0 0 16</inkml:trace>
  <inkml:trace contextRef="#ctx0" brushRef="#br0" timeOffset="43696.01">12171 12515 0,'-119'79'15,"106"-52"-15,-40 39 0,238-238 0,-397 410 16,199-198-16,26 105 31,27-52-31,-14-54 0,14 1 16,0-13-16,26 25 0,-26-38 16,52 12-16,-39-26 15,53 0-15,-53-13 0,13-14 16,-13 14-16,53-40 0,-14-13 15,-65 27-15,52-81 16,-79 81 0,13-1-16,-26-53 0,0 54 15,-40-41-15,-13 1 16,26 53-16,-52-27 16,-1 26-16,-26 1 15,26 12 1,54 28-16,-1-1 15,27 13 1,13-12-16,13-1 16,-13 0-16,13 0 0</inkml:trace>
  <inkml:trace contextRef="#ctx0" brushRef="#br0" timeOffset="44633.18">12118 12740 0,'0'13'16,"0"0"-16,0 0 0,0 14 16,0-14-16,0 14 0,0-1 15,0-13 1,0 14-16,13 12 16,0-25-16,1-14 15</inkml:trace>
  <inkml:trace contextRef="#ctx0" brushRef="#br0" timeOffset="45026.59">12422 12660 0,'-40'53'15,"40"-26"1,0 12-16,14 1 16,-1-27-16,27 40 15,26-13 1,-53-27-16,40-13 16,13-40-1,-53 1 1,-13 26-16,0-67 15,-39 27 1,12 27 0,-26-14-1,-13 27 1,53 13-16,-14 13 16,1 40 15,39-53-31,-13 13 0</inkml:trace>
  <inkml:trace contextRef="#ctx0" brushRef="#br0" timeOffset="45667.09">13137 12859 0,'79'0'0,"-26"0"15,0 0-15,-14 0 16,94-27-16,-54 14 16,14 0-1,52-27 1,-65 14-1,-67 12-15,53-25 16,-40 26-16,14-27 16,-27 27-16,54-54 15,-54 41-15,26-27 16,1-26 0,-13-1-16,-14 54 15,0-80 1,-13 0-1,-26-26 1,-1 26-16,1 53 0,-1-39 16,-39-54-1,53 120 1,13 12-16,-27-39 16,14 40-16,0-26 15,13 25 1,0 1-1</inkml:trace>
  <inkml:trace contextRef="#ctx0" brushRef="#br0" timeOffset="45927.16">13983 11589 0,'27'-106'0,"-14"79"16,27-12-16,-1 26 15,14-1-15,0 14 16,-13 14-1,0-1-15,105 13 0,-92-26 16</inkml:trace>
  <inkml:trace contextRef="#ctx0" brushRef="#br0" timeOffset="50643.11">13097 10954 0,'92'-13'15,"-65"-1"-15,-14 14 0,14 0 16,26 0-16,-1-13 16,-25 13-16,-1 0 15,-12 13-15,-1-13 16</inkml:trace>
  <inkml:trace contextRef="#ctx0" brushRef="#br0" timeOffset="50799.69">13229 11060 0,'53'0'31,"-26"0"-31,-14 0 0,0 0 15,53-27-15,-26 27 16,-14-13-16</inkml:trace>
  <inkml:trace contextRef="#ctx0" brushRef="#br0" timeOffset="51047.2">13983 10716 0,'0'26'31,"0"-13"-15,-13 14-16,13-1 16,0-13-16,-13 14 15,13-14-15,0 0 0,-13 14 0,13-14 16,0 0-16,0 1 15</inkml:trace>
  <inkml:trace contextRef="#ctx0" brushRef="#br0" timeOffset="51373.12">14168 10729 0,'-26'13'15,"13"0"1,0 1-16,13 12 16,0-13-16,0 0 15,52-105-15,-78 211 16,52-119-16,-12 0 16,52-13-16,-40-1 15,-12-38 16,-14 38-31,-14 1 16,-12-27-16,13 27 16,-14 0-1,14 13-15,26 26 32</inkml:trace>
  <inkml:trace contextRef="#ctx0" brushRef="#br0" timeOffset="51579.95">14340 10769 0,'93'0'16,"-27"-27"15,-66 14-15,13-14-16,-13 14 0,0-13 15,0 12-15,-26-25 16,-14 12-1,27 27 1,-93 27 0,0-1-16,-26 14 15</inkml:trace>
  <inkml:trace contextRef="#ctx0" brushRef="#br0" timeOffset="54400.58">5305 6271 0,'53'145'16,"-27"-105"-16</inkml:trace>
  <inkml:trace contextRef="#ctx0" brushRef="#br0" timeOffset="56034.63">19870 6152 0</inkml:trace>
  <inkml:trace contextRef="#ctx0" brushRef="#br0" timeOffset="60359.84">3863 7898 0,'185'0'0,"-119"0"0,212-13 15,-185-1-15,105 14 16,93-13-16,-106 26 15,-105-13 1,92 14-16,-80-14 16,1 13-1,-80 0-15,14-13 16,-14 0-16</inkml:trace>
  <inkml:trace contextRef="#ctx0" brushRef="#br0" timeOffset="60578">4908 8004 0,'132'-40'0,"-79"40"15,40-13-15,145 13 16,-13 0-1,26 13 1,-158-13-16,79 0 16,-80 0-16</inkml:trace>
  <inkml:trace contextRef="#ctx0" brushRef="#br0" timeOffset="60834.87">7342 7898 0,'357'-27'16,"-224"27"-16,-14-13 0,-13 13 15,-67 0-15</inkml:trace>
  <inkml:trace contextRef="#ctx0" brushRef="#br0" timeOffset="62305.62">4167 9168 0,'93'26'0,"26"1"16,-40-14-16,-13 0 15,106 14-15,-79-14 0,119 13 16,-27-12-16,-93-1 16,80 0-16,-13-13 15,-79 0-15,39 0 0,-66 0 16,-14 0-16,1-13 0,-14 13 15,-12 0-15,12-13 0,-13 13 16,14-14-16,-27 1 0,13-27 16,0 1-1,-13 26-15,0-80 16,13 27 0,-13-14-16,0 54 0,14-53 15,-14 52-15,0-13 16,0 14-16,13-14 0,-13 1 0,0 12 15,13 1-15,-13-1 0,0 1 0,0-1 16,13-26-16,-13 27 16,0 13-16,0-14 0,0-12 15,0-1-15,-13 13 16,0 14-16,13 0 0,-13 0 16,-14-14-16,1 14 15,-54 0-15,27 0 16,27 13-16,0 0 15,-27-14-15,-14 14 16,-12 0-16,-14-13 16,-12 0-16,52 0 15,13-1-15,-119-12 16,40-1 0,66 14-16,-132-26 0,119 25 15,-53 1-15,-66 0 16,132 0-16,-146 13 15,80 0 1,0 0-16,27 13 16,-1 0-1,40-13-15,-40 13 16,67 1-16,0-14 0,-54 26 16,27-13-1,27 14 1,13-14-1,-1 0-15,-12 27 16,13 0 0,13-27-16,0 13 15,0 80-15,-14-13 16,1 132 0,13-120-16,-13-12 15,13-53-15,13 52 16,0 27-1,-13-105 1,27 52-16,13 0 31,-27-53-31,13 0 0,27 1 16,0-14-16,93 0 16,-80 0-1,119-14-15,-39 14 16,52-13-1,-66 13-15,-79 0 16,13 0-16</inkml:trace>
  <inkml:trace contextRef="#ctx0" brushRef="#br0" timeOffset="63386.43">4392 10067 0,'-13'27'15,"13"-14"-15,0 0 16,-13 40-16,13-26 0,0 12 0,-14 1 16,14 0-16,-13 39 15,-13-13-15,26-39 16,-14 26-16,1-27 0,13 1 16,-13-14-16,13 0 15,0 0-15</inkml:trace>
  <inkml:trace contextRef="#ctx0" brushRef="#br0" timeOffset="63595.8">4445 10001 0,'-13'0'15,"0"13"-15,-1 1 0,-12 12 16,-27 14-16,172-133 0,-291 239 15,146-120-15,-27 27 16,26-26-16,1-1 0,-1 1 16,-12 12-16,25-12 15</inkml:trace>
  <inkml:trace contextRef="#ctx0" brushRef="#br0" timeOffset="63747.89">4207 10081 0,'13'0'0,"40"39"31,-27-12-15,-12-14-16,-1-13 0,0 13 16,-145-105-16,291 184 0,-146-92 0,13 13 0,1-13 15</inkml:trace>
  <inkml:trace contextRef="#ctx0" brushRef="#br0" timeOffset="64280.62">5331 10491 0,'93'-66'16,"-53"52"-1,-1 14-15,-12-13 16,-1 26-16,-13 1 15,1-1-15,12 13 16,1 67-16,-14-14 16,-13 1-1,0-41 1,-13-25-16,13 65 16,0-66-1,0 0-15</inkml:trace>
  <inkml:trace contextRef="#ctx0" brushRef="#br0" timeOffset="64446.09">5464 10808 0,'92'-39'31,"-26"12"-16,-26 14-15,172-53 16,-173 66-16,28-27 16,-41 14-16</inkml:trace>
  <inkml:trace contextRef="#ctx0" brushRef="#br0" timeOffset="64739.8">6152 10239 0,'13'0'16,"13"-13"-1,40 0-15,-26 0 16,-185 52-16,330-78 16,-172 39-16</inkml:trace>
  <inkml:trace contextRef="#ctx0" brushRef="#br0" timeOffset="64928.8">6231 10451 0,'26'-13'31,"1"13"-31,-1-13 16,14-1-16,-27 14 15,53-26 1</inkml:trace>
  <inkml:trace contextRef="#ctx0" brushRef="#br0" timeOffset="67963.56">16497 9842 0,'66'14'0,"40"-1"15,-27-13-15,1 0 0,105 0 16,13 0-16,-92 0 15,106 0-15,65-13 16,-184 13 0,0 0-16,65-14 0,-78 14 15,52 0-15,-79-13 0</inkml:trace>
  <inkml:trace contextRef="#ctx0" brushRef="#br0" timeOffset="68858">19288 9763 0,'93'0'15,"-67"0"-15,14 0 0,52-13 16,28 13-16,-28 0 15,-39 0-15,-13 0 16,39 0-16,-52 0 0,39 0 16,-53 0-16,13 0 15,1 0-15,-14 0 0,0 0 0,1 0 16,-1 0-16,0 0 16,0 0-16,0 0 15,1 0-15,-1-13 16,0 13 15,0 13-15,1-13-1,-1 0 1,0 0 0,0 0-1,1 0-15,-1-13 16,13 13-16,-13 0 15,1 0-15,-14-14 16,13 14-16,0 0 0,0 0 16,1 0-1,-1 0-15,-13-13 16,13 13-16,0 0 0,1 0 16,-1 0 15</inkml:trace>
  <inkml:trace contextRef="#ctx0" brushRef="#br0" timeOffset="70456.96">19487 10583 0,'-14'0'0,"1"14"31,40-14-15,-14 0-16,13 0 15,1 13-15,52-26 16,27 13-16,-40 0 0,0 0 16,80-14-16,12 14 0,-91 0 15,-1 0-15,-13 0 16,13 14-16,-13-14 0,0 0 0,-14 0 16,28 0-16,-41 0 0,-13 0 15,14 13-15,-14-13 0,0 0 16,0 0-16,1 0 0,-1 0 15,0 0-15</inkml:trace>
  <inkml:trace contextRef="#ctx0" brushRef="#br0" timeOffset="72486.64">17052 11589 0,'93'-13'16,"26"13"-1,-40 0-15,80 0 0,26 0 16,-92 0-1,0 0-15,-1 0 0,93 0 0,-13 0 16,-92 0-16,52 0 16,-79 0-16,66 0 15,-66 0 1,-27 0-16,-12 0 0,-1 0 0,13 0 16,-12 0-1,-1 0-15,0 0 16,-26-14 15,0 14-15,-1 0-1</inkml:trace>
  <inkml:trace contextRef="#ctx0" brushRef="#br0" timeOffset="73570.63">20346 11456 0,'14'14'16,"12"-1"0,-13-13-16,14-13 15,13 13-15,-27 0 16,40-27-1,0 1 1,-40 26-16,13-27 0,-12 27 16,12-39-16,0 12 15,-12 1 1,-1-27-16,0 13 16,-13-26-1,0 26 1,-13-13-1,0 40 1,-1-27-16,1 27 16,-13-13-1,-1 13-15,-26-1 16,14 1-16,25 13 16,-25-13-1,-1 13-15,-26 0 16,26 13-16,1 0 15,-28 14 1,28-1 0,12 1-1,14 12-15,-13 1 16,-1 39 0,27-65-16,0 12 15,-13 1-15,13-14 0,13 26 16,-13-25-16,13 12 15,-13 14-15,14-27 16,-1 0-16,0 14 16,0-14-16,14 13 15,-14-26-15,0 14 16,14-1-16,-1-13 16,1 0-1,-14 13 1,0-26-16,0 13 15,0 0-15,1 0 16</inkml:trace>
  <inkml:trace contextRef="#ctx0" brushRef="#br0" timeOffset="75579.89">22939 8057 0,'-26'79'15,"13"-53"-15,-1 1 0,14-14 16,-13 40-16,13-40 16,-13 14-16,13-14 0,0 0 0,-13 14 15</inkml:trace>
  <inkml:trace contextRef="#ctx0" brushRef="#br0" timeOffset="75955.74">23257 8043 0,'-27'0'15,"14"14"-15,0 12 0,0 0 16,0 1-16,-1-1 0,14 1 15,-13-1-15,13 27 0,0-40 16,0 14-16,0-14 0,13 0 0,-13 1 16,14 12-16,-1-26 15,-13 13-15,13 1 0,0-14 0,0 0 16,14 0-16,-14-14 16,-13 1-16,0-13 15,0 12 1,-13 1-16,0 0 15,-1 0-15,1-1 16,0 1-16,0 13 16,0 0-1</inkml:trace>
  <inkml:trace contextRef="#ctx0" brushRef="#br0" timeOffset="76216.03">23455 8176 0,'40'-14'31,"-27"14"-31,0 0 0,14 0 16,-1 0-1,1 0-15,-14 0 16</inkml:trace>
  <inkml:trace contextRef="#ctx0" brushRef="#br0" timeOffset="76557.89">23945 7964 0,'13'-13'16,"13"13"-16,-12 13 16,-1 0-16,0 0 15,-13 1-15,13 25 16,1-12-16,-14-14 16,0 0-16,26-26 0,-52 66 0,65-53 15,-65 26-15,52-12 0,-52-1 0,39-13 0,-26 40 16,13-27-16,13 0 0,-13 0 15,0 0 1,0 1-16</inkml:trace>
  <inkml:trace contextRef="#ctx0" brushRef="#br0" timeOffset="76739.64">23971 8215 0,'53'-39'0,"-26"39"0,-14-14 16,0 14-16,14 0 0,-14 0 15,0 0-15,0 0 0,-13 14 0,13-28 0,1 28 16,-1-28-16,0 14 0,-13 14 16,-225 25-16</inkml:trace>
  <inkml:trace contextRef="#ctx0" brushRef="#br0" timeOffset="77000.78">23349 8599 0,'67'0'0,"277"-13"16,-278 13-1,-40 0-15,14 0 16,26 0 0,-26 13-16,-27-13 15</inkml:trace>
  <inkml:trace contextRef="#ctx0" brushRef="#br0" timeOffset="79029.25">18428 6006 0,'146'0'0,"-107"-13"15,14 13-15,40-27 16,-40 27-16,0-13 0,53-27 16,-27 14-16,14-14 15,-67 14-15,27-27 0,-13-13 16,-27 39-16,0-12 16,-13-1-16,0 13 0,-40-65 15,14 39-15,-14 13 0,-66-52 16,54 52-16,-1 0 15,-80-26-15,1 0 0,53 40 16,13-1-16,-80 1 16,14-1-16,79 27 0,-13 0 15,0 13-15,13 1 0,-80 25 16,80 1-16,-52 26 16,52-13-16,-14 53 0,41-53 15,0 0-15,12 13 0,14 106 16,14-106-1,12-13-15,27 66 0,-13-66 0,-1 0 16,14-14-16,53 54 16,-53-66-16,79 25 0,-66-25 15,67-1-15,-67-26 16,0 0-16,0-13 0,0 0 16,119-53-16,-92 13 15,-40 13-15,-13 14 16,-14-14-16,14 0 0,-27 1 0,27-41 15,-27 1-15,0 0 16,-13 39-16,-13-53 16,-13 1-16,-1 52 15,14-13-15,-53-26 0,0-1 16,26 41-16,-13 12 0,13 1 16,-66-27-16,54 26 15,-1 1-15,13 13 0,0 13 16,-52-27-16,-1 27 15,-52 0-15,92 0 16,13 13-16,-26 1 0,-40 25 16,53-12-16,-53 26 15,-26 66 1,105-80-16,-12 1 0,-14 66 16,13 53-16,27-53 15,26 13 1,0-53-16,1-13 0,12 0 15,40 39-15,14 1 16,-28-67-16,54 40 0,80-26 16,-67-27-1,13-39-15,40-40 16,-66 13 0,-27-27-16,-13 1 15,-13 0-15,-26-14 16,-1 0-16,-26 1 15,0-14 1,-13 40-16,-14-53 0,1 66 16,-80-93-1,27 54-15,-27 12 16,0 27-16,-13 1 16,13 25-16,-119 27 15,106 27 1,0 25-1,66-25-15,-39 52 16,39-26-16,-53 93 16,53-27-16,13 106 15,40-186 1,106 226 0,-66-225-16,66 65 15,13-52 1</inkml:trace>
  <inkml:trace contextRef="#ctx0" brushRef="#br0" timeOffset="80067.25">18944 6363 0,'-40'-13'16</inkml:trace>
  <inkml:trace contextRef="#ctx0" brushRef="#br0" timeOffset="81192.05">22106 11126 0,'0'-14'0,"-27"28"31,1-14-31,13 13 0,-27 0 16,0 0-16,-26 27 15,-40 13-15,54-27 16,12-12-16,13-14 16</inkml:trace>
  <inkml:trace contextRef="#ctx0" brushRef="#br0" timeOffset="81339.95">21894 11112 0,'-13'27'0,"13"39"16,13-53-1,1 1-15,-1-1 16</inkml:trace>
  <inkml:trace contextRef="#ctx0" brushRef="#br0" timeOffset="82980.75">21325 7183 0,'27'-13'0,"-14"13"15,0 0-15,-13 13 16,0 1-16,0-1 16,-26 13-16,26-12 15,-27 12-15,14-13 0,13 0 16,-13 1-16,0-1 0,13 0 0,-14 0 15,14 1-15,14-1 16,-1-13 0,13-13-16,-12 13 15,25-14-15,-25 1 16,12 0-16,0-14 0</inkml:trace>
  <inkml:trace contextRef="#ctx0" brushRef="#br0" timeOffset="83134.87">21643 7117 0,'13'-13'16,"-39"26"-16,26 1 0,-14-1 15,1 13-15,13-13 0,-13 1 16,13-1-16,0 13 16,-13-12-1,13-1-15</inkml:trace>
  <inkml:trace contextRef="#ctx0" brushRef="#br0" timeOffset="83311.83">21696 7276 0,'26'-13'15,"-12"0"-15,-1 13 0,13-14 16,-13 14 0</inkml:trace>
  <inkml:trace contextRef="#ctx0" brushRef="#br0" timeOffset="83778.57">22199 6959 0,'0'0'31,"-14"26"-15,14 0-16,-13 1 15,13-1-15,0-12 0,0-1 16,-13 0-16,13 27 16,-13-27-16,13 13 0,-14-12 15,14-1-15,0 0 0,-13 0 16,40-26 15,-14 13-15,0-13-16,-13 0 0,27-1 15,-1 14 1,0-13-16,1 13 16,-14 13-16,0-13 15,-13 14 1,-26 12 0,13-13-1,-1 1-15,1-14 16,0 0-16</inkml:trace>
  <inkml:trace contextRef="#ctx0" brushRef="#br0" timeOffset="84133.95">22053 6998 0,'66'-39'15,"40"39"17,-66 13-17,-27-13-15,0 26 0,14-13 16,-14 54-1,-13-54-15,0 13 0,-13 14 16,13-27-16,-14 27 16,14 0-16,0-27 0,-13 26 15,13-25-15,0-1 16,13 13-16,-264-383 16,516 728-1</inkml:trace>
  <inkml:trace contextRef="#ctx0" brushRef="#br0" timeOffset="84342.94">22079 7157 0,'67'-13'15,"-54"0"1,27 13-16,-1-14 0,54 1 15,13 0-15,79-14 16,-66 1 0,53 13-1,-40-1-15</inkml:trace>
  <inkml:trace contextRef="#ctx0" brushRef="#br0" timeOffset="85644">20809 12554 0,'27'14'16,"-14"-14"-16,0 13 15,1-13-15,12 0 0,1 13 0,-1-13 16,27 13-16,-13 1 0,13-14 0,-14 13 15,14-13-15,0 13 16,0-13-16,79 13 0,-66 1 0,1-14 16,-1 0-16,-13 0 0,13 0 15,-13 0-15,13-14 0,0 1 16,53 0-16,-66 0 0,-13-1 16,52-12-16,-52 13 0,-14-1 15,14 1-15,-13 0 0,12-27 16,1 14-16,-27-1 15,0 1-15,1 13 0,-1-14 16,0-12-16,0 12 0,-13-13 0,0 14 16,0 0-16,0-1 0,0-13 0,-13 1 15,0-1-15,0 0 16,-14-13-16,-13-26 0,14 39 0,-14 14 16,-26-53-16,26 52 15,1-13-15,-1 14 0,-13-1 16,0 1-16,0 0 0,0-1 0,-52-26 15,38 40-15,-52-27 16,53 27-16,0-13 0,-13 12 16,-54 1-16,54 0 15,13 13-15,-13-13 0,26 13 0,-27 0 0,-79 13 16,93 0 0,-92 27-16,91-14 0,-78 40 15,92-26-15,-26 13 0,-40 66 16,26 0-1,66-66-15,-12 79 0,39-79 16,13 80-16,66-1 16,-12-66-16,25-13 15,1 13-15,13-26 0,-1 13 0,134 13 16,12-27-16,-26-12 16,-119-27-16,119-13 15,-120-1-15,1-12 0,-13 13 0,-14-14 16,1 14-16</inkml:trace>
  <inkml:trace contextRef="#ctx0" brushRef="#br0" timeOffset="86634.89">17568 13110 0,'27'13'16,"-1"1"-1,14-1-15,0-13 16,26 13-16,0 0 0,79 14 0,41-14 16,-14 0-1,-93-13-15,14 0 0,-14 0 0</inkml:trace>
  <inkml:trace contextRef="#ctx0" brushRef="#br0" timeOffset="90666.86">21788 13189 0,'0'27'0,"14"-14"16,-14 0-16,13-13 15,0 14-15,-13-1 0,13-13 0,1 13 16,-1-13-16,0 13 0,14 1 16,-14-14-16,13 0 0,1 13 15,-14-13-15,0 0 16,0 0-16,14 0 0,-14 0 15,13 0-15,-12-13 0,12 13 16,-13-14-16,1 14 0,12-13 16,-13 13-16,1-13 0,-1 0 0,13-1 15,1 1-15,-14 0 0,0 0 16,0-14-16,1 27 16,12-26-16,-26 13 0,13-1 15,1 1-15,-14 0 16,13 0-16,-13-1 0,13 1 15,-13 0-15,0 0 16,0 0-16,13-1 0,-13 1 0,0 0 16,0 0-16,0-14 15,0 14-15,-13 0 0,13-1 16,0 1-16,-13 0 16,-14-13-16,14-1 15,0 27-15,0-13 16,-1 0-16,-25-14 15,-1 14-15,14 0 16,12-1-16,1 14 0,-27-13 16,27 13-16,-27-13 15,14 13-15,0 0 0,-1 0 0,14 0 16,-40 0-16,27 13 16,-27 0-16,26 1 15,-39 12-15,40 1 0,-1-1 16,-26 14-16,27-1 15,-1 1-15,1 0 16,26-27-16,0 27 16,0-14-16,13-13 0,-13 14 15,26 13-15,-12-14 0,12 0 16,27 14-16,13-13 16,-39-14-16,26 13 15,-14-12-15,-12-14 16,12 0-16,-25 13 15,12-13-15,-13 0 0</inkml:trace>
  <inkml:trace contextRef="#ctx0" brushRef="#br0" timeOffset="93430.77">23641 13242 0,'-14'27'0,"28"-14"16,25 0-1,-26 1 1,1-14-16,12 0 0,-13 0 16,14-14-16,-1 14 0,-13 0 0,14-13 15,26 0-15,-27 13 16,-12-13-16,12-1 0,14-12 16,-14 26-16,1-27 0,-1 14 15,1-26-15,-27 25 0,13 1 16,0-13-16,0 12 0,0-12 15,-13-14-15,14 14 16,-14-14-16,0 27 16,0-14-16,-14-12 0,14 26 0,-13-1 15,13 1-15,-26-13 16,13 26-16,-1-14 0,1 14 16,0-13-16,-27 13 0,14 0 15,12 13-15,-12-13 0,0 14 16,-14-1-16,-26 27 0,13-1 15,0 1-15,13 13 16,27-40-16,-13 27 16,12-14-16,14-13 0,-13 27 15,13 0 1,0-1-16,13-25 16,-13-1-16,27 13 0,-1 1 15,-13-27-15,1 13 16,-1 0-16,13-13 0,-12 0 0,12 0 15,-13 14-15,14-14 16,-14 0-16,0 0 0</inkml:trace>
  <inkml:trace contextRef="#ctx0" brushRef="#br0" timeOffset="104350.95">13692 7078 0,'-13'13'15,"0"-26"1,13-1-16,-27-25 31,14 12-31,13 14 0,-26-53 16,12 26 0,1 14-16,0 12 0,13-12 15,-13 13-15,13 0 0,-14-14 0,1 14 16,0 0-16,0-14 15,13 14-15,-13 0 16,-1 0 0,1 13-16</inkml:trace>
  <inkml:trace contextRef="#ctx0" brushRef="#br0" timeOffset="104727.93">13467 6641 0,'-13'-13'16,"-13"39"-16,12-12 15,1-1-15,0 13 16,-14 1-16,14-14 0,0 27 15,0-27-15,0 0 0,13 0 16,-14 0-16,1 1 16,13-1-16,-13 0 15,26-39 17,0 12-32,-13-12 0,14 13 15,-1 0-15,0-1 16,0 1-16,0 13 15,1-13-15,-1 13 16,13 0-16,-12 13 16,-1-13-16,0 0 0,27 0 15,-14 13-15,1-13 0,-1 0 16,1 0-16,-1 0 0</inkml:trace>
  <inkml:trace contextRef="#ctx0" brushRef="#br0" timeOffset="105185.99">14420 6456 0,'0'26'31,"0"-12"-31,0-1 16,13 0-16,-13 40 15,13-27-15,-13 14 0,0-13 0,0-1 16,0 0-16,13 1 0,-13-14 16,0 27-16,0-14 0,0-13 15,0 14-15,0-14 0,0 0 16,0 1-16</inkml:trace>
  <inkml:trace contextRef="#ctx0" brushRef="#br0" timeOffset="105524.72">14446 6509 0,'-13'0'0,"0"13"15,0 0-15,13 0 0,-14-13 16,14 14-16,-13-1 0,-13 27 0,26-27 16,-14 0-16,1 0 15,0 14-15,0-14 0,13 0 0,-13-13 16,13 13-16,-14-13 0,14 14 0</inkml:trace>
  <inkml:trace contextRef="#ctx0" brushRef="#br0" timeOffset="105724.8">14380 6469 0,'40'13'0,"-27"-13"0,0 14 15,0-14-15,1 13 0,-1-13 0,0 13 16,0-13-16,1 0 0,-1 13 16,0-13-16,14 0 0,-14 13 15,0-13-15,0 0 0,0 0 16</inkml:trace>
  <inkml:trace contextRef="#ctx0" brushRef="#br0" timeOffset="106387.82">13150 6297 0,'-13'0'15,"13"13"1,0 1-16,0-1 16,0 0-16,0 0 0,0 0 0,0 14 15,0-14-15,0 0 0,0 1 16,0-1-16,0 0 0,0 14 16,0-1-16,0-13 15,0 0-15</inkml:trace>
  <inkml:trace contextRef="#ctx0" brushRef="#br0" timeOffset="106593.75">13176 6297 0,'27'-13'15,"-14"0"-15,0-1 0,0 14 16,27-13-16,-27 0 16,1 13-1,-14 13-15,0 0 16</inkml:trace>
  <inkml:trace contextRef="#ctx0" brushRef="#br0" timeOffset="106714.9">13176 6469 0,'13'0'31,"14"0"-31,-1 0 16,-12-13-16,52 0 0,-27-1 15,1 1-15,13 0 0</inkml:trace>
  <inkml:trace contextRef="#ctx0" brushRef="#br0" timeOffset="108084.75">24077 13322 0,'27'0'0,"-1"0"16,-13 0-16,0 0 0,14-13 15,-1 13-15,1-14 0,-1 1 0,14 0 16,0 0-16,-14-1 0,40-12 16,-39-1-16,-1 14 0,-13-13 15,14-1-15,-14 14 0,0-13 16,-13-1-16,14 1 0,-14-14 0,0 14 16,0-1-16,0 1 0,-14-1 15,1 1-15,0-1 0,-14 14 16,-12-27-16,12 27 0,1 0 15,13 0-15,-54 13 0,54 0 16,-26 0-16,12 0 0,-52 26 16,52-13-16,-12 14 0,-1-14 15,0 14-15,0-1 0,14 0 16,-14 1-16,-13 26 0,27-27 16,13 1-16,-27 12 0,27-12 15,13-1-15,-13-12 16,13-1-16,0 26 0,0-25 15,0 12-15,0-13 0,13 1 0,-13-1 16,13 0-16,0 0 0,27 1 16,-27-1-16,0-13 0,14 0 15,-14 0-15,14 0 0</inkml:trace>
  <inkml:trace contextRef="#ctx0" brushRef="#br0" timeOffset="108362.75">24395 13295 0,'-27'0'15,"14"0"1,13-13-16,0 0 16</inkml:trace>
  <inkml:trace contextRef="#ctx0" brushRef="#br0" timeOffset="117207.59">18296 14089 0,'40'0'16,"-1"13"-1,-25-13-15,12 0 16,0 0-16,1 14 0,13-14 15,13 13-15,-14 0 0,14 0 16,53 0-16,-40 1 0,0-1 16,0 0-16,-13-13 0,0 13 0,0-13 15,0 0-15,0 0 0,-13 0 0,13 0 16,-14 0-16,1-13 0,0 0 0,-1 0 16,1-1-16,-14 1 15,14 0-15,-13-13 0,12-1 0,-12 1 16,-1-1-16,14 1 0,-27-1 0,14 14 15,-1-13-15,-13-1 0,14 1 16,-14-1-16,0 1 0,-13 12 16,13-12-16,-13 13 0,14-14 0,-14 1 15,0-14-15,0 14 0,0-1 16,-14 1-16,14-1 0,-13-12 16,-13-14-16,13 13 0,-1 27 15,1-14-15,0 1 0,-14-1 16,1 1-16,-1 13 0,1-14 0,-27-12 15,13 25-15,-26-12 16,27 13-16,-1 13 0,0-14 16,1 28-16,-54-1 0,27 0 15,0 14-15,-53 12 0,66 1 16,-14-14-16,15 14 0,-68 40 16,68-41-16,-54 41 15,53-41-15,13 14 0,0-13 16,1 0-16,-1-1 0,-13 54 15,27-53-15,12-14 0,-12 40 16,26-39-16,0-1 0,0 1 16,13 12-16,0-12 0,14-1 15,13 1-15,-1-1 0</inkml:trace>
  <inkml:trace contextRef="#ctx0" brushRef="#br0" timeOffset="117289.81">18375 14261 0,'715'-13'0</inkml:trace>
  <inkml:trace contextRef="#ctx0" brushRef="#br0" timeOffset="117801.1">22066 14076 0,'-13'13'0,"39"27"31,1-27-31,-14 0 16,14 0-16,39 14 15,13-1-15,-39-12 16,13 12-16,-14-13 0</inkml:trace>
  <inkml:trace contextRef="#ctx0" brushRef="#br0" timeOffset="118118.58">22423 14274 0,'728'-39'0,"-675"12"15,-13 1-15,13 12 0,-14-25 0,14 12 16,-13 1-16,0-1 0,-14 1 15,0-1-15,1 1 0,-1-14 0,-12 14 16,-1-14-16,0 14 0,0-14 0,1 14 16,-14-1-16,-14 1 0,1-1 15,0 1-15,-14-14 0,-12 14 0,-14-1 16,0 1-16,-79-27 0,52 40 16,1-1-16,-1 1 0,1 0 15,-14 13-15,1 0 0,-1 13 16,1 0-16,-1 1 0,14-1 0,-1 13 15,-12 14-15,26-14 0,-1 1 16,14 12-16,1 1 0,25 0 0,-13 0 16,27-14-16,0 40 0,26-26 15,0 0-15,1-1 0,12 1 16,1 13-16,12-13 0,1 12 0,66 15 16,-53-41-16</inkml:trace>
</inkml:ink>
</file>

<file path=ppt/ink/ink20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5:52:35.069"/>
    </inkml:context>
    <inkml:brush xml:id="br0">
      <inkml:brushProperty name="width" value="0.05292" units="cm"/>
      <inkml:brushProperty name="height" value="0.05292" units="cm"/>
      <inkml:brushProperty name="color" value="#0070C0"/>
    </inkml:brush>
  </inkml:definitions>
  <inkml:trace contextRef="#ctx0" brushRef="#br0">688 1455 0,'40'0'78,"79"0"-63,26 0-15,27 0 0,40 0 16,39 0-16,80 0 16,66 0-16,-40 0 15,66 0-15,-52 0 16,52 0-16,-26 0 15,39 0-15,-78 0 16,-1 0-16,13 0 16,-118 0-1,-1 0-15,-26 0 16,-80 0-16,14 0 0,-27 0 16,-65 0-16,-14 0 15,-27 0-15,-13 0 16</inkml:trace>
  <inkml:trace contextRef="#ctx0" brushRef="#br0" timeOffset="2176.48">357 212 0,'13'0'63,"27"0"-63,39 0 16,1 0-16,52 0 15,-13 0-15,40 0 16,13 0-16,40 0 15,39 0-15,14 0 16,12 0-16,14 0 16,-26 0-1,-53 0-15,13 0 0,-40 0 16,-13 0 0,-14 0-16,14 0 0,14 0 15,-28 0 1,54 0-16,-27 0 0,0 0 15,-13 0-15,0 0 16,-13 13-16,0-13 16,13 0-16,0 0 15,-27 13-15,1-13 16,-27 0-16,0 0 16,-13 0-1,13 0-15,-40 0 0,14 0 16,-27 0-1,13 0-15,-39 0 16,13 0-16,-13 0 16,-27 0-16,13 0 15,27 13 1,-39-13-16,25 0 16,-25 0-16,12 0 15,0 0-15,1 0 16,13 0-16,-14 0 15,14 0-15,13 0 16,0 0-16,-14 0 16,27 0-1,-13 0-15,27 0 0,-27 0 16,-14 0 0,-12 0-16</inkml:trace>
  <inkml:trace contextRef="#ctx0" brushRef="#br0" timeOffset="3439.58">7686 278 0,'0'13'32,"0"27"-17,0 13-15,13 0 0,1 26 16,-1-26-16,-13 0 16,0 0-16,13-14 15,-13 1-15,0 13 16,0-13-16,0-1 15,0 1-15,0 0 16,0-14-16,0 14 16,0 0-1,0-1-15,0 1 0,0 26 16,0-26 0,0 13-1,0-27-15,0 14 0,0 0 16,0-1-1,0-26-15,0 14 16,0-14-16,0 0 31,0 1 172,-26-14-187,-93 0-16,-1 0 0,-25 0 16,26 0-16,13 0 15,-13 0 1,13 0-16,27 0 16,-40 0-1,79 0-15,0 0 16,27 0-16,0 0 15,0 0 1</inkml:trace>
  <inkml:trace contextRef="#ctx0" brushRef="#br0" timeOffset="5968.91">225 225 0,'-13'0'188,"-14"0"-173,1 0 1,-54 0 0,41 0-16,12 0 15,14 13 1,13 0 140,0 67-140,0-27-16,0 0 15,0 13 1,13 0-16,0 26 0,-13-25 16,14-14-16,12 26 15,-26-13-15,13-13 16,-13-13-16,14 13 15,-1-1-15,13 15 16,-12-1 0,-14-27-16,0 1 15,0-27-15,13 54 16,-13-41 0,0-13-16,0 27 0,26-14 15,-26-12-15,0 25 16,0-25-1,13-14 95,1 0-95,-1 0-15,27 0 16,13 0-16,26 0 16,27 0-1,-27 0-15,67 0 0,-1 0 16,-26 0-16,0 0 16,-26 0-16,-40 0 15,-27 0-15,-13 0 16</inkml:trace>
  <inkml:trace contextRef="#ctx0" brushRef="#br0" timeOffset="-90155.29">11999 6866 0,'0'13'93,"40"0"-77,12-13-16,28 14 16,39-1-16,13 13 15,27-12-15,0-14 16,13 0-16,13 0 16,0 0-1,0 0-15,27 0 16,-27 0-16,-39 0 15,-1 0-15,-39 0 16,-27 0-16,-39 0 16,0 0-16</inkml:trace>
  <inkml:trace contextRef="#ctx0" brushRef="#br0" timeOffset="-89061.04">11787 8295 0,'27'0'79,"198"13"-64,-80-13 1,80 0-16,-13 0 15,39 0-15,40 0 16,-66 0-16,-40 0 16,14 0-16,118 0 15,-185 0 1,1 0-16,-67 0 16,-27 0-1</inkml:trace>
  <inkml:trace contextRef="#ctx0" brushRef="#br0" timeOffset="-87854.26">12025 9935 0,'40'0'31,"172"0"-16,-40 0 1,13 0 0,40 0-16,-14 0 0,80 0 15,-39 0-15,-27 0 16,-53 0 0,-27 0-16,-39 0 0,-53 0 15,-13 0 1,13 0-1,-40 0 17</inkml:trace>
  <inkml:trace contextRef="#ctx0" brushRef="#br0" timeOffset="-85060.13">12052 11404 0,'0'13'79,"26"0"-64,14-13 1,26 0-16,159 0 15,159 0 17,-54 0-32,-12 0 0,-120 0 15,-26 0-15,0 26 16,-159-26 0</inkml:trace>
  <inkml:trace contextRef="#ctx0" brushRef="#br0" timeOffset="-82174.34">20598 2447 0,'26'0'94,"67"14"-78,-1-14-1,41 0-15,12 0 16,14 0-16,13 0 15,0 0-15,53 0 16,-53 0-16,0 0 16,26 0-16,-26 0 15,-39 0-15,25 0 16,-12 0 0,-54 0-16,-12 0 0,-14 0 15,-13 0 1,-40 0-1</inkml:trace>
  <inkml:trace contextRef="#ctx0" brushRef="#br0" timeOffset="-78198.12">12554 3029 0,'40'0'62,"0"0"-46,-27 0 0,40 0-16,26 0 15,1 0-15,12 0 16,186 0-1,-132 0-15,26 0 16,0 0-16,172 0 16,-172 0-1,0 0-15,26 0 16,-39 0-16,13 0 16,-40 0-1,27 0-15,-14 0 0,133 0 31,-159 0-31,-13 0 16,13 0-16,-40 0 0,14 0 16,-27 0-16,14 0 15,-28 0 1,1 0-16,-13 0 16,0 0-16,-14 0 15,1 0-15,12 0 16,-12 0-16,13 0 15,-27 0-15,26 0 16,1 0-16,26 0 16,-13 0-1,0 0-15,-13 0 16,26 0-16,27 0 16,-27 0-16,13 0 15,27 0-15,-27 0 16,1 0-16,12 0 15,-26 0-15,1 0 16,-1 0-16,-13 0 16,-14 0-16,1 0 15,-27 0-15,40 0 16,-26 0 0,26 0-16,-1 0 0,1 0 15,-26 0-15,26 0 16,-14 0-1,1 0-15,0 0 0,-14 0 16,1 0 0,-14 0-16,0 0 15,14 0-15,-1 0 16,14 0-16,-1 0 16,-12 0-16,-1 0 15,1 0-15,-14 0 16,13 0-16</inkml:trace>
  <inkml:trace contextRef="#ctx0" brushRef="#br0" timeOffset="-76499.08">11840 3598 0,'106'0'62,"0"0"-46,185 0 0,-106 0-16,199 0 15,-212 0 1,-14 0-16,-25 0 16,-54 0-16,-39 0 15,-27 0-15</inkml:trace>
  <inkml:trace contextRef="#ctx0" brushRef="#br0" timeOffset="-74957.64">14989 3559 0,'26'0'109,"40"0"-109,40 0 16,-27 0-16,67 0 15,0 0 1,-14 0-16,13 0 0,1 0 16,-27 0-16,13 0 15,-39 0 1,26 0-16,0 0 16,-13 0-16,26 0 0,-26 0 15,26 0 1,-26 0-16,0 0 0,-27 0 15,27 0 1,-27 0-16,-12 0 16,25 0-16,-65 0 15,26 0-15,-27 0 16,-13 0-16,14 0 16</inkml:trace>
  <inkml:trace contextRef="#ctx0" brushRef="#br0" timeOffset="-62307.32">11271 450 0,'-13'13'62,"13"0"-62,-13 27 16,13-27-16,0 0 16,0 1-16,0-1 15,0 0-15,0 0 0,0 1 0,0-1 0,0 0 16,0 0-16,0 0 0,0 1 15,0-1-15,0 0 16</inkml:trace>
  <inkml:trace contextRef="#ctx0" brushRef="#br0" timeOffset="-61763.41">11404 450 0,'-14'13'15,"14"0"-15,-13 0 16,13 1-16,0 12 0,0-13 16,0 1-16,0 12 15,0-13-15,0 1 0,13-1 16,-13 0-16,14 0 0,-14 0 0,13-13 15,0 14-15,0-1 0,0-13 16,1 0-16,-1 0 0,0 0 16,0-13-16,1 13 0,-1 0 15,-13-14-15,13 14 0,0-13 16,-13-13-16,0 13 0,14 13 16,-14-14-16,0 1 0,0 0 0,-14 0 15,14-1-15,-13-12 16,0 13-16,0-1 15,-1 1-15,1 13 16,0-13-16,0 13 0,-1 0 16,1 0-1,0 0 1</inkml:trace>
  <inkml:trace contextRef="#ctx0" brushRef="#br0" timeOffset="-61403.06">11615 423 0,'-13'27'32,"13"-14"-32,-13 0 15,13 27-15,13-14 16,0 14-1,0-40 1,-13 13-16,27 1 0,-14-14 0,0 0 16,1 0-16,-1 0 0,0 0 15,0 0-15,1 0 0,-1-14 16,0 14-16,-13-13 0,13 0 16,-13 0-16,0-1 15,-13 1-15,13 0 16,-26-14-16,12 14 0,14 0 0,-13 0 15,0 13-15,0-13 16,-1-1-16,1 14 16,0 0-16,0 14 0,-1-14 15,14 13 1</inkml:trace>
  <inkml:trace contextRef="#ctx0" brushRef="#br0" timeOffset="-60889.6">12065 370 0,'-13'53'15,"13"-39"-15,0 12 16,0-13-16,0 14 0,0-1 0,0 27 16,0-26-16,0 12 15,0-12-15,0-14 16,0 13-16,0-12 0,0 12 16,0 1-16,0-14 0,0 0 15,-13-26 16,13 0-31,0-27 16,0-13-16,13 13 16,-13 14-16,26-14 0,-13 0 15,1 27-15,-1 0 16,0 0-16,0 13 0,14-14 16,-14 14-16,14 0 15,-14 0-15,-13 14 16,13-1-16,-26 0 15,13 0-15,-40 27 16,14-13 0,12-14-16,1-13 15,0 13-15,0-13 0,13 13 16</inkml:trace>
  <inkml:trace contextRef="#ctx0" brushRef="#br0" timeOffset="-60177.65">12422 450 0,'-53'13'15,"40"0"-15,0 0 0,0 1 16,-14 12-16,27-13 15,-13-13-15,13 27 16,0-14 0,0 0-16,13 1 15,0-28 1,1 1 0,-1 13-16,-13-13 15,13 0-15,0 13 47,0 13-47,1-13 16,-14 13-16,13-13 15,13 0-15,-12 0 16,-1 0-16,13-13 16,-12 0-16,-1-1 15,0-12-15,0 13 16,0-1-16,1-25 0,-1-1 15,0-13-15,0 14 16,-13 25-16,0-12 16,0 13-16,0 39 31,0-13-31,-13 27 16,13-27-16,0 0 15,0 1-15,0 25 16,0-25-16,0-1 0,13 0 0,1 0 15,-1 0 1,0-13-16,0 0 0,1 0 16,12-13-16,-13 13 0,-13-13 15,40 0 1,-27 13-16,0 0 16,-13 13-16,14 0 15,-1 0-15,0 1 16,-13-1-1,13 0 1,1 0-16,-14 1 0</inkml:trace>
  <inkml:trace contextRef="#ctx0" brushRef="#br0" timeOffset="-60036.37">12912 370 0,'0'-13'15</inkml:trace>
  <inkml:trace contextRef="#ctx0" brushRef="#br0" timeOffset="-59869.25">12502 437 0,'-14'0'0,"54"-14"16,344-39-16,-742 106 0,385-53 16,13 0-16,-14 0 0</inkml:trace>
  <inkml:trace contextRef="#ctx0" brushRef="#br0" timeOffset="-59314.77">13044 582 0,'0'-13'15,"0"0"1,0 39-16,0-66 0,-13 54 63,0-1-63,26-13 15,-13 13-15,13 0 16,27-13-1,-27 0 1,0 0-16,14-13 16,-1 13-16,-26-13 15,13 13-15,0-27 0,14-12 32,-14 25-32,0-25 15,-13 26-15,0-14 16,0 14-16,0 0 15,-13 26 32,13 13-31,0 1 0,0-1-16,0-13 0,13 1 15,-13 12 1,14-13-16,-1 14 15,-13-14-15,13-13 16</inkml:trace>
  <inkml:trace contextRef="#ctx0" brushRef="#br0" timeOffset="-58423.5">13256 516 0,'13'-13'0,"0"-1"0,14-12 15,-14 26 17,0 0-32,-13 13 0,13-13 15,14 13 1,-27 1-16,26-14 16,-13 0-16,1 0 15,12 0-15,27-40 31,-40 14-31,-13 12 16,13 1-16,-13 0 0,0 0 16,14-14-16,-14 1 15,0 13-15,13-14 16,-13 54 15,0-1-31,0-13 0,0 27 16,0-27-16,0 0 15,-13 14-15,13-14 0,-14 13 16,1 14 0,0-27-1,13 1-15,-13-14 16,0-14 0,26 1-1,-13 0-15,13 0 0,13-14 16,1 1-16,-1 13 15,-12-1-15,12-12 16,0 26 0,-12 0-16,-14-13 15,26 26-15,-13 0 16,1-13-16,-14 27 31,13-27-31,-13 13 0,-13 13 31,-1-13-31,1 1 16,13-1-16,-13-13 16</inkml:trace>
  <inkml:trace contextRef="#ctx0" brushRef="#br0" timeOffset="-58033">11986 860 0,'39'-13'15,"133"-1"1,-106 1-16,1 0 16,12 0-16,0 0 0,1-1 0,145-12 15,-27-14 1,-132 27-16,-13 13 15,53-13-15,-27-1 16,-52 14-16,12 0 0,-12 0 16</inkml:trace>
  <inkml:trace contextRef="#ctx0" brushRef="#br0" timeOffset="-57769.5">12290 952 0,'317'-39'15,"-264"39"-15,0-13 16,40-1-16,52 1 15,-118 13-15,52-13 16,-52 13-16,-14 0 16,13 0-16,1-13 15,-14 13-15</inkml:trace>
  <inkml:trace contextRef="#ctx0" brushRef="#br0" timeOffset="-56830.97">15438 331 0,'-13'0'16,"13"-13"-16,-13 13 15,13 26 16,13-26-31,14 13 16,-1-13-16,1 13 16,12-13-16,54-13 15,-67 13 1,1-13-16,-14 13 0,27-13 16,-27-14-16,13 1 15,-26 13-15,-13-1 16,13 1-1,-13 13-15,0 13 16,-14 1-16,27-1 16,-26 13-16,13 1 15,-14 12-15,27-12 16,-26 39-16,26-53 16,-14 14-16,14 12 15,0-25-15,0-1 16,27 13-16,-14-26 15</inkml:trace>
  <inkml:trace contextRef="#ctx0" brushRef="#br0" timeOffset="-56509.74">15875 582 0,'26'-40'16,"-12"27"-16,-14 0 15,13-14-15,-26 14 32,13 0-32,-14 13 15,1 13 1,0 0-1,0-13-15,13 27 16,0-14-16,13 0 16,0 1-16,14-14 15,-1 0 1,1 0-16</inkml:trace>
  <inkml:trace contextRef="#ctx0" brushRef="#br0" timeOffset="-56264.98">16113 450 0,'0'-27'16,"13"54"15,1-14-15,-14 0-1,13 0 1,0 14-16,-13-14 0,0 0 15,0 14 1,-13-27-16,13 13 0,-13-13 0,-14-132 0,54 277 16,-41-145-16,14 14 0,-13-14 15,0 0 1</inkml:trace>
  <inkml:trace contextRef="#ctx0" brushRef="#br0" timeOffset="-56036.13">16351 291 0,'27'79'0,"-27"-39"15,0-27-15,13 1 0,-13 25 16,0-12-16,0-14 16,0 13-16,0-12 15</inkml:trace>
  <inkml:trace contextRef="#ctx0" brushRef="#br0" timeOffset="-55771.05">16312 556 0,'52'-67'16,"-38"67"-1,25-26-15,-25 26 0,12-13 16,-13 13-16,1 0 0,-1-13 0,0 13 16,0 0-16,14 0 15,-14 0-15,0 0 0,0 13 16,1-13-16,-14 13 15,13 0-15,-13 0 0,0 1 16,0-1 0,0 0-16,0 0 0,0 1 15</inkml:trace>
  <inkml:trace contextRef="#ctx0" brushRef="#br0" timeOffset="-55625.35">16669 370 0,'-13'0'16</inkml:trace>
  <inkml:trace contextRef="#ctx0" brushRef="#br0" timeOffset="-55341.07">16788 450 0,'0'26'15,"0"-13"1,0 1-16,-13-14 15,13 13 1,13-13 15,0 0-15,0 0 0,1 0 15</inkml:trace>
  <inkml:trace contextRef="#ctx0" brushRef="#br0" timeOffset="-54785.2">17052 318 0,'0'26'15,"0"-13"1,-13 40-1,13-26-15,0-1 0,-13 0 16,13-12-16,0 12 0,0-13 16,0 1-16,0-1 15</inkml:trace>
  <inkml:trace contextRef="#ctx0" brushRef="#br0" timeOffset="-54430.98">17343 437 0,'-79'-14'0,"66"28"0,-27-14 16,27 0-16,0 13 16,-1-13-16,1 13 0,0 0 15,0-13-15,13 13 16,-13 1-1,26-1-15,0-13 16,0 0-16,0 0 0,27-13 16,-13 13-16,-1 0 0,-13-14 15,1 14-15,-1 0 16,0 0-16,0 0 0,0-13 16,1 26-16,-1-13 15,0 14 1,-13-1-1,0 0-15,0 0 16</inkml:trace>
  <inkml:trace contextRef="#ctx0" brushRef="#br0" timeOffset="-54291.74">17476 463 0,'-14'-26'16</inkml:trace>
  <inkml:trace contextRef="#ctx0" brushRef="#br0" timeOffset="-54098.41">17621 278 0,'13'40'31,"-13"-14"-31,0-13 0,0 14 16,0-1-16,0-13 15,0 27-15,0 0 16</inkml:trace>
  <inkml:trace contextRef="#ctx0" brushRef="#br0" timeOffset="-53922.59">17621 503 0,'27'-27'0,"-14"27"15,13-13-15,-12 13 16,-1 0-16,13-13 16,-12 13-16</inkml:trace>
  <inkml:trace contextRef="#ctx0" brushRef="#br0" timeOffset="-53272.65">18045 318 0,'0'26'16,"0"-13"-1,0 14-15,-14-14 0,14 27 16,-13-27-16,13 40 31,-13-40-31,26 0 16</inkml:trace>
  <inkml:trace contextRef="#ctx0" brushRef="#br0" timeOffset="-52957.31">18150 423 0,'0'-13'16,"-26"26"15,26 1-31,0-1 16,13 13-1,0-26-15,14 13 16,-14-13-16,0 0 15,1 0-15,12 0 16,-13-13 0,-13 0-16,0 0 15,-13 0 1,0 13-16,0-14 0,-1 14 16,1 0-1,0 0-15,0 0 16,-1 14-16</inkml:trace>
  <inkml:trace contextRef="#ctx0" brushRef="#br0" timeOffset="-52671.97">18336 410 0,'13'27'16,"0"-14"-16,14 0 31,-14 0-31,0-13 0,0 0 16,0 0-16,1 0 15,-1 0-15,0 0 16,-13-13 0,0 0-1,-13 0-15,0 13 16,-1-14-1,1 14-15,-13 0 0</inkml:trace>
  <inkml:trace contextRef="#ctx0" brushRef="#br0" timeOffset="-52481.18">18746 331 0,'13'13'16,"-13"13"-1,-13 1 1,-1-1 0,14 1-16,-13-27 0,13 13 15,0 0-15</inkml:trace>
  <inkml:trace contextRef="#ctx0" brushRef="#br0" timeOffset="-52322.3">18666 370 0,'-13'-13'0</inkml:trace>
  <inkml:trace contextRef="#ctx0" brushRef="#br0" timeOffset="-52194.06">18865 463 0</inkml:trace>
  <inkml:trace contextRef="#ctx0" brushRef="#br0" timeOffset="-51682.08">16854 820 0,'132'-26'15,"-79"26"-15,40-13 0,39-1 16,0 1 0,-52 0-16,-14 13 0,0-13 0,-13 13 15,66-14-15,-26 1 16,-14 13-16,-53 0 0,1 0 15,-1 0-15,-12-13 0,12 13 16,-26 13-16</inkml:trace>
  <inkml:trace contextRef="#ctx0" brushRef="#br0" timeOffset="-51442.17">17277 900 0,'66'13'0,"-26"-13"16,-13 0-16,-1 0 0,0 0 16,14 0-16,26 0 0,0-13 15,-39 13-15,-1 0 0,27 0 16,-26 0-16,-14 0 15,40 0-15,-40-14 16</inkml:trace>
  <inkml:trace contextRef="#ctx0" brushRef="#br0" timeOffset="-49793.41">20995 304 0,'26'14'16,"1"-14"0,-14 0-16,13-14 0,27 1 15,-40 13-15,1-13 0,-1 13 16,13-13-1,-26-1-15,14 1 0,-1 0 16,-13 0-16,13-1 16,-13 1-1,-13 40 1,0-14-16,13 0 16,-14 0-16,14 14 0,-13-1 15,13-12-15,-13 25 16,0 1-16,13-27 15,-14 40-15,14-40 16,0 0-16,14 1 0,-14-1 16,13-13-16</inkml:trace>
  <inkml:trace contextRef="#ctx0" brushRef="#br0" timeOffset="-49465.57">21365 476 0,'66'-39'16,"-66"25"-16,13 1 15,-13 0-15,14 0 16,-14-1-1,-14 14-15,1 14 16,0-1 0,0 0-16,0-13 15,13 13-15,0 1 16,0-1 0,0 0-16,13-13 0,13 13 15,-13-13 1,1 0-16,-1 0 0,0-13 0</inkml:trace>
  <inkml:trace contextRef="#ctx0" brushRef="#br0" timeOffset="-49226.7">21630 370 0,'0'-13'16,"0"0"0,-14 39 15,14-12-16,0 12-15,0-13 16,0 1-16,0-1 16,0 0-16,0 0 15,0 0-15,-13 1 16,0-14-16,53-119 0,-80 251 0,27-132 16,66-146-1</inkml:trace>
  <inkml:trace contextRef="#ctx0" brushRef="#br0" timeOffset="-49025.96">21762 238 0,'13'-13'16,"-13"26"-1,0 0 1,0 14-16,0-1 15,0-12-15,0 12 16,0 0 0,0-12-16,0-1 0,0 0 0,0 0 0,0 1 15</inkml:trace>
  <inkml:trace contextRef="#ctx0" brushRef="#br0" timeOffset="-48680.56">21696 410 0,'13'-26'16,"0"26"-16,14-14 0,-1 14 15,-13 0-15,1-13 16,-1 13-16,27-13 15,-27 13-15,13-13 0,-12 13 16,-1-13-16,0 13 16,0-14-16,0 14 15,1 0 1,-1 14 0,-13-1-1,0 0-15,0 0 16,13 0-16,-13 1 15,0-1-15,0 0 16</inkml:trace>
  <inkml:trace contextRef="#ctx0" brushRef="#br0" timeOffset="-48521.39">22066 265 0,'-13'-27'15</inkml:trace>
  <inkml:trace contextRef="#ctx0" brushRef="#br0" timeOffset="-48152.16">22199 344 0,'-14'26'0,"14"-12"15,0-1 1,0 0-16,0 0 15,27-26 48,-14 0-32,0 13-31,0-13 16,1 13-1,-1 0-15,0 13 16,0-13 0,1 0-16,12 0 0,-13 0 15,1 0-15</inkml:trace>
  <inkml:trace contextRef="#ctx0" brushRef="#br0" timeOffset="-47806.13">22542 344 0,'-26'0'16,"26"13"-16,13 0 16,-13 1-16,13-1 15,1 27-15,-14-27 16,0 0-16,0 0 0,-14 14 15,14-1-15,-13-13 16,13 1-16,-13-1 16,0 0-1,13-39 17,13 12-32,0 14 15,-13-13-15,27 0 0,-14 0 16,0-1-16,14 1 15,-14 0 1,13 13-16,1-13 16</inkml:trace>
  <inkml:trace contextRef="#ctx0" brushRef="#br0" timeOffset="-47500.91">23006 198 0,'-14'40'32,"14"-13"-32,-13-1 15,13 1 1,0-14-16,-13 13 0,13-13 16,13 1-16</inkml:trace>
  <inkml:trace contextRef="#ctx0" brushRef="#br0" timeOffset="-47106.41">23217 265 0,'-66'13'0,"40"-13"15,12 13-15,1 0 16,0 1-1,0-1-15,-1-13 0,14 13 16,0 0 0,14 0-16,-1-13 15,0 0-15,0 0 0,1 0 16,-1 0-16,27 0 16,-27 0-16,13-13 15,1 0-15,-14 13 16,0 0-16,0-13 0,1 13 31,-1 0-31,0 0 16,-13 13-1,13-13 1,-13 13 0,0 0-16</inkml:trace>
  <inkml:trace contextRef="#ctx0" brushRef="#br0" timeOffset="-46934.87">23429 251 0,'0'-13'16,"-27"13"15</inkml:trace>
  <inkml:trace contextRef="#ctx0" brushRef="#br0" timeOffset="-46732.99">23561 159 0,'0'39'31,"-13"-25"-31,13 12 0,0 14 16,0-14 0,0 1-16,0 12 15,0-25-15,0 12 16</inkml:trace>
  <inkml:trace contextRef="#ctx0" brushRef="#br0" timeOffset="-46525.73">23521 370 0,'0'-13'0,"0"0"15,14 13-15,-1 0 16,0-13-16,0 13 16,1-13-16,12 13 0,-13 0 15,1-14-15,12 14 0,-13 0 0</inkml:trace>
  <inkml:trace contextRef="#ctx0" brushRef="#br0" timeOffset="-45242.11">23984 410 0,'0'27'32,"14"-1"-17,-14-13 1,0 0 0</inkml:trace>
  <inkml:trace contextRef="#ctx0" brushRef="#br0" timeOffset="-44724.84">24011 489 0</inkml:trace>
  <inkml:trace contextRef="#ctx0" brushRef="#br0" timeOffset="-42866.65">21841 648 0,'318'-13'16,"-239"0"-16,1 13 16,12-13-16,-12 13 0,105 0 15,-106-14-15,14 14 0,-14 0 0,53 0 16,-79 0-16,-13 0 16,39 0-16,-39-13 15</inkml:trace>
  <inkml:trace contextRef="#ctx0" brushRef="#br0" timeOffset="-42672.65">22622 688 0,'264'-27'16,"-197"27"-16,12 0 0,0-13 0,1 0 16,-1 13-16</inkml:trace>
  <inkml:trace contextRef="#ctx0" brushRef="#br0" timeOffset="-38862.27">13070 1045 0,'53'132'0,"-39"-105"0,38 13 15,81 39 1,-94-66 0,1 0-16,0 1 0,0-1 0,-1 0 0,14 0 15,0-13-15,13 14 0,-13-14 16,13 0-16,0 0 0,1-14 15,12 14-15,-13 0 0,13-13 0,67 13 16,-80-13-16,0 13 16,0-13-16,-13 13 0,53 0 15,-53-14-15,26 14 0,-39 0 16,-13-13-16,-1 13 0,27 0 16,-13 0-16,-27 0 15,0-13-15</inkml:trace>
  <inkml:trace contextRef="#ctx0" brushRef="#br0" timeOffset="-38129.03">14830 1151 0,'13'13'0,"0"-13"0,1 13 0,12 1 16,0-14-16,1 13 16,-14 0-16,14 0 0,78 40 15,-91-26-15,-1-14 16,0 0-16,0 27 15,-13 0-15,-13-1 16,13-26-16,-13 14 0,13-14 16,-27 27-16,14-27 15,13 0-15,-26 14 0,13-14 16,13 0-16</inkml:trace>
  <inkml:trace contextRef="#ctx0" brushRef="#br0" timeOffset="-31971.02">16775 1058 0,'39'14'47,"-25"-14"-32,12 0-15,-13 0 0,0 0 16,14 0-16,-14 0 16,0-14-16,1 28 0,-1-14 0,26 0 15,-25 0 1,-1 0-16,0 0 0,0 0 16,-13 13-1,0 0-15,0 0 16,14 14-16,-14-14 15,0 27-15,0-14 0,-14 1 16,14-1-16,0 0 0,0 1 0,0-14 16,0 14-16,0-1 0,0 1 15,0-1-15,0 0 0,14 14 16,-14-27-16,0 14 0,0-14 16,13 0-16,-13 1 0,0-1 15,0 13-15,0-13 0,13 1 16,-13-1-16,0 0 15,-13-13 1,13 13-16,-13 1 16,-1-14-16,1 13 15,0-13-15,-14 0 16,14 13-16,0-13 16,0 0-16,0 0 15,-14 0-15,1 0 16,12 0-16,1 0 15,-13 0-15,13 0 16,-1 0-16,1-13 16,0 13-16,0-13 15,-1-1 1,14 1 0,-13 0-16,13-14 0,0 14 15,-13-26-15,13-1 16,0 27-16,13-40 15,-13 13-15,0-13 16,0 27-16,0-1 0,13-26 16,-13 27-16,0 13 0,0-27 15,0 13 1,0 14-16,0 0 0,0 0 16,0-1-16,0 1 15</inkml:trace>
  <inkml:trace contextRef="#ctx0" brushRef="#br0" timeOffset="-31242.59">17661 1244 0,'0'-14'0,"0"54"47,0 0-31,0-27-16,0 13 15,-13 14-15,13-27 0,0 1 16,0-1-16,0 0 0,0 0 0,0 0 16,13 1-1</inkml:trace>
  <inkml:trace contextRef="#ctx0" brushRef="#br0" timeOffset="-30880.18">17859 1270 0,'-13'0'16,"0"26"-16,0-12 15,13-1-15,-14 0 0,14 0 0,0 1 16,0-1-16,0 0 16,14-13-16,-14 13 0,0 1 0,13-14 15,-13 13-15,13 0 0,0-13 16,14 0-16,-14 0 16,0 0-16,-13-13 15,0 0-15,14 13 16,-14-14-16,-14-25 15,14 25-15,-13 1 16,0 0 0,0 13-16,13-13 0,-14 13 15,1 0-15,0 0 16</inkml:trace>
  <inkml:trace contextRef="#ctx0" brushRef="#br0" timeOffset="-30594.41">17965 1323 0,'13'13'16,"1"27"-16,-1-40 15,0 13-15,0-13 16,1 0-1,12 0 1,-26-13-16,0 0 16,0-1-1,0 1 1,-13 0-16,0 13 16,13-13-16,-14 13 15</inkml:trace>
  <inkml:trace contextRef="#ctx0" brushRef="#br0" timeOffset="-30013.43">18640 1098 0,'40'-26'15,"-27"12"-15,0 14 32,-39 14-1,12-1-31,1-13 15,0 13-15,0 0 16,13 0-16,0 1 31,13-1-31,0-13 0,-13 13 16,13 0-16,1 1 16,-1-1-1,-13 0 1,0 0-16,0 1 15,-13-14-15,-1 13 16,1 0 0,0-13-16,13 13 15</inkml:trace>
  <inkml:trace contextRef="#ctx0" brushRef="#br0" timeOffset="-29721.14">18785 1138 0,'27'13'16,"-14"0"-16,27 0 16,-14-13-1,-13 0-15,1-13 16,12 13-16,-13 0 15,1-13-15,-14 0 16,13-1-16,-26 1 31,-1 0-31,1 13 0,0 0 16,-27 0-16,14 13 16,-1 0-1,-12 1-15,25-14 0,14 13 16</inkml:trace>
  <inkml:trace contextRef="#ctx0" brushRef="#br0" timeOffset="-28365.04">18732 1495 0,'27'-13'0,"-14"13"15,-13-14 1,13 14-16,-39 14 47,-1-1-32,14 0 1,0-13-16,13 13 16,0 1-1,0-1-15,13 0 0,-13 0 16,13 1-16,-13-1 15,14 0 1,-14 0-16,0 0 16,-14 1-16,14-1 0,-13 0 15,13 0-15,-13-13 16,0 14-16,0-14 16,13 13-16,-14-13 15</inkml:trace>
  <inkml:trace contextRef="#ctx0" brushRef="#br0" timeOffset="-28052.15">18812 1548 0,'26'53'16,"-12"-40"-1,-1 0-15,0-13 16,0 13-16,0-13 0,1 0 16,12 0-1,-13-13-15,-13 0 32,0 0-17,-13 13-15,0-13 16,0 13-1,-14 0 1,14 0 0</inkml:trace>
  <inkml:trace contextRef="#ctx0" brushRef="#br0" timeOffset="-27248.88">19301 992 0,'14'27'0,"-14"-14"16,13 13 0,-13-12-16,0-1 0,0 0 15,13 40 1,-13-40-16,0 0 0,0 1 16</inkml:trace>
  <inkml:trace contextRef="#ctx0" brushRef="#br0" timeOffset="-27068.2">19248 1098 0,'0'-13'0,"14"13"15,-1 0 1,0 0-16,14-13 15,-1 13-15,-13 0 16</inkml:trace>
  <inkml:trace contextRef="#ctx0" brushRef="#br0" timeOffset="-26643.04">19526 1005 0,'13'27'47,"-13"-14"-47,14-13 15,-14 13-15,13-13 0,-13 14 16,13-14 0,0 0-1,1 0 1,-14-14-1,13 14-15,-13-13 16,13 13-16,0-13 16,1 13-1,-1 0-15,0-13 32,0 13-17,-13 13 16,27-13 1,-14 0-17,0 26 1</inkml:trace>
  <inkml:trace contextRef="#ctx0" brushRef="#br0" timeOffset="-26348.96">19275 1640 0,'40'-13'32,"-27"13"-32,13 0 15,-12 0-15,-1-13 0,0 13 16</inkml:trace>
  <inkml:trace contextRef="#ctx0" brushRef="#br0" timeOffset="-25891.11">19500 1535 0,'13'26'16,"0"-13"-1,0 1-15,14-14 32,-14 0-17,0 0-15,1-14 16,-1 14-1,-13-13-15,13 13 16,-13-13-16,13 13 16,1-13-1,-1 13 1,0-14-16,0 14 16,0 0-16,-13-13 15,0 26 32,0 1-31,14-14-1,12-14 1</inkml:trace>
  <inkml:trace contextRef="#ctx0" brushRef="#br0" timeOffset="-24562.46">20069 913 0,'39'-13'0,"-25"13"0,-1 0 15,0 13-15,-13 0 16,0 0-16,0 14 15,0-1-15,-13 1 0,0 12 16,-1 1-16,1-14 0,0 54 16,0-67-1,13 0-15,0 14 0,0-1 16,0-13-16,13 1 16,-13-1-16,13-13 0,0 0 15,14-13-15,-14 13 16,0 0-16,0 0 0,1-14 15,-1 14-15,0 0 0,14 14 16,-14-1-16,13 0 0,-12 0 16,12 40-16,-13-26 0,0-1 15,1 14-15,-1-14 0,-13 14 0,0 13 16,0-27-16,0-12 16,0 12-16,-13 27 0,13-40 15,-14 14-15,1-14 0,0 13 16,0-12-16,0-14 15,-14 0 1,27-14-16</inkml:trace>
  <inkml:trace contextRef="#ctx0" brushRef="#br0" timeOffset="-24232.99">20399 1376 0,'146'-40'0,"-120"27"16,41 0-16,-1-1 15,-27 1-15,-12 13 0,-14-13 16,27 13-16,-14-13 16,-13 13-16,1-13 15</inkml:trace>
  <inkml:trace contextRef="#ctx0" brushRef="#br0" timeOffset="-23957.35">20770 1058 0,'13'0'0,"13"0"16,1 14-1,13 12-15,13 14 16,-27 13-16,0-40 16,-12 27-16,-1-1 15,-13-12-15,-27 12 16,-12 14 0,-14 0-16,0-13 15,-13 13-15,0-27 16,26 1-16</inkml:trace>
  <inkml:trace contextRef="#ctx0" brushRef="#br0" timeOffset="-20524.84">22040 966 0,'26'0'78,"-13"0"-78,14 0 32,-14 0-32,-13 13 0,13 0 15,-26 14 1,13-14 15,-13 0-15,26 0-1,0 1 1,14 12 0,-14-13-1,-13 0 1,-26 14-1,12-27-15,14 13 16,-13-13-16,0 0 0,0 13 16,-1-13-16,1 0 15</inkml:trace>
  <inkml:trace contextRef="#ctx0" brushRef="#br0" timeOffset="-20218.47">22212 1019 0,'-13'26'31,"13"-13"-31,13 27 16,0-27-1,0 0-15,0 1 16,1-14-1,12 0 1,-13-14-16,-13 1 16,0 0-1,0 0-15,-13 13 16,13-13-16,-13 13 0,0-14 16,-1 14-1,1 0 1</inkml:trace>
  <inkml:trace contextRef="#ctx0" brushRef="#br0" timeOffset="-19899.18">23019 939 0,'13'13'31,"0"-13"-31,-13 14 0,0-1 0,13 0 16,-13 0-16,0 1 16,0-1-16,14 0 15,-14 0-15,0 1 0</inkml:trace>
  <inkml:trace contextRef="#ctx0" brushRef="#br0" timeOffset="-19708.44">22966 1058 0,'0'-13'0,"13"0"31,0 13-31,1 0 0,-1-13 16,0 13-16,13 0 15,14-14-15,-27 14 16,1-13-16,12 13 15</inkml:trace>
  <inkml:trace contextRef="#ctx0" brushRef="#br0" timeOffset="-19303.5">23270 952 0,'13'0'16,"-26"0"-1,40 0 16,-27 14-31,13-14 16,-13 13 0,13-13 31,0 0-32,0 0 1,1 0-16,-1 0 15,0-13-15,0 13 16,1-14 0,-1 14-16,0 0 15,0 0 63,14 0-62,-14 0 0</inkml:trace>
  <inkml:trace contextRef="#ctx0" brushRef="#br0" timeOffset="-18684.13">22106 1535 0,'13'-14'31,"40"14"-16,-40 0-15,1 0 16,-1 0-16,0 14 16,0-14-16,0 0 0,1 13 15,-1 0-15,0 14 16,0 12 0,-13-26-1,0 14-15,0-14 16,0 0-16,0 1 0,0-1 15,0 0-15,0 0 16</inkml:trace>
  <inkml:trace contextRef="#ctx0" brushRef="#br0" timeOffset="-18260.12">22185 1680 0,'-13'0'16,"40"-13"0,25 0-1,-25 13-15,-1-14 16,1 14-16,-1-13 0,14 0 16,-27 13-16,0 0 15,14-13-15,-14 13 0,0 0 16,1 0-1,-28 13 1,14 0-16,0 0 16,0 1-1,14-14-15,-1 13 16,0-13 0,0 0-16,0 0 15,1 0-15,-14-13 0,13-1 16,-26 14-16,13-13 15,-14 0 1,1 0-16,0 13 0,0-13 16,0 13-16,-1 0 15,1 0-15,0 0 16</inkml:trace>
  <inkml:trace contextRef="#ctx0" brushRef="#br0" timeOffset="-17953.02">23138 1561 0,'40'-13'15,"-27"13"1,0 0-16,27-13 15,-27 13-15,0 0 0</inkml:trace>
  <inkml:trace contextRef="#ctx0" brushRef="#br0" timeOffset="-17442.78">23455 1429 0,'14'26'16,"-14"-13"0,13-13-1,-13 14-15,13-1 16,0-13 15,0 0-15,1 0-1,-14-13-15,13-1 16,0 1 0,-13 0-1,13 13 1,14-13-1,-14 13 1,0-13-16,14 13 16,-14-14-16,0 14 0,0-13 15,-13 40 32,14-14-31,-1-13-1,0 0-15,0 0 16</inkml:trace>
  <inkml:trace contextRef="#ctx0" brushRef="#br0" timeOffset="-14696.26">23879 820 0,'39'0'0,"-25"-13"0,-1 13 16,0 0-16,-13-13 15,13 13-15,0 0 16,1 13-16,-14 0 15,0 0-15,13 1 16,-13-1-16,0 0 0,0 27 16,0-14-16,13-13 0,-13 14 15,0 13-15,13 39 16,1-53-16,-14 14 0,13 0 0,-13 0 16,13-14-16,0 14 0,1-14 15,-1 14-15,0 13 0,0-27 16,0-13-16,1 14 0,-14-1 0,13-12 15,-13-1-15,13 13 16,-13-12-16,0-1 0,13 0 0,-13 0 16,0 0-16,0 1 0,0-1 15,-13 0 1,0 0-16,-27 1 16,27-1-16,-13-13 15,-27 13-15,-14-13 16,15 13-16,25-13 0,-13 0 0,14 0 15,-1 0-15,1 0 16</inkml:trace>
  <inkml:trace contextRef="#ctx0" brushRef="#br0" timeOffset="-13484.26">24236 1151 0,'26'0'16,"-12"0"0,-1 0-16,13 0 0,-13 0 15,1-13-15,-1 13 0,0 0 16,0 0-1,-52 13 1,-1 0 0,27 0-16,0-13 15,-1 14-15,14-1 16,-13-13-16,13 13 16,13 0-1,1 1-15,-14-1 16,13-13-16,0 13 15,-13 0 1,13-13-16,-13 13 16,0 1-16,-26-1 31,13 0-31,-1-13 16,1 13-16</inkml:trace>
  <inkml:trace contextRef="#ctx0" brushRef="#br0" timeOffset="-13144.29">24461 1204 0,'-13'13'16,"13"0"-16,0 1 0,0-1 16,13 0-16,0 0 15,0-13 1,0 0 0,1 0-16,-1 0 15,-13-13 1,0 0-16,-13 0 15,-14-1 1,14 14 0,0 0-1,0 0 1</inkml:trace>
  <inkml:trace contextRef="#ctx0" brushRef="#br0" timeOffset="-11840.13">24844 1138 0,'0'26'32,"0"1"-17,0-14 1,0 0-16,0 0 16,0 1-16,-13-1 0,13 0 15,0 0-15,-13 0 16,13 1-1</inkml:trace>
  <inkml:trace contextRef="#ctx0" brushRef="#br0" timeOffset="-11629.11">24805 1111 0,'66'-13'0</inkml:trace>
  <inkml:trace contextRef="#ctx0" brushRef="#br0" timeOffset="-11512.81">24765 1204 0,'26'0'16</inkml:trace>
  <inkml:trace contextRef="#ctx0" brushRef="#br0" timeOffset="-11128.47">25056 1124 0,'13'14'16,"-26"-1"-16,13 0 16,0 0-16,0 1 15,-13-1-15,13 0 16,0 0-16,0 1 15,0-41 32,13 14-31,-13 0-16,13-1 0,-13 1 16,13 13-16,-13-13 0,14 0 15,-1-1-15,0 28 31,-13-1-15,-13 0-16,13 0 16,-13 1-16,-1-1 15,1 0-15,13 0 0,-13 1 0,0-14 16,13 13-16,-13 0 16,13 0-16,-14-13 0</inkml:trace>
  <inkml:trace contextRef="#ctx0" brushRef="#br0" timeOffset="-10770.07">24831 1588 0,'-13'26'16,"13"0"-1,-13-26 1,13 14-16,0-1 0,0 0 0,-14 0 16,14 1-16,-13-1 0,13 0 15,0 0-15,-13-13 16</inkml:trace>
  <inkml:trace contextRef="#ctx0" brushRef="#br0" timeOffset="-10461.07">24791 1601 0,'14'-13'16,"-1"13"-16,0-14 0,0 14 16,1 0-16,-1 0 0,0 0 15,14 0 1</inkml:trace>
  <inkml:trace contextRef="#ctx0" brushRef="#br0" timeOffset="-10242.19">24739 1746 0,'26'-26'0,"0"26"31,-12-13-31,-1 13 0,0 0 16,14 0 0,-1 0-1</inkml:trace>
  <inkml:trace contextRef="#ctx0" brushRef="#br0" timeOffset="-9509.1">25030 1773 0,'0'-27'31,"0"14"-31,0 0 16,13 13-16,-13-13 0,13-1 31,13 14 0,-12 14-31,-14-1 16,13 0 0,0-13-1,0 0-15,1-13 16,-1 13-1,0-13-15,-13-1 16,13 1-16,-13 0 16,14 0-16,-14-1 0,0 1 15,-14 13 17</inkml:trace>
  <inkml:trace contextRef="#ctx0" brushRef="#br0" timeOffset="-9012.13">25043 1984 0,'13'-13'16,"0"13"-16,0 0 15,14-13-15,13 13 16,-1-13-16,-12-1 15,-14 1-15,13 13 16,-12-13-16,-1 0 0,0 0 0,14-1 16,-14-12-16,0 13 15,0-14-15,-13 14 0,27-27 16,-27 27-16</inkml:trace>
  <inkml:trace contextRef="#ctx0" brushRef="#br0" timeOffset="-8340.25">25387 1733 0,'-80'-754'15,"54"741"-15,13-1 0,-14 14 0,1-13 16,13 13-16,-40-13 0,26 0 16,-13 0-16,14 13 15,13-14-15,-14 14 0,1 0 16,-14-13-16,-13 0 16,14 13-16,-1 0 15,27 0-15,-14-13 0,14 13 16,-13 0-16,-1 0 0,14 0 15,-14 13-15,14-13 16,0 0-16,-14 0 0,14 13 16,-13-13-16,13 13 15,-14 1 1,14-1-16,0-13 0,13 13 0,-14-13 16,-12 13-16,13 0 15,0 1-15,-1 12 16,1 1-1,0-14-15,0 0 0,13 0 16,-14-13-16,-12 53 16,26-40-16,-27 14 0,27-14 15,-13 14-15,0-1 16,0 1-16,13 12 16,-13-26-16,13 27 15,0 0-15,0-27 16,0 27-16,0-14 0,0 1 15,0-1-15,13 14 0,-13-14 16,13 1-16,0-1 0,14 27 16,-1-13-16,1-1 15,-14-25-15,0-1 0,0 0 16,1 0-16,12 14 16,-13-27-16,14 13 0,-14-13 15,0 0-15,0 0 0,1 0 16,-1 0-16</inkml:trace>
  <inkml:trace contextRef="#ctx0" brushRef="#br0" timeOffset="231.61">24619 370 0,'14'0'0,"-1"0"0,-40 0 0,14 0 47,0 14-32,0-14-15,-14 0 16,14 13-16,0 0 16,13 0 15,13 1-31,0-14 0,-13 13 16,14-13-16,-14 13 0,13-13 0,0 13 15,-13 0 1,13-13-16,-26 14 15,13-1 1,-13-13-16,0 13 16,-1-13-16,14 13 0,-13-13 0,0 0 15</inkml:trace>
  <inkml:trace contextRef="#ctx0" brushRef="#br0" timeOffset="546.94">24686 437 0,'13'0'15,"-13"13"1,0 0 0,0 0-16,13 0 15,0-13-15,1 14 16,-1-14-16,0 0 15,13 0-15,1 0 16,-14 0 0,-13-14-16,13 14 0,-13-13 15,14 0-15,-28 0 16,1 0 0,-13-1-1,12 14 1,1-13-1</inkml:trace>
  <inkml:trace contextRef="#ctx0" brushRef="#br0" timeOffset="718.67">24990 370 0,'26'0'16,"-26"14"-16,0 12 31,-13-13-31,13 1 0,-13-14 0,0 13 16,13 0-16,-14-13 0,1 13 15,0 0-15</inkml:trace>
  <inkml:trace contextRef="#ctx0" brushRef="#br0" timeOffset="908.41">24911 423 0,'13'14'16,"13"-1"-1,-13 0 1</inkml:trace>
  <inkml:trace contextRef="#ctx0" brushRef="#br0" timeOffset="1582.6">19566 410 0,'53'13'0,"-27"1"15,1-14-15,-1 0 0,14 0 16,13 0-16,0 0 0,0 0 0,39 0 15,-39 0-15,0-14 0,0 14 16,-13 0-16,-14 0 0,1 0 0,-1 0 16,1-13-16</inkml:trace>
  <inkml:trace contextRef="#ctx0" brushRef="#br0" timeOffset="1806.67">20201 225 0,'40'13'0,"-27"0"0,0-13 16,14 14-16,-1 12 0,27 1 15,-27-1-15,1-13 0,-14 0 16,14 27-16,-14-27 0,-13 1 16,0 38-1,0-38-15,-13-1 0,-14 13 16,14 1-16,-14-1 0,-12 1 0,12-14 0,1 13 15,-1-12-15,1-1 0,-1 0 16</inkml:trace>
  <inkml:trace contextRef="#ctx0" brushRef="#br0" timeOffset="2519.47">20942 542 0,'-40'67'0,"40"-54"0,-13 0 16,0 13-16,-1 1 15,1-1-15,-13 14 0,12-27 16</inkml:trace>
  <inkml:trace contextRef="#ctx0" brushRef="#br0" timeOffset="2707.7">20677 714 0,'132'53'15,"-105"-53"-15,-14 14 16,14-1-16,12 0 0,-12 0 16,12 0-16,-25-13 0,12 14 15</inkml:trace>
  <inkml:trace contextRef="#ctx0" brushRef="#br0" timeOffset="9731.97">16682 3559 0,'-26'13'0,"12"-13"0,-12 13 15,13 0-15,-14 1 0,1-1 0,-40 26 16,39-25-16,-13 12 15,1 1-15,-54 39 0,53-40 16,-13 1-16,14-1 0,-14 1 0,0-1 16,0 1-16,0-1 15,0 0-15,0 1 0,0-1 0,-52 14 16,52-13-16,-13-14 0,13 13 16,-14-13-16,1 1 0,0-1 15,0 0-15,0 0 0,0 1 0,0-14 16,-1 13-16,-78 0 0,79 0 15,0-13-15,-14 0 0,27 0 16,-13 0-16,13 0 0,-13 0 0,0 0 16,0 0-16,-14 0 0,14-13 15,-13 13-15,26 0 0,-13 0 16,-53-13-16,53 13 0,-14-13 16,27 13-16,0 0 0,-26-14 15,26 14-15,0 0 0,-66-13 0,53 0 16,26 13-16,-13-13 0,1 13 15,-1-14-15,0 14 0,13-13 16,-13 13-16,0-13 0,13 0 0,1 0 16,-14 13-16,-27-27 0,41 14 15,12 0-15,-12-1 0,-1 1 16,13 0-16,-39-14 0,40 14 16,13 0-16,-14 13 0,1-13 15,-1 0-15,14-1 0,-13 1 16,-14-13-16,0 12 0,14 1 15,13 0-15,-14 0 0,14-1 16,-14 1-16,14 0 0,0 13 16,-14-13-16,14 0 0,-13-14 15,-1 14-15,14 0 0,0-1 16,0 14-16,-14-13 0,14 0 0,-13-14 16,12 27-16,1-26 0,-13 13 0,-1 0 15,14-1-15,-14-12 0,1 13 16,13-14-16,-14 1 0,14 12 0,-13-12 15,12 13-15,1-14 0,-13 1 0,12-1 16,1 14-16,-13-13 0,13-1 16,-1-12-16,-12 12 0,13-13 0,-1 14 15,1-14-15,0 1 0,0-1 16,-1 0-16,1-39 16,0 26-16,13 13 0,-13 1 0,13-1 15,0-13-15,0-26 0,13 39 16,-13 0-16,13 1 0,0-28 15,14 41-15,-14-14 0,14 14 16,-1-14-16,1 0 0,12 14 16,-12-14-16,65-26 15,14 0-15,-53 40 0,13-14 0,-13 13 16,13 1-16,0-14 16,67-26-16,-67 40 0,79-41 15,-65 54-15,92-53 16,-106 40-16,13-1 0,1 1 15,-1-1-15,14 1 0,65-14 16,-78 14-16,-1-1 0,67-12 16,-80 12-16,13 1 0,53-14 15,54-13 1,-133 40-16,26-14 0,-26 1 16,-13 13-16,79-14 15,-93 14-15,40-14 16,-13 14-16,-13 0 15,-14 13-15,1-13 0,-14 13 16,0-13-16,27 13 16,0-14-16,-27 14 15,13 0-15,-13-13 16,1 13-16,12 0 0,-13-13 0,1 13 16,12 0-16,14-13 15,-27 13-15,0 0 16,14 0-16,-14 0 15,0 0-15,0-14 16,1 14-16,-1 0 16,0-13-1</inkml:trace>
  <inkml:trace contextRef="#ctx0" brushRef="#br0" timeOffset="10026.93">14605 886 0,'172'27'16,"0"12"-1,-119 1 1,-27-27-16,-12 1 0,25 12 16,-39 1-16,13-1 15,-26 27-15,0-27 16,-13 1-16,12 13 0,-25-1 0,-28 27 16,-12 1-16,13-1 15,40-40 1,-14 1-16</inkml:trace>
  <inkml:trace contextRef="#ctx0" brushRef="#br0" timeOffset="12593.04">12687 3572 0,'26'13'0,"-13"0"16,14 14-16,-1 26 0,1-27 15,-1 1-15,54 39 16,-1 0-16,-26-26 15,-13-14-15,26 14 0,-13-14 16,0 14-16,13-14 0,66 41 16,-66-41-16,0 14 0,14-14 0,52 27 15,-53-27-15,-12-12 16,12 12-16,-13 1 0,13-1 16,-12-13-16,91 27 0,-92-14 15,14-12-15,-14-1 0,13 0 0,-12 0 16,224 40-1,-159-39-15,-66-14 0,0 13 16,-13-13-16,66 13 16,-66-13-16,0 0 0,66 0 15,-53 0-15,53 0 16,-66 0-16,0 0 0,0 0 16,13-13-16,40 13 0,-40 0 15,106-13-15,-119 13 16,0-14-16,13 14 0,40 0 15,13 0-15,-66 0 16,0 0-16,53 0 16,-53 0-16,52 0 15,-52 0-15,53 0 0,-53 0 16,0 0-16,66 0 0,-66 0 16,0 0-16,53 0 15,39 0-15,-39 14 16,-53-14-16,0 0 0,13 0 15,40 13-15,0-13 16,-53 0-16,0 13 0,-1-13 16,67 0-16,-13 0 15,0 0-15,-53 0 16,53 0-16,-66 0 16,92 0-16,-92 0 15,13 0-15,-1 0 0,41 0 16,0-13-16,-1 0 15,-52 13-15,0-14 16,39 1-16,0 0 16,-39 0-16,26-1 15,0-12-15,-26 13 0,-14 13 16,1-14-16,39-12 0,-26 13 16,-14 0-16,1-1 0,-1 1 15,27-13-15,-40 12 16,40-25-16,13-27 15,-26 13-15,0-13 16,13 13-16,-27 13 16,27-13-16,13-40 15,-26 27 1,26-13-16,-40 39 16,1 0-16,39-39 15,-39 39-15,39-39 0,-13 13 16,-14 0-1,-12 26-15,-1 0 0,14-26 16,0 27-16,-1-28 16,14-38-16,-13 25 15,-14 14 1,14 0-16,-14 0 16,-12 39-16,-1 1 0,0-14 15,0 14-15,14-14 16,-14 14-16,27-27 15,-27 39-15,0-12 0,27-1 16,-27 14-16,14-26 16,12 12-1,-12 1-15,-14 12 0,0-12 16,14-1-16,-14 14 16,13 0-16,1-13 0,-14 12 15,0 1-15,0-13 0,1 12 0,-1 1 16,13-13-16,-26 13 15,27-14-15,-14 1 16,14-1-16,-27 14 16,13 13-16,-13-13 0,13-1 0,-13 1 15,13 0 1,-13 0 0,13 13-16,-13-13 0,14-1 31,-14 1 31,13 13 16,-40 13 1,14 1-79,-13-1 15,13-13-15,-1 13 0,1 0 0,-27 0 16,-26 14-1,53-14-15,-13 0 16,-1 1-16,14-14 0,-14 13 16,14-13-16,0 13 15,53-26 32,-14 0-47,-13-1 0,1 14 16,-1-13-16,26 0 15,1 13-15,-27-13 0,1 13 16,-1 0-16,13 0 0,-12-14 0,-1 14 16,26 0-16,-25 0 15,12 0-15,-13 0 0,14 14 16,-14-14 0,0 0-16,-13 13 0,14-13 15,-1 13-15,0 0 16,-13 1-16,13-14 0,-13 13 0,0 0 15,13 0 1,1 1-16,-1-1 16,13 0-16,1 0 15,-14 0-15</inkml:trace>
</inkml:ink>
</file>

<file path=ppt/ink/ink20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6:00:20.081"/>
    </inkml:context>
    <inkml:brush xml:id="br0">
      <inkml:brushProperty name="width" value="0.05292" units="cm"/>
      <inkml:brushProperty name="height" value="0.05292" units="cm"/>
      <inkml:brushProperty name="color" value="#0070C0"/>
    </inkml:brush>
  </inkml:definitions>
  <inkml:trace contextRef="#ctx0" brushRef="#br0">6773 2871 0,'53'0'93,"225"0"-77,-106 0 0,66 0-1,27 0-15,-54 0 0,14 0 16,-39 0-16,-28 0 15,-12 0-15,-80 0 16,-13 0 0,-27 0-16,-12 0 15,-1 0 95</inkml:trace>
  <inkml:trace contextRef="#ctx0" brushRef="#br0" timeOffset="3194.7">2368 5226 0,'0'13'16,"40"-13"-1,13 13-15,0-13 0,79 40 16,-26-40 0,13 0-16,251 0 15,-185 0 1,80 0-1,105 0-15,-12 0 0,501 0 16,-250 0 0,-106 0-1,39 0-15,-39 0 0,-40 0 16,-27 0-16,-78 0 16,290 0-1,-397 0-15,-66 0 16,1 0-16,-41 0 15,-26 13-15,-13 0 16,26-13-16,-66 0 16,-26 0-1,0 0-15,-27 0 16,0 27-16</inkml:trace>
  <inkml:trace contextRef="#ctx0" brushRef="#br0" timeOffset="4919.55">15610 5252 0,'14'0'125,"39"0"-109,79 0-16,40 0 15,39 0-15,173-66 16,132 0-16,79-27 16,-65 14-1,25 13-15,-39-40 0,-66 66 16,-66-26-16,-40 26 15,-106-13 1,-40 40-16,-79 0 0,-39 13 16,-54 0-16,-13 0 15,0 0 1</inkml:trace>
  <inkml:trace contextRef="#ctx0" brushRef="#br0" timeOffset="9799.54">14248 7276 0,'13'0'47,"159"53"-32,-79-40-15,52 0 16,186 1 0,-146-14-16,27 0 15,290 0 1,81 0 0,-1 0-1,-331 0 1,-66 0-16,146 0 15,-199 0-15,-79 0 16,-40 0-16</inkml:trace>
  <inkml:trace contextRef="#ctx0" brushRef="#br0" timeOffset="10887.75">2170 7355 0,'79'40'47,"14"-13"-32,39-1-15,66 0 0,-12 1 16,38-1-16,15 14 15,-68-27 1,41-13-16,-13 0 16,-67 0-16,0 0 15,-52 0-15,-41 0 16,-26 0-16</inkml:trace>
  <inkml:trace contextRef="#ctx0" brushRef="#br0" timeOffset="14040.57">8625 8268 0,'14'0'47,"12"0"-32,-13 0-15,40 0 16,66 0-16,14 0 16,-1 0-16,13 0 15,27 0-15,0 0 16,-13 0-16,26 0 16,-39 0-1,13 0-15,-27 0 0,-26 0 16,-53 0-1,-14 0-15</inkml:trace>
  <inkml:trace contextRef="#ctx0" brushRef="#br0" timeOffset="15145">10292 7461 0,'14'0'78,"-1"0"-62,26 0-16,14 0 16,53 0-16,0 0 15,26 0-15,67 0 16,-14 0 0,13 0-16,-26 0 0,-39 0 15,-27 0-15,-54 0 16,-12 0-1</inkml:trace>
  <inkml:trace contextRef="#ctx0" brushRef="#br0" timeOffset="21440.99">5808 10385 0,'53'0'110,"-14"0"-95,213 0 1,-1 0-16,318 0 15,-133 0 1,-78 0 0,-28 0-16,-12 0 0,-54 0 15,-78 0-15,12 0 16,-13 0 0,-145 0-1,-27 0 1</inkml:trace>
  <inkml:trace contextRef="#ctx0" brushRef="#br0" timeOffset="28058.82">14049 11139 0,'-26'0'15,"13"0"-15,-1 0 16,41 13 15,-14-13-31,27 0 16,-27 0-16,14 0 16,12 0-16,-12 0 15,-1 0-15,1 0 0,-1 0 0,1 0 0,-14 0 16,13 0-16,1 0 0,-14 0 15,0 0-15,0 0 0,1-13 16,-1 13-16,0 0 0,0 0 0,0-13 16</inkml:trace>
  <inkml:trace contextRef="#ctx0" brushRef="#br0" timeOffset="28303.75">14459 10993 0,'53'14'0,"-39"-14"16,12 26-16,14 14 16,-27-27-16,0 13 0,0-12 15,-13 12-15,14 1 0,-14 26 16,0-40-16,-14 40 0,14-27 15,-13 1-15,-13-1 0,26 1 16,-13-1-16,-1-13 0,1 0 16</inkml:trace>
  <inkml:trace contextRef="#ctx0" brushRef="#br0" timeOffset="32830.47">15372 11033 0,'-26'13'0,"13"14"15,13-14 1,-14 13-16,14-12 0,0-1 0,0 0 16,0 0-16,0 14 0,0 13 15,14-27 1,-14 13-16,13-26 0,0 13 0,-13 1 15,13-14-15,1 13 0,-1-13 16,13 0-16,-13 0 0,1-13 0,-1 13 16,0-14-16,14 1 0,-1-13 15,-13 13-15,-13-1 16,14 1-16,-14 0 0,13 0 0,-13-14 16,0 14-16,-13 0 0,13-1 15,-14-12-15,1 26 16,0-13-16,0 13 0,-1-13 0,1 13 15,0-14-15,0 14 0,-1 0 16,1 0-16,0 0 16,0 0-16</inkml:trace>
  <inkml:trace contextRef="#ctx0" brushRef="#br0" timeOffset="34306.57">15558 12237 0,'-14'-66'0,"1"53"16,13-14-16,-13 1 0,13-1 15,-27-26-15,14 27 0,-27-54 32,40 54-32,-13 13 0,13 0 0,-13-14 15,0 14-15,13 0 16,0-1-16,-13 14 0,13-13 0,0 0 15,0 0 1</inkml:trace>
  <inkml:trace contextRef="#ctx0" brushRef="#br0" timeOffset="34498.69">15465 11721 0,'13'13'16,"-26"1"0,13-1-16,-13 13 15,13 1-15,-14-14 0,1 27 16,-13-1-16,26-26 16,-13 14-16,-1-14 0,-12 40 15</inkml:trace>
  <inkml:trace contextRef="#ctx0" brushRef="#br0" timeOffset="34750.67">15372 11800 0,'66'0'15,"-52"0"-15,-1 0 0,0 14 16,0-14-16,14 0 0,-14 13 16,0-13-16,1 0 0,-1 13 0,0-13 15,0 0-15,0 0 0</inkml:trace>
  <inkml:trace contextRef="#ctx0" brushRef="#br0" timeOffset="37479.68">16259 12290 0,'13'0'15,"0"13"-15,-13 0 16,0 1-16,13-1 0,14 26 16,-27-25-1,13-1-15,0 0 0,-13 0 0,13-13 0,1 14 16,-1-1-16,0-13 16,14-13-16,-27-1 15,13 1-15,13-13 16,-26-1-16,14 1 0,-14 13 0,0-14 15,0 14-15,0-14 0,13 14 16,-13 0-16,0 0 0,0 0 0,0-1 16,0 1-16,0 0 15,0 0-15,13 13 16</inkml:trace>
  <inkml:trace contextRef="#ctx0" brushRef="#br0" timeOffset="37633.51">16656 12131 0,'39'53'16,"-39"-40"-1,0 14-15,13-14 0,-13 0 0,0 27 16,0-27-16,14 14 0,-14-14 16,0 0-16,0 0 0,0 0 15,0 1-15,0-1 0,0 0 0,0 0 16</inkml:trace>
  <inkml:trace contextRef="#ctx0" brushRef="#br0" timeOffset="37764.62">16669 12078 0,'-13'0'16,"-1"0"-16</inkml:trace>
  <inkml:trace contextRef="#ctx0" brushRef="#br0" timeOffset="38023.69">16814 12250 0,'14'27'15,"-28"-54"-15,28 67 0,-14-27 0,0 0 0,0 1 16,0-1-1,0 0-15,0 0 16,13-39 15,-13-14-15,0 27-16,0 0 16,13 13-16,-13-14 0,0 1 15,0 0-15,13 0 0,-13 0 16,13 13-16,-13-14 0</inkml:trace>
  <inkml:trace contextRef="#ctx0" brushRef="#br0" timeOffset="38259.66">16947 12224 0,'13'13'0,"0"0"15,0-13 1,14 0-1,-14 0-15,0 0 16,0 0-16,1 0 16,-1 13-16,-13 1 15,13-1-15,-13 0 0,0 0 16,-13 1 0,13-1-16,-13 13 0,13-13 15,-14-13-15</inkml:trace>
  <inkml:trace contextRef="#ctx0" brushRef="#br0" timeOffset="38396.35">17238 12343 0,'-40'0'16,"40"-13"-1</inkml:trace>
  <inkml:trace contextRef="#ctx0" brushRef="#br0" timeOffset="49597.82">11020 2368 0,'-13'-13'0,"-1"13"16,1 0 0,0 0-1,0-13-15,0 13 16,-1 0-1,67 0 32,-26 0-47,12 0 0,14-14 0,80-12 16,-54 26-16,172-53 16,-158 40-16,13-1 15,-14 1-15,1 0 0,0 0 0,-1 0 16,1-1-16,171-12 15,-118 13 1,-93 13-16,-14-14 0,1 14 0,13 0 16,-40 0-16,27-13 15,-27 13 1</inkml:trace>
  <inkml:trace contextRef="#ctx0" brushRef="#br0" timeOffset="49915.05">12554 1746 0,'252'27'0,"-173"12"16,-52-12-1,-1-14-15,1 14 0,-1-1 0,-13-13 0,1 14 16,-14-14-16,0 13 0,0-12 0,0 12 16,-27 14-16,14-14 15,-14 1-15,-12 12 0,-1-12 0,0-1 16,1 1-16,-1-1 0,13-13 0,1 14 15,0-27-15,-1 13 0,14-13 16</inkml:trace>
  <inkml:trace contextRef="#ctx0" brushRef="#br0" timeOffset="50546.67">13851 1548 0,'185'-40'15,"-145"27"-15,13-14 16,0 14-16,0-13 0,-14-1 0,14-12 16,-13 12-16,52-79 15,-65 80-15,-1-14 0,-12 0 16,-14 14-16,13-27 0,-26 27 16,13-1-16,0 14 0,-14 0 0,14-1 15,-13 14-15,0-13 0,13 0 16,-13 13-16,-1 0 0,1 13 15,0-13-15,0 13 0,-14 54 16,14-14-16,0-1 0,0 1 16,-1 14-16,1 52 0,13-53 15,0-13-15,-13 13 0,13-13 0,0 0 16,0-14-16,0 14 0,0-13 16,13 66-1,-13-80-15,0-13 0,0 14 0,0-14 0,0 0 16,0 1-16,0-1 0,0 0 15,13-13 1</inkml:trace>
  <inkml:trace contextRef="#ctx0" brushRef="#br0" timeOffset="51048.26">14592 1680 0,'-13'-13'16,"-1"26"-16,1 0 0,13 1 15,0-1-15,0 0 0,0 0 16,0 0-16,13 1 0,-13-1 15,14-13-15,-14 13 0,13-13 0,0 13 16,0-13-16,0 0 0,1 0 16,-1 0-16,0-13 0,0 13 0,14-13 15,-14 0-15,0-1 0,1 1 0,-1 0 16,0 0-16,0 0 0,0 13 16,-13-14-16,14 1 0,-1 13 0,0 0 15,0 13 1,1 1-16,-1 12 15,0 0-15,0 1 0,14 52 16,-1-52-16,-13 52 0,1-52 16,-1-1-16,-13 1 0,0-1 15,0-13-15,-13 14 0,13-1 0,-14-13 16,1 1-16,0 12 0,-14-13 16,1 0-16,13-13 0,-14 14 15,14-14-15,0-14 0,0 14 16,-1 0-16,14-13 15,-13 0-15,13 0 0,0 0 16,0-1-16,13 1 0</inkml:trace>
  <inkml:trace contextRef="#ctx0" brushRef="#br0" timeOffset="51654.04">15068 1495 0,'13'-27'15,"-13"54"1,0-14-16,0 0 0,0 14 16,0-1-16,0 1 0,0 12 15,0 1-15,-13 13 0,13-13 16,0-1-16,0 1 0,0 13 16,0-27-16,0 1 0,0-1 0,0 1 15,-13 13-15,13-27 16,0 0-16,0 0 0,0 0 15,0 1-15,-13-41 32,13 14-32,0-13 15,13-14-15,0 0 0,-13 14 0,26-40 32,1 26-32,-14 27 0,-13-1 15,13 14-15,1-13 0,-1 13 0,13 13 31,-12 1-31,-14-1 0,13-13 0,-13 13 16,0 0-16,13 1 0,0-1 16,-13 0-16,13-13 0,1 0 15,-14 13-15,13-13 0,0 0 0,0 0 16,14-13-16,-14 0 16,-13 0-16,13-1 0,1-12 0,-1 13 15,-13-14-15,13 1 0,-13 12 16,0 1-16,0 0 0,0 0 15,-26 26 1,12 0 0,14 0-16,-13 1 0,13 12 15,0-13 1,0 1-16,0-1 0,0 0 16,13 0-16,1-13 0,-1 14 15,0-14-15,0 0 0,0-14 16,1 14-16,12 0 0,1-13 0,-14 13 15,13-13-15</inkml:trace>
  <inkml:trace contextRef="#ctx0" brushRef="#br0" timeOffset="52050.93">16021 1561 0,'-14'0'0,"41"-40"31,-14 27-31,0-13 0,0 12 0,27-38 16,-13 25-16,-14 1 15,0 12-15,0 1 0,0 0 0,1 0 16,-14-1-16,13 14 0,-13-13 0,13 13 16,-13 27-1,0-14-15,0 0 16,0 0-16,0 14 0,-13 26 16,13-27-16,0 27 15,0-26-15,0-1 0,0 1 16,0-1-16,0 14 0,0-14 15,13 1-15,-13-14 0,0 0 16,0 0-16,0 0 0</inkml:trace>
  <inkml:trace contextRef="#ctx0" brushRef="#br0" timeOffset="52256.68">16034 1812 0,'-13'0'16,"52"-26"0,-12 13-16,-1-1 15,-13 14-15,14-13 0,-1 13 0,1-13 16,12 0-16,-12 13 0,-1-13 16,40-1-16,-39 1 0,-1 13 15,14-13-15,-27 13 0</inkml:trace>
  <inkml:trace contextRef="#ctx0" brushRef="#br0" timeOffset="53191.86">17119 1773 0,'119'-53'0,"-106"40"16,40-27-16,-27 27 0,1-14 16,-1-12-16,-13-1 15,-13 27-15,14-14 0,-14 14 16,0 0-16,0-1 0,0 1 16,-14 0-1,1 26-15,0-13 0,0 13 16,-1 1-16,1-1 0,0 0 0,0 14 15,13-14-15,-13 0 16,13 27-16,13-14 0,-13-13 16,0 1-16,13-14 0,-13 13 15,13-13-15,0 13 0,1-13 16,12 0-16,-13-13 16,14 0-16,-1-1 15,1-12-15,-1 13 0,-13 0 16,1-1-16,-1 14 0,13-13 15,1 0-15,-14 26 0,0-13 16,0 13 0,-13 1-16,14 12 0,-14-13 15,0 0-15,0 14 0,0-14 0,0 40 16,-14-27 0,14-12-16,0-1 0,0-40 46,0 14-46,0-13 0,14 13 16,12-40-16,-13 26 16,1 1-16,-1 13 0,0-1 15,0-12-15,1 13 0,-1 13 0,0 0 16,13 0-16,-12 13 16,-14 0-16,13 0 15,-13 1-15,13 12 16,-13-13-16,0 0 0,13-13 15,-13 14-15,0-1 16,0 0-16,14-13 16,-1-13 15,-13 0-31,13-1 0,-13 1 16,13 0-16,1-13 0,-1 12 15,0-12-15,0 26 16,14-27-16,-27 14 15,13 13-15,0-13 16,0 13-16,14 0 16,-14 0-16,0 0 0</inkml:trace>
  <inkml:trace contextRef="#ctx0" brushRef="#br0" timeOffset="53653.79">18190 1482 0,'0'13'0,"0"13"16,0 1-16,0-14 15,0 0-15,0 1 16,0-1-16,13 13 16,1-26-16,-1 13 15,0-26 1,0 0-16,-13 0 16,13 0-16,-13-40 15,-13 39 1,13 1-16,0 0 0,0 0 15,0-1-15,0 1 16,27 26 15,-14 1-31,-13-1 16,13 0-16,0 0 0,1 14 16,-14-14-16,13-13 15,0 27-15,-13-14 16,13 0-16,-13 0 15,27-26 1,-14-13 0,40-27-1,-27 13-15,1 27 16,-14-1-16,0 1 0,1 0 16,-1 0-16,-26 39 31,-14 1-16</inkml:trace>
  <inkml:trace contextRef="#ctx0" brushRef="#br0" timeOffset="53915.85">17092 2064 0,'119'-13'16,"-66"-1"-16,0 1 0,13 13 15,159-40-15,-79 14 16,78-1 0,-144 14-16,65-13 15,14 13-15,-106 13 16,-13 0-1</inkml:trace>
  <inkml:trace contextRef="#ctx0" brushRef="#br0" timeOffset="54170.77">16933 2170 0,'424'-40'16,"383"27"15,-741-1-15,79 14-16,-65 0 15,-54-13 1,1 13-16,-27-13 31,-14-13-31</inkml:trace>
</inkml:ink>
</file>

<file path=ppt/ink/ink20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6:01:26.187"/>
    </inkml:context>
    <inkml:brush xml:id="br0">
      <inkml:brushProperty name="width" value="0.05292" units="cm"/>
      <inkml:brushProperty name="height" value="0.05292" units="cm"/>
      <inkml:brushProperty name="color" value="#0070C0"/>
    </inkml:brush>
  </inkml:definitions>
  <inkml:trace contextRef="#ctx0" brushRef="#br0">6813 2924 0,'119'-14'0,"-53"14"0,14-13 15,-1 13-15,0-13 0,14 13 0,0-13 16,39 13-16,-13-13 0,13-1 0,1 14 16,-1-13-16,13 13 0,-12-13 15,12 13-15,-13-13 0,1 13 0,12-14 16,-12 14-16,-41 0 0,107 0 15,-107 0-15,1 0 0,-14 0 16,1 0-16,-14 0 0,-13 14 16,-14-14-16,1 0 0,-14 0 0,1 0 15,13 13-15,-27-13 16,0 0-16</inkml:trace>
  <inkml:trace contextRef="#ctx0" brushRef="#br0" timeOffset="453.13">7699 3043 0,'67'-14'16,"-15"14"-16,15-13 0,91 0 16,-65 13-16,26-13 0,13 0 15,1 13-15,-1 0 0,0-14 16,14 14-16,-40 0 0,-1 0 16,94 0-16,-93 0 0,-14 14 0,-12-14 15,12 0-15,-26 0 0,0 0 16,-13 0-16,0 0 0,-13 0 15,-14 0-15,1 13 0,-1-13 0,1 0 0,-14 0 16,0 0-16,1 0 0,-1 0 16,0 0-16,0 0 15,0 0-15,1 0 16,-1 0-16,0 0 16,0 0-1</inkml:trace>
  <inkml:trace contextRef="#ctx0" brushRef="#br0" timeOffset="2333.13">6959 4180 0,'39'14'0,"27"-28"16,67 14-16,-54 0 0,0 0 16,27 0-16,-13 0 0,13 0 15,0 0-15,-1 0 0,-12 0 0,13-13 16,0 13-16,-1 0 0,-12 0 16,0 0-16,-14 0 0,-13 0 0,0 0 15,-13 0-15,0 0 0,-13 0 16,-14 0-16,1 0 0,-1 0 0,-13 0 15,1 0-15,-1 0 0,0 0 16</inkml:trace>
  <inkml:trace contextRef="#ctx0" brushRef="#br0" timeOffset="3260.58">13507 4180 0,'40'0'32,"-14"0"-17,1 14-15,78-14 0,-25 0 0,-1 0 16,14 0-16,-14 0 0,14 0 16,13 0-16,-14 0 0,14 13 15,0-13-15,-14 0 0,120 13 16,-119-13-16,-1 13 0,1-13 0,-14 14 15,1-14-15,-1 13 16,-13-13-16,-13 0 0,0 13 0,0-13 0,-13 0 16,-1 13-16,1-13 0,-27 0 15,14 0-15,-14 0 16,0 0-16,-13 13 0,13-13 16</inkml:trace>
  <inkml:trace contextRef="#ctx0" brushRef="#br0" timeOffset="4041.19">19645 4180 0,'701'0'0,"-595"14"0,0-14 16,0 0-16,0 0 15,0 13-15,-1-13 0,81 13 16,-107-13-16,67 13 0,-80-13 0,-13 0 16,-14 0-16,1 14 15,13-14-15,-13 0 16,-14 0-16,-13 0 0,1 0 0,-1 0 16,0 0-1,-39 0 1</inkml:trace>
  <inkml:trace contextRef="#ctx0" brushRef="#br0" timeOffset="5214.43">1680 5133 0,'159'0'0,"-93"0"15,80 0 1,-54-13-16,1 13 0,13 0 0,26-14 16,0 14-16,0 0 0,133-13 15,145 0-15,-278 13 16,14 0-16,-14 0 15,133-13-15,-146 0 0,93 13 16,-107 0-16,-12 0 0,13-14 0,158 14 31,-184 0-31,-1-13 0,-13 13 0,-13 0 16,40 0-16,-67 0 0,14 0 16,-14 0-16,-12 0 0,12 0 15,-13 0-15,1 0 0,-1 0 0,13 0 16,-13 0-1,1 0-15,-1-13 16</inkml:trace>
  <inkml:trace contextRef="#ctx0" brushRef="#br0" timeOffset="6197.24">8255 5106 0,'317'-26'16,"-237"26"-16,12 0 0,1 0 0,13-13 15,0 13-15,26 13 0,14-13 16,131 0-16,-25 13 0,-120 0 15,93 1-15,-119-14 16,0 13-16,79 0 16,0 0-16,-106-13 0,80 14 15,-53-1 1,-13-13-16,-67 0 16,0 13-16,1-13 0,-14 0 0,14 0 15,-1 0-15,-13 0 16,1 0-16</inkml:trace>
  <inkml:trace contextRef="#ctx0" brushRef="#br0" timeOffset="10266.2">15438 1680 0,'0'40'0,"0"-14"16,14-13-16,-14 1 16,0-1-16,0 0 0,0 0 15</inkml:trace>
  <inkml:trace contextRef="#ctx0" brushRef="#br0" timeOffset="10961.23">15663 1416 0,'14'-14'16,"-14"54"0,0-14-16,0 14 15,13-13-15,-13-1 0,0 1 16,0-1-16,0 0 0,0 1 0,13-1 15,-13-12-15,0 12 0,0-13 16,13 14-16,-13-14 0,0 0 0,13-13 16,1 27-16,-1-14 15,0-13-15,0 0 16,1 0-16,-1 0 16,0 0-16,0-13 0,1-1 31,-14 1-31,0 0 47,-14 26-16,14 0-15,14 1-16,-1-1 15,0 0 1,0-13-16,14-13 15,-14 13 1,0 0-16,-13-13 0,13 13 16</inkml:trace>
  <inkml:trace contextRef="#ctx0" brushRef="#br0" timeOffset="11116.93">15637 1640 0,'26'0'0,"-12"0"15,-1 0-15,13 0 16,1 0-16,-1 0 0</inkml:trace>
  <inkml:trace contextRef="#ctx0" brushRef="#br0" timeOffset="11409.25">16073 1707 0,'0'13'0,"0"0"16,14 0 0,-14 0-16,13-13 31,0 0-16,0 0-15,1-13 16,-1 13 0,0 0-1,0 0-15,0 0 0,1 13 16,-1-13 0,0-13-16,0 13 0,1 0 15,-1 0-15,0 0 0,0 0 16,-13-13-16</inkml:trace>
  <inkml:trace contextRef="#ctx0" brushRef="#br0" timeOffset="11738.75">16536 1588 0,'-13'-14'0,"13"1"32,13 0-17,-13 0-15,14-1 32,-14 28-17,0-1-15,13 0 16,-13 14-16,0-14 15,13 26 1,-13-25-16,13-14 0,-13 13 16,0 0-16,14 0 0,-1-13 15,-13 14-15,13-14 0,-13 13 16</inkml:trace>
  <inkml:trace contextRef="#ctx0" brushRef="#br0" timeOffset="11904.5">16510 1812 0,'26'-13'16,"-12"13"0,-1-13-16,13 0 15,-12-1-15,-1 14 0,0-13 16,0 13-16</inkml:trace>
  <inkml:trace contextRef="#ctx0" brushRef="#br0" timeOffset="12303.74">15438 1561 0,'0'-13'0</inkml:trace>
  <inkml:trace contextRef="#ctx0" brushRef="#br0" timeOffset="12966.22">17026 1667 0,'66'-13'16,"-53"13"-16,1 0 0,-1 0 16,0 0-16,0 0 0,0 0 0,14 0 15</inkml:trace>
  <inkml:trace contextRef="#ctx0" brushRef="#br0" timeOffset="13316.94">17277 1561 0,'40'13'0,"-27"1"0,-13-1 16,13-13-16,-13 13 0,14 0 15,-14 0-15,0 1 16,-14-1-16,14 0 0,0 0 15,-13 1-15,13-1 0,-13-13 16,13 13-16,-13 0 0</inkml:trace>
  <inkml:trace contextRef="#ctx0" brushRef="#br0" timeOffset="14026.14">18521 1323 0,'0'40'0,"0"-27"15,0 27-15,13-27 0,-26 40 16,13-27-16,0 14 16,0 0-16,0-14 15,13 0-15,-13-12 16</inkml:trace>
  <inkml:trace contextRef="#ctx0" brushRef="#br0" timeOffset="14364.74">18561 1402 0,'13'-39'0,"13"25"16,-13 1-16,1 13 15,12 0 1,-26 13-16,13 1 0,-13-1 0,0 0 15,0 0 1,-13 1-16,0 12 0,13 0 16,-13-12-16,-1-1 0,14 0 0,-26 14 15,13-14 1,0 0-16</inkml:trace>
  <inkml:trace contextRef="#ctx0" brushRef="#br0" timeOffset="14744.16">18772 1482 0,'-26'13'0,"12"-13"0,14 13 0,-13-13 15,13 13-15,-13 1 0,0-1 16,13 0-16,0 0 0,0 1 16,0-1-1,13-13-15,0 0 16,0 0 0,1-13-1,-1 13-15,0 0 16,-13-14-16,13 14 15,1 14 17,-14-1-17,0 0 1,0 0-16,13-13 0</inkml:trace>
  <inkml:trace contextRef="#ctx0" brushRef="#br0" timeOffset="15053.19">19050 1468 0,'-26'-13'15,"26"26"1,0 1-16,0-1 15,0 13 1,0-12-16,13-1 0,-13 0 16,13 0-16,-13 1 15,0 12-15,0-13 16,-13 0-16,0 1 16,13-1-16,-27 0 0,14-13 15,0 13-15,-1-13 16,1 0-16,0 14 15</inkml:trace>
  <inkml:trace contextRef="#ctx0" brushRef="#br0" timeOffset="15349.4">19143 1548 0,'-14'13'15,"14"27"1,14-27-16,-14 0 0,0 0 16,0 1-16,0-1 0,13 0 15,-13 0-15,0 14 16,-13-27-16,13 13 0,0 0 15,-14-13-15,14 13 0,-13-13 16,0 14-16,0-1 0,-1-13 16,1 0-1</inkml:trace>
  <inkml:trace contextRef="#ctx0" brushRef="#br0" timeOffset="26653.18">3466 7316 0,'66'13'15,"-13"-26"1,159-1-1,-133 1-15,14 0 0,92 0 16,13 0-16,-92-1 16,-13 14-16,39-13 0,-39 0 0,39 13 15,-39-13-15,118-1 16,-105 14-16,13-13 0,13 13 0,-12 0 16,-1-13-16,13 13 0,0 0 15,0-13-15,1 13 0,-27 0 0</inkml:trace>
  <inkml:trace contextRef="#ctx0" brushRef="#br0" timeOffset="26976.41">10345 7025 0,'357'0'0,"-277"-14"16,118 14-16,-833 14 0,1350-28 15,-610 28-15,67-14 0</inkml:trace>
  <inkml:trace contextRef="#ctx0" brushRef="#br0" timeOffset="28164.37">3916 8533 0,'92'0'0,"-39"-13"16,172 13-16,-132-14 0,-14 14 16,106 0-16,-92 0 0,0-13 15,12 13-15,-12 0 0,0 0 0,-1 0 16,94 0-16,-107 0 16,0 0-16,14 0 0,-14 13 15,67-13-15,-67 0 0,-26 0 16,0 0-16,92 0 0</inkml:trace>
  <inkml:trace contextRef="#ctx0" brushRef="#br0" timeOffset="30069.29">1124 9300 0,'14'13'0,"-1"-13"0,13 0 15,14 0-15,0 0 0,13-13 16,26 13-16,0 0 0,1-13 15,-1 13-15,14-13 0,-1 13 0,1-14 0,0 1 16,-1 13-16,14-13 0</inkml:trace>
  <inkml:trace contextRef="#ctx0" brushRef="#br0" timeOffset="31022.41">23508 8295 0,'185'13'0,"-132"-13"0,13 13 16,1-13-16,12 13 0,-13-13 0,-13 0 15,79 14-15,-79-14 0</inkml:trace>
  <inkml:trace contextRef="#ctx0" brushRef="#br0" timeOffset="34528.28">6892 9366 0,'186'0'0,"-133"0"0,66 0 15,26 0-15,-52 13 16,-14-13-16,14 0 0,-1 14 16,1-14-16,0 13 0,12-13 15,1 13-15,119-13 0,-119 13 16,0-13-16,0 0 0,39-13 0,-13 13 16,-26 0-16,93-26 15,12 12-15,-105 1 16,-13 13-16,65-26 0,-78 13 0,-14-1 15,0 1-15,0 0 16,-13-14-16,-13 14 0,0 0 0,-1 0 0,1 0 16,26-40-16,-26 39 15,-14-12-15,1-1 0,26-25 16,-27 25-16,1 14 0,12-27 16,-26 27-16,1-14 0,-14 14 15,26-40 1,-26 40-16,0 0 0,0 0 15,-13-1-15,13-12 0,-13 13 16,13-1-16,-14 1 0,1 0 0,13 0 16,-13-14-16,0 14 0,0-13 0,-1 12 15,1-25-15,0 25 0,-14-12 16,14 13-16,-13-14 16,-14-12-16,14 12 0,-1 14 15,1 0-15,-1-14 0,-12 14 0,12 0 16,-13 0-16,-39-14 15,39 14-15,-13 0 0,14-1 16,-14 14-16,0-13 0,-27 0 0,41 0 16,-14 0-16,13 13 0,1 0 15,-1-14-15,-13 14 0,-26 0 16,26-13-16,13 13 0,-13 0 0,0 0 16,13 0-16,1 0 15,-1 0-15,0 0 0,-13 0 0,1 0 16,12 0-16,-66 0 0,0 13 15,53-13-15,0 0 16,0 0-16,0 0 0,1 14 0,-1-14 16,13 0-16,-13 0 0,0 13 0,13-13 15,-12 0-15,-1 13 16,-53 0-16,66-13 0,-13 13 0,0-13 16,14 14-16,-14-1 0,13 0 15,0 0-15,-39 27 0,26-27 16,-40 40-16,1 13 15,12 0-15,41-39 16,-1 13-16,-13 26 16,27-40-16,12 14 0,-25 26 15,39-26-15,-13-14 0,13 1 16,0-1-16,39 67 16,27-27-16,-13-40 0,53 14 15,-40-13-15,0-14 16</inkml:trace>
  <inkml:trace contextRef="#ctx0" brushRef="#br0" timeOffset="34982.47">13322 9512 0,'145'13'15,"-105"-13"1,-27 0-16,14 0 0,-14 0 16,13 0-16,14 0 0,-14-13 15,1 13-15,-1-13 16</inkml:trace>
  <inkml:trace contextRef="#ctx0" brushRef="#br0" timeOffset="35192.19">13772 9340 0,'13'13'0,"53"13"16,-53-12-16,0-1 0,14 13 16,-14-12-16,14 39 15,-14-40-15,-13 0 0,0 0 16,0 0-16,0 14 0,-13-14 15,-1 27-15,1-27 16,13 0-16</inkml:trace>
  <inkml:trace contextRef="#ctx0" brushRef="#br0" timeOffset="35669.12">15068 9327 0,'-26'26'0,"26"-13"0,0 0 15,13 1-15,-13-1 0,0 0 16,13 0-16,0 1 16,-13-1-16,13-13 0,1 13 0,-1-13 15,0 13-15,27-13 16,-27 0-16,0 0 0,1 0 0,-1-13 15,0 13-15,0-13 0,14 0 16,-14 13-16,0 0 16,0 0-1,1 13 1,-14 0 0,0 0-16,13 1 0,-13-1 15,0 0 1,13 0-16</inkml:trace>
  <inkml:trace contextRef="#ctx0" brushRef="#br0" timeOffset="35812.42">15452 9366 0,'-14'-13'16</inkml:trace>
  <inkml:trace contextRef="#ctx0" brushRef="#br0" timeOffset="35985.44">15637 9499 0,'13'13'0,"-13"0"31,13 0-31,14-26 31,39-13-15</inkml:trace>
  <inkml:trace contextRef="#ctx0" brushRef="#br0" timeOffset="59554.13">14354 11179 0,'13'238'0,"-13"-172"15,0 13-15,0-13 0,13 93 16,-13-93-16,0 14 0,0-14 16,0 0-16,0 0 0,0-13 0,0 0 15,0-13-15,0 13 0,0-14 16,13 1-16,-13 13 0,0-13 15,0-27-15</inkml:trace>
  <inkml:trace contextRef="#ctx0" brushRef="#br0" timeOffset="60442.24">14407 11298 0,'172'-27'0,"-14"27"16,-92-13-1,14 13-15,-14 0 0,13-13 0,1 13 0,-1-13 16,0 13-16,1 0 0,-1-14 16,14 14-16,-14-13 0,14 13 15,158-13-15,-171 13 16,-1 0-16,0 0 0,-13 0 16,1 0-16,-15 0 0,1 0 0,0 13 15,80-13-15,-107 13 16,-13-13-16,14 14 0,-14-14 15,0 13-15,0-13 0,1 13 0,-1-13 16,-13 13-16,13 0 0,-13 1 0,0-1 16,0 13-16,0-12 0,0 25 15,0-12-15,-13 26 0,13-14 0,0 41 16,-13-27-16,13 39 16,0-52-16,0 13 0,0-13 15,0 12-15,0-12 0,0 0 16,0 0-16,13 12 0,-13-12 0,0 0 15,13-14-15,-13 14 0,0-14 16,0 1-16,0-14 0,0 14 0,0-14 16,0 13-16,0-13 0,0 1 0,0 12 15,0-13-15,0 1 16,-13-1-16,13 0 0,-13 0 16,-14 1-16,14-14 0,-27 13 15,1-13-15,12 13 0,-65-13 16,25 0-16,1 13 15,-13-13-15,-14 0 0,14 13 0,-27-13 16,13 14-16,-39-1 0,13-13 16,-13 13-16,-120 14 0,120-14 15,13 0-15,-13 0 0,39 1 0,-105-1 16,105 0-16,-26 0 16,13 0-16,14-13 0,12 14 0,-12-14 15,12 13-15,-65-13 0,39 13 16,66-13-16,1-13 15,25 13-15,1 0 0,0-13 16,13-1-16</inkml:trace>
  <inkml:trace contextRef="#ctx0" brushRef="#br0" timeOffset="65518.03">17066 9075 0,'145'-26'0,"-132"26"16,1 13-16,-1 0 0,-13 0 0,13 14 15,0 52-15,-13-39 0,-13 26 16,0 13-16,0 1 0,-1 12 15,1 14-15,-13 0 0,-1 66 16,14-13-16,13-80 0,0-13 16,13 1-16,-13-1 0,27-13 15,-14 0-15,13-1 0,-12-25 0,-1 13 16,13-14-16,1 0 0,-14-12 16,0-1-16,14 0 0,-14-13 15,0 0-15,0-13 0,1 0 16,12-14-16,-13 14 0,14-13 15,-14 12-15,0 1 16,0 13 0,1 13-16,-1 14 0,0-1 0,0 27 15,1 13-15,-1 0 0,0 1 0,0 12 16,0 0-16,1 27 0,-1 0 16,0 0-16,0 66 15,1-93-15,-14 14 0,0-14 0,0 1 0,-14-1 16,14 0-16,-13 1 0,0-14 15,-14 13-15,14-13 0,-13 0 0,-1-13 16,1 0-16,-27 53 0,26-66 16,-25 13-16,25-27 15,1-13-15,-1-13 0,-12 0 16,12-13-16,-13-13 0,14-14 16,-1-13-16,1-13 0,0 0 0,12-14 15,1-39-15</inkml:trace>
  <inkml:trace contextRef="#ctx0" brushRef="#br0" timeOffset="65943.75">18415 9856 0,'13'53'16,"0"-27"-16,-39-105 15,52 185-15,-26-80 0,0-13 16,14 0-16,-14 14 0,0-14 15,0 0-15,0 1 0,0-1 0,0 0 0,0 0 16,13 1-16</inkml:trace>
  <inkml:trace contextRef="#ctx0" brushRef="#br0" timeOffset="66119.5">18415 9657 0,'-13'0'0</inkml:trace>
  <inkml:trace contextRef="#ctx0" brushRef="#br0" timeOffset="66499.56">18600 9750 0,'27'53'15,"-27"-27"-15,0-13 16,0 1-16,0-1 0,0 13 16,0-12-1,0-1-15,13-26 32,-13-1-32,0 1 0,26 0 31,-26 0-31,14 13 0,-1 0 15,0 13 1,0 0 0,0 0-16,1 1 0,-14-1 0,0 0 15,13 0-15,-13 1 16,13-14-16,-13 13 16</inkml:trace>
  <inkml:trace contextRef="#ctx0" brushRef="#br0" timeOffset="67273.5">18997 9644 0,'-53'66'16,"53"-53"-16,-13 54 15,13-54-15,0 0 0,0 0 16,0 0-16,13-13 0,0 14 0,14-14 15,-14 0 1,-13-14-16,13 14 0,1 0 16,-1-13-16,0 13 0,0-13 0,-13 0 15,13 13-15,1-13 0,-1-1 16,0 28 0,-13-1-1,0 0-15,13 0 16,-13 0-16,14 1 0,-1-1 15,0 0 1,0-13-16,1 0 0,-1 0 0,0 0 16,0 0-1,-13-13-15,13 0 0,-13-1 16,0 1-16,0 0 16,0 0-16,0 0 0,-13-1 15,13 1-15,0 0 16,-13 0-16,26 39 47,0-13-47,-13 1 15,14-14-15,-14 13 0,0 0 16,13 0-16,-13 0 0,13 1 0,0-1 16,-13 0-1,14-26 16,-1 0-15,-13-1 0,0 1-16,13 0 0,-13 0 15,13 13-15,-13-13 16,14-1 0</inkml:trace>
  <inkml:trace contextRef="#ctx0" brushRef="#br0" timeOffset="67502.14">19434 9776 0,'0'27'0,"0"-54"0,0 67 0,0-27 16,0 0-16,13 1 15,-13-1 1,0 0-16,26-26 31,-26 0-31,14-1 16,-1 1-16,-13 0 15,26 0 1,-26 0-16,13 13 0,1-14 16</inkml:trace>
  <inkml:trace contextRef="#ctx0" brushRef="#br0" timeOffset="68498.5">19645 9882 0,'53'-53'0,"-40"40"0,1 0 16,-1-14-16,13 14 15,-26-13-15,14 12 16,-28 1 0,-12 26-1,13 1 1,-1 12-16,14-13 15,-13 1-15,13-1 16,13 0-16,1 0 16,-1-13-16,0 0 0,40 0 31,-40 0-31,14-13 0,-1 0 0,-13 13 16,40-40-16,-26 14 0,-1 12 15,-13-12-15,14 0 0,-14-1 16,0-13-16,14-13 15,-27 40-15,13 13 0,-13-13 16,0 0-16,13 0 16,-13 39-1,0-13-15,0 14 16,0-14-16,0 0 16,0 14-16,0-1 0,0-13 15,0 14-15,0-1 0,0-13 0,14-13 16,-14 14-1,13-14-15,0 0 0,0 0 16,-13-14-16,27 1 16,-27-13-16,13-1 15,0 1-15,0-14 0,-13 14 0,14-14 0,-14 14 16,13-1-16,-13 14 0,13-14 16,-13 14-16,0 0 0,0 0 15,0-1-15,0 54 16,-13-13-1,13-1-15,-13 1 16,13-1-16,-14 0 0,14 1 0,0-1 16,0 14-16,-13-13 0,26-14 15,-26 0-15,13 13 0,13-12 16,-13-1-16,14 0 16</inkml:trace>
  <inkml:trace contextRef="#ctx0" brushRef="#br0" timeOffset="68717.46">20135 9644 0,'39'-26'0,"-12"12"0,-14 14 16,27-13-16,-27 13 0,14-13 16,-1 0-16,-13 13 0,14-14 15,-1 14-15</inkml:trace>
  <inkml:trace contextRef="#ctx0" brushRef="#br0" timeOffset="69966.3">20915 9300 0,'-39'13'0,"25"1"0,-12 25 16,-1 27-16,1 1 15,13-15-15,13-25 16,0 13-16,0-27 15,0 13-15,39 14 16,-25-27-16,-1-13 0,0 0 16,0 0-16,1 0 0,25-13 15,-25 0-15,12 0 16,0-14-16,1 1 0,13-27 16,-27 13-16,0 14 0,0-14 15,14-13-15,-14 0 16,0 0-16,-13 27 15,0 12 1,0 1-16,-13 40 31,13-14-31,-13 27 0,13-14 16,-13 0-16,13 1 0,0-14 16,0 14-16,0 12 15,0-12-15,13-1 0,-13 1 0,0-14 16,13 0-16,-13 0 15,26 1-15,-12-1 0,-1-13 16,13 13 0,-12-13-16,-1 0 0,0 0 0,0 0 15</inkml:trace>
  <inkml:trace contextRef="#ctx0" brushRef="#br0" timeOffset="70493.45">21431 9472 0,'-39'-26'15,"25"26"1,1 0-16,13 13 16,-13-13-16,0 13 0,-1 0 15,1 1-15,13-1 0,-13 0 16,13 13-16,-13-26 16,26 14-16,0-1 15,0-13 1,1 0-16,-1-13 15,0 13-15,-13-14 0,13 14 16,-13-13-16,14 0 0,-14 0 16,13 13-16,-13-13 15,13 39 17,-13-13-17,0 0-15,13 1 16,0-14-1,-13 13-15,14-13 0,-1 0 16,0-13 0,0 13-16,1-14 15,-1 1-15,0 13 0,0 0 16,1 0-16,-1 0 16,0 0-16,0 13 15,-13 1 1,0-1-16,-13 13 15,-146-158-15,305 278 16,-159-146-16,13 13 16,-14 0-16,1-13 15,0 0-15</inkml:trace>
  <inkml:trace contextRef="#ctx0" brushRef="#br0" timeOffset="70706.3">21669 9472 0,'14'-13'16,"25"39"15,-39 1-15,0-14-16,0 13 15,0 14 1,-13-27-16,13 1 0,-13-1 15,13 0 1,-13 0-16,-1 1 16</inkml:trace>
  <inkml:trace contextRef="#ctx0" brushRef="#br0" timeOffset="71033.49">21802 9472 0,'0'-13'16,"0"39"-16,-14 1 31,14-1-31,14-92 0,-28 145 16,14-65-16,-13-1 15,13 0 1,0 0-16</inkml:trace>
  <inkml:trace contextRef="#ctx0" brushRef="#br0" timeOffset="71565.52">22013 9208 0,'0'-14'0,"14"41"16,-14-14-1,0 0-15,0 14 0,0-14 16,0 13-16,0 27 0,0-26 16,0-1-16,0 1 0,0-1 15,-14 27-15,1 0 16,-13-13-16,26-27 0,-27 13 16,14-12-1,13-1-15,-13-13 0,26-13 31,-13-1-31,13 1 16,0 0-16,-13 0 0,14 13 16,-1-14-16,0 14 15,0 0 1,1 0 0,-14 14-16,13-1 15,-13 0 1,13 0-16</inkml:trace>
  <inkml:trace contextRef="#ctx0" brushRef="#br0" timeOffset="71697.42">22106 9419 0</inkml:trace>
  <inkml:trace contextRef="#ctx0" brushRef="#br0" timeOffset="72025.28">22146 9432 0,'13'0'0,"-26"0"15,26 14 1,-13-1-16,0 0 16,0 14-16,0-14 15,0 0-15,0 13 16,13-12 0,0-14-16,-13 13 15,27-13-15,-1 0 16,-13 0-16,1-13 15,-1 13 1,0 0-16,-13 13 16,13-13-16,-13 13 15,14-13 1,-14 13 0,13-13-1</inkml:trace>
  <inkml:trace contextRef="#ctx0" brushRef="#br0" timeOffset="72471.53">22357 9578 0,'0'0'0,"-13"13"0,13 0 16,13-13-1,14 0 1,-14-13 0,0 13-16,0-13 15,1 0-15,-1-1 0,0 1 16,14-26-16,-1 12 0,0-26 15,-12 27-15,-1 12 0,0 1 16,-13 0-16,13 0 0,1-14 16,-14 14-16,0 40 47,0-14-47,0 0 0,0 0 15,0 0-15,0 14 16,0-14-16,13 0 15,-13 1-15,0-1 0,0 0 16,0 0-16,0 1 16,-13-14-16,13 13 15</inkml:trace>
  <inkml:trace contextRef="#ctx0" brushRef="#br0" timeOffset="72767.42">22463 9485 0,'13'0'16,"14"-13"-1,-1 0 1,-13 13-16,14 0 0,-14-13 0,0 13 16,27-14-16,-13 1 15,-14 13-15,0 0 0,0 0 16,0 0-1,1 0-15,-1 0 16,-13 13-16,13 1 16,-13-1-16,0 0 15,0 0 1,0 1 0</inkml:trace>
  <inkml:trace contextRef="#ctx0" brushRef="#br0" timeOffset="72881.92">22860 9393 0,'0'-14'16</inkml:trace>
  <inkml:trace contextRef="#ctx0" brushRef="#br0" timeOffset="75477.03">19341 11337 0,'-26'0'0,"52"-13"47,-13 13-47,1 0 15,12 0-15,0 0 0,1 0 16,-14 0-16,40 0 0,-13 0 15,26-13 1,-40 13-16,-12 0 0,-1 0 16,0 0-16,0-13 0,0 13 15,1 0-15</inkml:trace>
  <inkml:trace contextRef="#ctx0" brushRef="#br0" timeOffset="75742.14">19592 11165 0,'27'0'16,"-14"14"-1,14-1-15,-14 0 0,0 0 16,0 1-16,0 12 0,1-13 15,-14 0-15,13 1 0,-13 25 16,0-25-16,0-1 0,0 0 0,0 0 16,0 1-16,-13-1 0,13 0 15,0 0-15,0 0 0,0 1 16</inkml:trace>
  <inkml:trace contextRef="#ctx0" brushRef="#br0" timeOffset="76301.2">20545 11033 0,'-40'0'0,"27"0"0,0 0 16,-14 0-16,14 13 0,0-13 15,-14 14-15,14-1 16,13 0 0,0 13-16,13-26 0,1 14 15,12 12-15,-13-13 16,14 14-16,-14-14 0,27 0 15,-14 14-15,1-14 16,-27 0-16,13 0 16,-13 1-16,0-1 15,-13 0-15,-1-13 0,1 13 0,-13-13 16,12 0-16,-12 14 16,0-14-16,-14 0 0,27 0 15,-14 0-15,14 0 16,13-14-16,-13 14 15,13-13-15</inkml:trace>
  <inkml:trace contextRef="#ctx0" brushRef="#br0" timeOffset="76777.34">20743 10993 0,'14'0'15,"-1"14"1,-13 12-16,0 14 16,0-14-16,0 1 0,-13-1 15,13 27-15,0 40 16,0-67-16,0 27 16,0-26-16,0-1 0,13 14 15,-13-27-15,-13 13 16,13-12-16,0-1 0,0 0 0,-14-569 31,28 1086-15,-14-544-16,0-12 0,13-40 15,0-14-15,13 14 16,-12 40 0,-14-1-16,26-12 0,-13 12 15,14 14-15,-14 0 16,0 13-16,1 0 15,-14 13-15,0 0 16,0 0-16,-14 27 16,-12-13-1,13-14-15,-1 0 0,1-13 16,-13 26-16,-1-12 16,27-1-16,-13-13 15</inkml:trace>
  <inkml:trace contextRef="#ctx0" brushRef="#br0" timeOffset="77693.25">21193 11099 0,'0'-13'15,"-40"26"1,27-13 0,13 13-16,-13 1 0,-13 12 15,26-13-15,-14-13 16,14 14-16,-13-1 16,13 0-16,0 0 15,-13-13 1,39-13 15,-12 0-31,-14 0 16,13 13-16,-13-14 15,13 1-15,-13 0 16,13 0 0,-26 39 30,13-13-14,0 1-17,13-1-15,-13 0 16,13-13-16,1 0 31,25-13-15,-39 0-1,14 13-15,-1 0 16,-13-14-16,13 14 0,0-13 16,0 13-1,1 0 1,-1 0 0,0 0-1,-13 13-15,0 1 16,13-1-1,-13 0 1,14-13 31,-1 0-31,0-13 15,0 13-31,1 0 15,-14 13 1,13-13 0,13 13 15,-13-13-15,14 0 15,-14-13-31,0 13 15,1 0-15,-1 0 0,0 0 16,0 0-16,1 0 0</inkml:trace>
  <inkml:trace contextRef="#ctx0" brushRef="#br0" timeOffset="81702.67">20571 11562 0,'40'0'0,"-13"14"0,12-14 15,-145-14-15,278 41 16,-145-27-16,12 0 0,107 26 16,-106-26-16,13 0 0,-14 0 15,1 0-15,0 0 0,13 0 16,-14 0-16,14-13 0,0 13 0,0-13 16,53 0-16,-53-14 15,13 14-15,-13 0 0,-13-1 0,-1 1 16,1-13-16,0 12 0,-14 1 15,1 0-15,-1 0 0,-13 0 0,14-1 0,-14 1 16,0 0-16,0 0 16,-13-1-16,14 14 0,-1-26 0,-13 13 15,0-1-15,13 1 0,-13 0 0,0 0 16,0-27-16,-13 14 16,0-27-16,-14 26 0,1 1 15,-1-14-15,-12 0 0,-1 14 16,-53-40-16,40 26 0,0 14 15,0-1-15,-13 1 0,13 13 16,-13-14-16,0 14 0,0 0 0,0-1 0,0 1 16,-14 13-16,27-13 15,0 13-15,-66 0 0,40 13 16,13-13-16,0 13 0,0 1 0,-1-1 16,1 13-16,13-12 15,0 12-15,1 0 0,-1 1 0,-40 39 16,40-26-16,13-1 0,1 1 0,-1 0 15,0-1-15,14 1 0,-1 0 16,1-14-16,13 14 0,0-14 0,-1 14 16,1-13-16,13-1 0,0 1 15,13-14-15,-13 13 0,27 14 16,-14-14-16,13 1 0,1-1 0,-1-12 16,1 12-16,92 14 15,-79-40-15,12 0 0,-12 13 16,13-13-16,0 0 0,40-13 15,-54 13-15,1 0 0,26-14 16,-26 14-16,-14 0 0,1 0 16,-1 0-16</inkml:trace>
  <inkml:trace contextRef="#ctx0" brushRef="#br0" timeOffset="83388.59">20664 11628 0,'-93'0'0,"80"0"16,-13 0-16,-1 0 0,1 0 15,-1 0-15,-12 14 0,-14-14 0,13 13 16,-13-13-16,0 13 0,-13 0 0,0 1 16,0 12-16,0-13 15,-1 1-15,1 12 0,-13-13 0,13 14 16,-80 12-16,67-25 0,0-1 16,-1 13-16,1-13 0,-1 1 15,14 12-15,-13-13 0,13 1 0,0-1 16,-1 0-16,1 0 0,0 1 15,0-1-15,13 0 0,0 0 0,13 0 16,1-13-16,-1 14 0,0-1 0,1-13 16,12 0-16,14 13 0,-13-13 15,12 0-15,1 13 0,0-13 0,0 0 16,-1 0-16,1 0 16</inkml:trace>
  <inkml:trace contextRef="#ctx0" brushRef="#br0" timeOffset="83798">18494 11867 0,'-53'0'16,"27"0"-16,13 0 0,0 13 0,-14-13 15,14 13-15,-14 0 0,14 0 16,-27 14-16,27-14 16,-26 27-16,25-27 0,1 14 15,-13 12-15,26-26 0,-14 1 16,14 12-16,-13-13 0,13 1 15,0-1-15,0 0 0,0 14 0,13 12 16,1-12-16,-1-14 16,0 0-16,0 0 0,1 1 15,-1-14-15,0 13 0,0 0 0,14-13 16,-14 0-16,0 13 0,0-13 16,1 0-16,-1 0 0,0 0 15,0 0-15,1 0 16,-1 0-16,0 0 15</inkml:trace>
  <inkml:trace contextRef="#ctx0" brushRef="#br0" timeOffset="87930.1">20069 12263 0,'0'-13'16,"-14"40"-1,14-14-15,0 0 16,-13 27-16,13-14 16,-13 1-16,13-1 0,0 1 0,-13 26 15,13-14-15,0 1 16,13-27-16,-13 14 15,0-14-15,0 0 16</inkml:trace>
  <inkml:trace contextRef="#ctx0" brushRef="#br0" timeOffset="88492.35">20055 12250 0,'27'-39'0,"-14"39"15,27-14-15,-27 1 0,13 13 16,14-13-16,13 13 15,0-13 1,-27 13-16,-12 0 16,-1 0-16,0 0 0,0 0 15,1 0-15,-1 13 16,-13 0-16,13 0 0,-13 1 16,13-1-16,-13 0 15,27 53-15,-27-39 16,13-1-16,-13 0 0,26 41 15,-26-41-15,14 14 16,-14-14-16,0-13 0,13 14 16,-13-1-16,-13-12 15,13-1-15,-14 0 0,14 0 16,-13 1-16,-13-1 0,-14 0 16,27-13-16,-14 13 0,-12-13 15,-1 0 1,14 0-16,12 0 0,-12 0 0,13 0 15,-27 0-15,27 0 16,-14 0-16,14 0 0,0-13 16,0 13-1,26-13 1,0 0-16,0-1 16</inkml:trace>
  <inkml:trace contextRef="#ctx0" brushRef="#br0" timeOffset="89081.43">20823 12449 0,'39'0'0,"-25"0"16,-1 0-16,0 0 0,14-14 0,-14 14 15,13 0-15,1 0 0,-1 0 16,1 0-16,-1 0 0,27 0 15,-40 0-15,14 0 0,-14-13 0,13 13 16,14 0-16,-27-13 16,0 13-16</inkml:trace>
  <inkml:trace contextRef="#ctx0" brushRef="#br0" timeOffset="89336.76">21299 12277 0,'40'66'0,"-40"-53"15,0 0-15,13 0 0,-13 1 16,0-1-16,0 0 0,-13 14 15,-1 12-15,14-25 16,0-1-16,-26 0 0,26 0 16,0 0-16</inkml:trace>
  <inkml:trace contextRef="#ctx0" brushRef="#br0" timeOffset="89720.91">21802 12131 0,'13'0'16,"0"13"-16,-13 1 0,13-1 16,-13 13-16,0-12 15,0-1-15,0 13 16,-13 1-16,13-1 0,0-13 0,-13 14 15,13-14-15,0 0 16,-13 14-16,13-14 31,0 0-31</inkml:trace>
  <inkml:trace contextRef="#ctx0" brushRef="#br0" timeOffset="91565.88">21894 12158 0,'93'-14'16,"-80"14"-16,14 0 15,12 0-15,-12 0 0,-1-13 16,1 13-16,-1 0 0,1 0 0,-1-13 15,-13 13-15,14 0 0,-1 0 16,14 0-16,-27 0 0,0 0 16,1-13-16,-1 13 0,0 0 15,0 0-15,0 0 16,1 0-16,-1 13 16,0-13-16,0 13 15,1 0 1,-1-13-16,-13 14 0,13-14 0,0 13 0,0 0 15,-13 0-15,14-13 16,-1 14-16,0 12 0,0-13 16,1 0-16,-1 1 0,-13-1 15,0 0-15,13 0 0,-13 1 16,0-1-16,0 0 16,0 0-16,0 0 15,0 1-15,-13-14 0,13 13 0,-13 0 16,-14 0-16,1 1 15,12-1-15,-12-13 0,0 13 0,-1-13 16,-39 13-16,26 1 0,-26-14 16,40 13-16,-27-13 0,26 0 15,-12 0-15,12 0 16,-13 0-16,14 0 0,0 0 0,-1 0 16,14 0-16,-14 0 0,14 0 15,0 0-15,0 0 0,0 0 0,-1-13 16,1 13-16,0 0 0,13-14 31</inkml:trace>
  <inkml:trace contextRef="#ctx0" brushRef="#br0" timeOffset="92089.3">21908 12211 0,'13'0'15,"13"13"-15,14 13 32,-27-13-32,0 1 15,14-1-15,-27 0 0,13 0 16,0-13-16,0 14 0,1-14 0,-1 13 15,0-13-15,0 13 16,1-13-16,-1 0 0,0 13 16,0-13-16,1 0 0,-1 0 0,0-13 15,0 13-15,0 0 0,1-13 16,12 13-16,-26-13 0,27-1 16,-14 1-16,0 13 15,0-13-15,14 0 16,-14-1-16,0 14 0,-13-13 15,13 0-15,1 13 16,-1 0 0,0 0-16,-13-13 0,40 13 0</inkml:trace>
  <inkml:trace contextRef="#ctx0" brushRef="#br0" timeOffset="92517.32">22873 12197 0,'93'-13'15,"-80"13"-15,40 0 16,-27 0-16,14-13 0,-13 26 16,-1-13-16,1-13 0,-1 13 15,0 13-15,-12-13 16,12 0-16,-13-13 0,1 26 0,-1-13 0,0-13 16,0 13-16,0 0 0,1 0 0</inkml:trace>
  <inkml:trace contextRef="#ctx0" brushRef="#br0" timeOffset="92765.42">23429 12052 0,'53'39'15,"-27"-12"1,1 13 0,-27-14-16,0-13 15,0 1-15,-14-1 0,14 0 0,-13 0 16,13 0-16,-13 1 16,13-1-16,-13-13 15</inkml:trace>
  <inkml:trace contextRef="#ctx0" brushRef="#br0" timeOffset="93236.42">23971 11946 0,'-13'13'16,"26"14"-1,-13-14-15,0 0 0,13 0 0,-13 1 16,0-1-16,14 0 16,-14 0-16,0 0 0,13-13 0,-13 14 15,13-14-15,0 13 0,1-13 16,-1 0-16</inkml:trace>
  <inkml:trace contextRef="#ctx0" brushRef="#br0" timeOffset="93448.09">24302 11972 0,'0'-13'16,"-13"40"-16,26-41 0,-39 28 31,-1 12-15,1-13-16,12 1 0,-12 12 16,13 0-16,-14-12 0,1 12 0,13 1 15,-14-14-15,14 13 0,0-12 16,-1-1-16,1 0 0,0-13 15,13 13-15,-13-13 0,13 13 0</inkml:trace>
  <inkml:trace contextRef="#ctx0" brushRef="#br0" timeOffset="93723.47">24712 11827 0,'-26'40'0,"12"-27"16,-25 26-16,25-12 0,-12-1 0,-14 41 15,14-15-15,-1-25 16,14-1-16,0-12 0,0 12 15,13-13-15,-13 1 0,13-1 0,-14 0 16,14 0-16,0 0 16,-13-13-16,26 14 0,1-14 15,-1 0-15</inkml:trace>
  <inkml:trace contextRef="#ctx0" brushRef="#br0" timeOffset="94109.39">24712 12330 0,'13'-53'16,"1"26"-1,-1 14-15,-13 0 16,13 13-16,-13-13 0,13-1 16,0 14 15,1 14-15,-1-14-1,13 0 1,-26-14-1,14 14-15,-1-13 0,0-13 16,0 12-16,1-12 16,-14 13-16,13-14 0,-13 14 15,0 0-15,0 0 0,-13-27 16</inkml:trace>
  <inkml:trace contextRef="#ctx0" brushRef="#br0" timeOffset="94601.7">24117 11139 0,'-106'40'0,"93"-27"16,13 0-16,-14 14 16,14-14-16,0 0 0,0 0 15,0 0-15,14 27 0,-14-27 16,13 14-16,0-14 0,-13 14 0,13-14 16,-13 13-16,14-13 0,-14 1 15,0-1-15,13 13 16,-13-12-16,-13-1 0,13 0 0,0 0 15,-14 1-15,1-1 0,0 0 16,-14 0-16,14-13 0,0 0 16,0 13-16,0-13 15,-1-13-15</inkml:trace>
  <inkml:trace contextRef="#ctx0" brushRef="#br0" timeOffset="95025.28">24262 11337 0,'0'27'0,"-13"-14"0,13 0 0,-13-13 15,13 14-15,0-1 0,-13 0 0,13 0 16,-14-13-16,14 13 0,0 1 15,-13-14-15,13 13 16,13-40 15,-13 14-31,14-26 16,-1 25-16,-13 1 0,13-13 16,14-27-1,-14 39-15,0-12 0,0 13 16,0 0-1,1 13-15,-14 13 16,0 13 0,-27 1-1,27-14-15,-13-13 16,-13 26-16,-1-12 16,27-1-16,-13-13 15,13 13-15,-13-13 16</inkml:trace>
  <inkml:trace contextRef="#ctx0" brushRef="#br0" timeOffset="95512.8">24514 11298 0,'-40'26'16,"27"-26"-16,0 13 0,13 1 15,0-1-15,-14 0 16,28 0-1,-1-13 1,0 0 0,0 0-1,0 0 1,1 0-16,-1 0 16,0 0-16,0 0 15,1 0 1,12 0-1,-13 0-15,0 0 16,14 0-16,-14 0 16,0 0-16,1 0 0,-1 0 15,0 0-15,0 0 16,1-13-16,12 13 16,-13 0-16</inkml:trace>
  <inkml:trace contextRef="#ctx0" brushRef="#br0" timeOffset="96358.32">7805 10636 0,'-13'53'15,"13"-26"-15,0-14 16,-13 40-16,13-27 15,-13 27-15,13-26 0,-14-1 16,14 14-16,-13-14 0,13-13 16,0 14-16,0-14 0,0 0 0,-13 1 15,26-1 1</inkml:trace>
  <inkml:trace contextRef="#ctx0" brushRef="#br0" timeOffset="96697.04">7964 10782 0,'-13'0'16,"-14"26"-16,27-13 16,0 1-16,0-1 0,0 0 0,0 0 15,0 14-15,27-1 16,-27-12-16,13-1 0,13 0 15,1 0-15,-14-13 16,27 0-16,-27 0 0,-13-13 16,13 13-16,0-13 0,1 13 15,-14-13-15,0-1 0,0-12 16,0 13-16,-14-1 16,1 1-16,0 0 0,-13 0 0,12-1 15,1 1-15,0 13 16,0 0-16,-14 0 0,14 0 15,0 0-15,0 13 0,-1-13 16</inkml:trace>
  <inkml:trace contextRef="#ctx0" brushRef="#br0" timeOffset="97085.07">8281 10636 0,'14'0'0,"-14"13"16,13 14-16,-13-14 0,0 0 16,0 14-16,0-14 0,0 14 15,-13-14-15,13 40 0,0-27 16,-14 1-16,14-14 0,-13 0 16,13 0-16,-13 14 15,13-14-15,0 0 0,-13-13 16,26-13 15,-13 0-31,13 13 16,-13-13-16,13 13 0,-13-14 0,14 14 15,-1 0-15,0 0 16,0-13-16,1 13 16,-14 13-16,13-13 15,0 0-15,0 14 16,1-1-1,-14 0 1,0 0 0</inkml:trace>
  <inkml:trace contextRef="#ctx0" brushRef="#br0" timeOffset="97202.3">8559 10729 0,'0'-13'16</inkml:trace>
  <inkml:trace contextRef="#ctx0" brushRef="#br0" timeOffset="97352.49">8652 10808 0</inkml:trace>
  <inkml:trace contextRef="#ctx0" brushRef="#br0" timeOffset="97892.07">9406 11271 0,'-27'-13'0,"14"13"16,0 0-16,-13 13 0,12-13 15,1 0-15,-13 13 0,-1 1 16,-12-1-16,39 0 16,-14-13-16,14 13 0,14-13 31,-1 0-31,0 0 0,13 0 16,-12 0-16,-1 0 0,27-13 15,-27 13-15,0 13 0,0-13 16,14 0-16,-14 14 0,0 12 15,-13-13-15,0 1 0,13-1 16,-13 13-16,-13 40 16,13-52-16,0-1 15,13 27-15,-13-27 16,14 13 0,-1-26-16,0 0 0,0 13 15</inkml:trace>
  <inkml:trace contextRef="#ctx0" brushRef="#br0" timeOffset="98166.48">9842 11232 0,'-13'79'15,"13"-66"1,0 67 0,0-67-16,0 13 15,-13-13-15,13 27 0,0-27 16,0 1-1</inkml:trace>
  <inkml:trace contextRef="#ctx0" brushRef="#br0" timeOffset="98445.6">9723 11496 0,'27'-26'15,"-14"12"-15,0 14 0,1-13 16,12 13-16,0-13 0,1 13 16,-14-13-16,0 13 0,1 0 15,-1 0-15,13 0 16,-12 0-16,-1 0 16,0 13-16,-13 0 15,13 0-15,-13 1 16,-13-1-1,13 0-15,0 0 16</inkml:trace>
  <inkml:trace contextRef="#ctx0" brushRef="#br0" timeOffset="98600.2">10028 11337 0,'-14'-13'0</inkml:trace>
  <inkml:trace contextRef="#ctx0" brushRef="#br0" timeOffset="99328.37">10226 11430 0,'-13'13'31,"13"0"-16,0 1-15,-13-14 16,13 13-16,0 0 16,13-26 46,0 13-46,0 0-1,1 0 17,-1-13-17,0 13-15,0 0 0,1-14 16,-1 14-16,0 0 16,0-13-1,0 13 1,1 0-1,-1 0 17,0 0-1,0 13 0,-13 1 16,-13-14-31</inkml:trace>
  <inkml:trace contextRef="#ctx0" brushRef="#br0" timeOffset="99933.09">9366 11827 0,'93'13'0,"-14"-13"15,-26 0-15,27 0 0,52-13 16,-53 0-16,-13 13 0,133-40 15,-133 40-15,0-13 16,-13 0-16,53-14 16,-40 14-16,-26-14 0,-1 14 0,1 0 15,26-27-15,-26 27 16,-14-13-16,27-14 0,-26 13 16,26-52-1,-40 53-15,-13-14 0,13 13 0,-13 1 16,-13-1-16,13-12 0,-40-27 15,14 39-15,-1-13 16,-26 1-16,14 12 0,-14 1 0,-13-1 16,13 1-16,-13 0 0,-1-1 0,1 14 15,-13 0-15,-1-1 0,1 1 16,-66 0-16,65 26 0,14-13 16,-27 13-16,14 1 0,0-1 0,-1 13 15,-65 27-15,13 13 16,79-39-16,-14 12 15,-38 41-15,52-27 0,-27 26 16,54-39-16,-1 0 0,14-1 16,0 1-16,13-14 0,13 14 15,0-13-15,1 12 0,25 1 0,-12-14 16,79 27-16,-53-26 16,-1-14-16,68 13 0,-54-26 15,-13 0-15,-1 0 0,28-13 0,65-13 16,-65 13-16,-1-1 15,-13 1-15,0 0 0,14-14 16</inkml:trace>
  <inkml:trace contextRef="#ctx0" brushRef="#br0" timeOffset="100812.32">9551 12290 0,'0'26'16,"-13"1"-16,13-14 0,0 13 16,-13 1-16,13-14 0,0 14 0,-13-1 15,0 53-15,13-65 16,0-1-16,0 13 0,0-12 15,0-1-15,0 0 0,0 0 16</inkml:trace>
  <inkml:trace contextRef="#ctx0" brushRef="#br0" timeOffset="101045.38">9842 12277 0,'14'53'16,"-14"-40"-16,0 13 0,0-13 16,0 27-16,0-13 0,0-1 15,0-13-15,0 14 0,0-1 16,0-13-16,-14 14 0,14-14 0,0 0 15</inkml:trace>
  <inkml:trace contextRef="#ctx0" brushRef="#br0" timeOffset="101333.21">9750 12647 0,'-13'-13'0,"13"0"31,13-1-31,0 14 0,0 0 15,1-13-15,12 13 0,14-13 16,-14 0-16,-13-1 16,1 14-16,-1 0 0,0 0 0,0-13 15,1 13-15,-1 0 16,0 13-16,0-13 16,-13 14-16,13-14 0,-13 26 15,14-26-15,-14 13 0,0 1 0,0-1 16,13 0-1,-13 0-15,0 1 0,0-1 32</inkml:trace>
  <inkml:trace contextRef="#ctx0" brushRef="#br0" timeOffset="101461.13">10054 12409 0,'-13'0'0</inkml:trace>
  <inkml:trace contextRef="#ctx0" brushRef="#br0" timeOffset="102050.47">10213 12502 0,'0'26'0,"0"-13"15,0 0-15,13-13 16,-13 14-16,13-28 31,14-12-15,-27 13-1,13 13 1,0 0-16,14 0 31,-14 0-15,-13 13-16,13-13 15,0 0 1,1 0-16,-1 0 31,0 13-15,0-13-16,14-13 16,-14 13-1,-13-13-15,13 13 0,1-13 16,-1-1-1,0 14-15,0-13 0,0 13 16,-13 13 15,14 1 1,-1-14-17,0 0-15,0 0 16,1 0-16,-1-14 0,0 14 15,13-13-15</inkml:trace>
  <inkml:trace contextRef="#ctx0" brushRef="#br0" timeOffset="102974.05">10742 12158 0,'40'-27'0,"-27"27"16,0-13-16,0 13 0,1 0 15,-1-13-15,0 13 16,0 0-16,1 13 16,-1-13-16,-13 13 0,13-13 15,0 13-15,-13 1 0,14-1 16,-1 13-16,0 1 0,0-1 0,0 1 0,1-1 15,12 53 1,-13-52-16,1 13 0,-14-14 16,13 1-16,-13-1 0,0 0 0,0 1 15,0-1-15,0-12 0,0 39 16,0-40-16,0 13 0,0-13 16,-13 14-16,-14-1 15,14 1-15,0-14 16,-1-13-16,-25 13 15,26 1-15,-14-14 0,14 0 0,0 0 16,-1 0-16,1 0 0,0 0 16,0 0-16,-1-14 15</inkml:trace>
  <inkml:trace contextRef="#ctx0" brushRef="#br0" timeOffset="109966.41">11456 10478 0,'67'-27'16,"-54"14"-16,0 13 0,0-13 15,1 13-15,-1-14 0,0 14 0,0 0 16,0-13-16,1 13 16,-1 13-1,0 27 1,-13-13-16,0-1 0,0 14 15,0 79-15,0-66 16,0 13-16,27 238 16,-27-225-16,39 160 15,-25-160-15,-1-13 16,0 13-16,0-12 0,0-1 0,1 0 16,12-13-16,-13 13 0,14-13 15,-14 0-15,13 0 0,14 39 16,-13-52-16,-14 0 0,13-14 15,-12 14-15,-1-14 0,0 1 0,0-1 16,0-13-16,1 27 16,-14-27-16,13 14 0,-13-14 0,0 0 15,13 0-15,-13 1 0,0-1 16,-13 0-16,13 0 0,-13 14 0,-1-14 16,-52 66-16,40-52 15,-14-1-15,-13 1 0,0-1 0,0 1 16,1-14-16,-1 13 0,-14-12 15,15-1-15,-81 13 0,67-26 16,0 0-16,0 0 0,0 0 0,-14-13 16,1 0-16,0 0 15,-27-27-15</inkml:trace>
  <inkml:trace contextRef="#ctx0" brushRef="#br0" timeOffset="110834.5">8030 10107 0,'-264'40'0,"211"-27"0,-14 0 15,15 0-15,-15 14 0,14-14 16,-52 14-16,52-14 0,26 13 16,-12-12-16,-1-1 0,13 13 15,1-13-15,0 14 0,-1-1 0,14 1 16,0-1-16,-1 14 0,14 0 0,-13-1 16,0 14-16,13 13 0,-13 67 15,-1-54-15,14-13 16,-13 106-16,13-92 0,-13-1 15,13 14-15,-13-1 0,0 67 16,13-66-16,-14 65 0,1-78 16,0-1-16,0 0 0,-1 1 15,1-14-15,0 13 0,0-13 16,-1 1-16,1-1 0,-13 53 16,13-66-16,-1-14 0,1 1 0,13-13 15,-13 12-15,13-26 0,0 14 16,0-14-16,0 40 0,0-40 15,0 14-15,13-14 0,0 13 16,-13-12-16,14 12 0,-1-13 16,53 40-16,-40-40 0,27 14 0,13-1 15,-13-12-15,27-1 0,-14 13 16,13-12-16,1-1 0,25-13 0,-12 13 16,13-13-16,26 13 0,1-13 15,12 0-15,146 0 0,-145 13 16,-1-13-16,1 0 0,12 0 15,-12 0-15,145 0 0,-146 14 0,-12-14 16,-1 0-16,0 0 0,-26 13 16,0-13-16,0 0 0</inkml:trace>
  <inkml:trace contextRef="#ctx0" brushRef="#br0" timeOffset="112236.45">11933 11681 0,'26'0'15,"14"0"-15,-14 0 16,1 0-16,12 0 0,1 0 0,13 0 15,0-13-15,53 13 0,-53-13 16,0 13-16,0 0 0,-1-13 16,-12 13-16,26 0 0,-39 0 15,-1 0-15,-13 0 0,14 0 0,-14 0 16,0-14-16</inkml:trace>
  <inkml:trace contextRef="#ctx0" brushRef="#br0" timeOffset="112504.3">12634 11443 0,'40'27'0,"-14"-27"0,-92-27 0,145 67 15,-66-27-15,14 0 0,26 27 16,-13 0-16,-27-14 16,13 27-16,-26-26 0,0-1 15,0-13-15,0 14 0,-13 12 0,-13-12 16,12 13-16,-12-14 0,-1 0 16,-26 27-16</inkml:trace>
  <inkml:trace contextRef="#ctx0" brushRef="#br0" timeOffset="116329.14">7964 12607 0,'-119'-13'15,"92"13"-15,-25 0 0,-1 0 0,0 0 16,-27 0-16,1 0 0,0 0 16,-1 0-16,-12 0 0,12 0 0,-12 13 15,12-13-15,1 14 0,-1-14 0,-12 13 16,-67 0-16,80 0 15,-80 14-15,93-27 16,0 13-16,0 0 0,26-13 0,-13 0 16,26 13-16,1-13 0</inkml:trace>
  <inkml:trace contextRef="#ctx0" brushRef="#br0" timeOffset="116632.85">6588 12409 0,'-66'53'16,"40"-40"-16,-41 40 16,28-27-16,-1 1 0,-13 39 15,13-39-15,27-1 16,-13 0-16,-1 1 0,14-1 0,13-12 15,0 12-15,-13-13 0,26 1 0,-13-1 16,13 0-16,0 0 0,14 14 0,13-14 16,-1-13-16,1 13 0,0 0 15,13-13-15,0 0 0,52 0 16,-52 0-16,0 0 0,0 0 16,0-13-16,-27 13 0,14 0 0</inkml:trace>
  <inkml:trace contextRef="#ctx0" brushRef="#br0" timeOffset="119508.45">1508 10914 0,'13'40'15,"-13"-14"1,0 1-16,0 12 15,0-12-15,14 12 0,-14-12 16,0 13-16,0 13 16,0-40-1,0 0-15,0 0 0,0 0 16,0 1-16,0-1 16,13-13-16</inkml:trace>
  <inkml:trace contextRef="#ctx0" brushRef="#br0" timeOffset="120243.04">1495 10967 0,'106'-40'0,"-93"40"15,13 0-15,-12 14 16,-1-14-16,27 26 0,-27-13 0,0 14 16,-13-14-16,13 27 15,0-1-15,-13-12 16,-13 26-16,0 0 15,-13-14-15,-1 14 16,14-40-16,0 1 16,-1 12-16,1-26 0,13 13 15,-13-13-15</inkml:trace>
  <inkml:trace contextRef="#ctx0" brushRef="#br0" timeOffset="120821.85">2143 10861 0,'-13'0'0,"0"13"0,-14 54 15,14-54-15,13 40 0,0-40 16,0 0-16,13 14 16,0-1-16,1-13 15,25 0 1,-25-13-16,-1-13 0,0 13 16,0-13-16,0-13 15,1-1-15,-14 14 16,-14-27-16,14 27 15,-13-13-15,13 12 16,0 1-16,-13-13 16,26 26-1,14 0 1,-1 13 0,1 13-16,-14-12 15,0-1-15,0 0 0,14 13 16,-27-12-16,13-1 0,0 13 15,0-12-15,-13-1 16,14-13-16,-14 13 16,13-26 15,0-14-31,0 1 16,1-1-16,-14 14 0,13 0 15,0-13-15,-13 12 16,27-12-16,-27 13 15,13 13-15,0-14 16,0 1-16</inkml:trace>
  <inkml:trace contextRef="#ctx0" brushRef="#br0" timeOffset="121146.23">3043 10504 0,'-66'66'0,"39"-26"15,14-14-15,13 1 16,-13 26-16,-1-40 0,14 27 15,0-27-15,14 13 0,-14 1 16,13-14-16,0 0 16,0-13-16,1 0 15,-1 0-15,0 0 0,0 0 16,14 0-16,-14 0 16,27-13-16,-14 0 15,1-1-15,-14 14 0,0-13 16</inkml:trace>
  <inkml:trace contextRef="#ctx0" brushRef="#br0" timeOffset="122158.95">1945 11377 0,'238'-13'15,"-159"13"-15,-13-13 16,14-1-16,-14 14 0,93-26 16,-80 13-16,0-1 0,67-25 15,-67 12-15,1 14 0,52-40 16,-66 40-16,53-53 15,-66 39-15,0 1 0,-13-1 16,52-39-16,-26-13 16,1 13-16,-28-14 15,1 14-15,-14-13 16,-12 39-16,-14 1 16,13-1-16,-26 0 0,13 0 15,-27-26-15,-39-13 0,-13 26 16,12 27-16,15-1 15,-15 14-15,-91-14 16,-1 14-16,66 0 0,1 13 16,-14 13-16,13-13 0,-26 13 15,-132 27-15,26 13 16,0 26-16,119-26 0,-105 53 16,12 13-1,120-53-15,-1 0 0,1 1 0,-53 78 16,92-79-16,-39 106 15,52-119-15,27 53 16,13-53-16,27 53 16,-13-67-16,12 1 0,14 0 0,13-14 15,93 14-15,-80-27 16,14 0-16,0-13 0,12 0 16,134-26-16,-15-14 15,-65 1-15,-79 12 0,-1 1 16,-13-1-16</inkml:trace>
  <inkml:trace contextRef="#ctx0" brushRef="#br0" timeOffset="124053.39">1455 11628 0,'0'40'0,"0"0"15,0-14-15,13 27 16,-13 13-16,0-26 0,14-14 16,-14 1-16,0-1 0,13 54 15,-13-54-15,0 1 16,13-14-16,-13 0 0,0 0 15,0 1-15</inkml:trace>
  <inkml:trace contextRef="#ctx0" brushRef="#br0" timeOffset="124443.56">1495 11642 0,'-66'53'16,"53"-27"-16,-14 1 0,14 12 16,-27 14-16,27-26 0,-14 12 15,14 1 1,0-27-16,0 0 0,0 1 15,-1-14-15,14 13 0,-13-13 32,40-13 15,12 13-32,1-14-15,-14 14 16,14-13-16,0 13 0,-1-13 0,28-14 15,-14 14-15,79-26 0,27-14 16</inkml:trace>
  <inkml:trace contextRef="#ctx0" brushRef="#br0" timeOffset="124734.06">3717 11086 0,'-13'53'0,"13"-40"0,13 27 15,-13-14-15,0 1 16,0-1-16,14 14 0,-14 13 16,0-27-16,0-12 0,0 12 15,0-13-15,0 14 0,0-14 16</inkml:trace>
  <inkml:trace contextRef="#ctx0" brushRef="#br0" timeOffset="125156.36">3731 11099 0,'-14'-13'31,"28"26"-31,-54 0 15,13 14-15,14-14 16,0 0-16,0 1 0,-27 52 16,27-53-16,-14 27 15,14-27-15,0 13 16,0-12-16,13-41 31,13 14-15,-13 0-16,13-1 0,0 1 0,-13 0 15,40-13 1,-27 12-16,1 14 0,-1-13 16,0 13-16,0 0 0,0 0 15,1 0-15,-1 0 0,0 0 0,0 0 16,14 0-16,-1 13 16,1-13-16,-14 0 0,13 0 15,1 0-15,-1 0 16</inkml:trace>
  <inkml:trace contextRef="#ctx0" brushRef="#br0" timeOffset="127433.03">2725 12369 0,'0'146'0,"13"-120"0,1 80 15,-1-79-15,-13-14 0,13 0 16,-13 27-16,13-27 0,-13 0 15,14 0-15</inkml:trace>
  <inkml:trace contextRef="#ctx0" brushRef="#br0" timeOffset="127957.53">2778 12356 0,'119'-79'0,"-92"65"0,-1-12 15,40 0-15,-39 12 16,-1 1-16,1 0 0,12 0 16,-25 13-16,-1-14 0,0 14 0,0 0 15,0 0-15,1 0 16,12 0-16,-13 0 16,1 14-16,-1-14 0,0 13 0,0 0 0,1 14 15,12-14-15,0 13 16,-12 1-16,-1-14 0,0 13 0,0-12 15,1 12-15,-1-13 0,0 14 16,0-14-16,0 13 0,-13-12 0,14-1 16,-1 53-1,-13-53-15,0 0 0,-13 1 16,13-1-16,-27 27 0,14-27 16,0 0-16,-14 0 0,14 1 0,-13-1 15,-1 0-15,14 0 16,-13-13-16,12 13 0,1-13 0,-13 0 15,-1 14-15,1-28 0,12 14 16,1 0-16,0-13 16,0 0-16</inkml:trace>
  <inkml:trace contextRef="#ctx0" brushRef="#br0" timeOffset="128621.38">2963 12502 0,'0'-14'15,"14"54"1,-14-27-16,13 0 0,0 1 16,-13-1-1,0 0-15,13-13 0,-13 13 0,13 1 16,-13-1-16,14 0 16</inkml:trace>
  <inkml:trace contextRef="#ctx0" brushRef="#br0" timeOffset="128902.3">2963 12475 0,'27'-26'16,"-1"26"-1,-13 0-15,1 0 0,-14 13 16,26 0-16,-26 0 16,0 1-16,0-1 0,0 13 15,0-13-15,-13 27 16,13-27-16,-13 1 0,13-1 0,-14-13 16,14 26-16</inkml:trace>
  <inkml:trace contextRef="#ctx0" brushRef="#br0" timeOffset="129166.48">3691 12250 0,'26'-13'15,"-26"0"-15,14 13 16,12-13-16,-13 13 0,1 0 16,-1-14-16,0 14 0,0 0 15,0-13-15,1 13 0,-1-13 16,0 13-16,0-13 0</inkml:trace>
  <inkml:trace contextRef="#ctx0" brushRef="#br0" timeOffset="129392.33">3823 12039 0,'27'0'16,"-14"0"-16,0 0 15,14 13 1,-14 0-16,13 13 16,-12-26-16,-14 14 0,13 12 15,-13-13-15,13 1 0,-13-1 16,-13 13-16,13-12 0,0-1 16,0 0-16,0 0 15</inkml:trace>
  <inkml:trace contextRef="#ctx0" brushRef="#br0" timeOffset="129683.09">4233 11787 0,'14'27'15,"-14"-14"-15,0 0 16,13 14-16,-13-1 0,13 14 16,-13-1-1,13 1-15,-13-27 16,0 1-16,13-1 0,-13 0 0,0 0 15,14 0-15,-14 1 0</inkml:trace>
  <inkml:trace contextRef="#ctx0" brushRef="#br0" timeOffset="130152.13">4061 11880 0,'40'-40'16,"0"14"-16,-14-1 0,40-12 15,0-1-15,1 0 16,-28 27-16,14-14 16,-40 14-16,27-13 15,-27 26-15,1 0 0,-1-13 0,0 13 16,0 0-16,14 0 15,-14 13-15,0-13 16,0 26-16,1-13 16,-1 1-16,0 12 0,0-13 15,14 27-15,-14-13 0,0-1 16,0-13-16,14 27 0,-27-14 16,13-12-16,0 12 0,14 14 15,-27-27-15,13 0 16,-13 0-16,0 1 0,0-1 15,0 13-15,0-12 16,-13-1-16,13 0 0,-13 0 0,-1 0 0,1 1 16,0-1-16,-27 0 15,14 0-15,-1 1 0,-26-1 16,27-13-16,-14 13 16,14-13-16,13 0 0,-1 0 15,-12-13-15,-1 13 16</inkml:trace>
  <inkml:trace contextRef="#ctx0" brushRef="#br0" timeOffset="130369.67">4498 11853 0,'-13'14'0,"-14"25"0,14-12 16,13-14-16,0 0 15,13 0-15,-13 1 0,13-14 16,1 13-16,-1-13 16,27-13-16,26-1 15,-27-12-15,-12 13 0,13-1 16,-1-12-16,1 13 0,-14-14 16</inkml:trace>
  <inkml:trace contextRef="#ctx0" brushRef="#br0" timeOffset="132421.54">4630 11179 0,'132'-106'16,"-92"93"-16,-13-1 15,12 1-15,-25 0 0,12 0 16,0 13-16,-12 0 15,-1 0-15,13 13 16,-12 0-16,-1 0 0,0 14 16,0-1-16,1 14 0,12 26 15,0-26-15,-12-1 0,39 54 16,-27-53-16,1 13 16,-1-14-16,0 14 0,1-13 15,-1 0-15,27 52 0,-26-65 16,39 65-16,-40-52 15,14 13-15,-27-40 16,0 27-16,1-27 16,-14 14-16,13 12 0,-26-26 15,-1 27 1,1-13-16,-40 12 0,-66 27 16,66-39-16,-66 13 15,0-1 1,-119 14-16,159-40 15</inkml:trace>
  <inkml:trace contextRef="#ctx0" brushRef="#br0" timeOffset="133013.38">2183 11840 0,'-40'13'0,"-26"14"15,53-27-15,0 13 16,-1 0-16,1 0 0,13 1 16,0-1-16,0 0 15,0 14-15,27 52 0,-14-26 16,26 53-16,1 13 16,-27-66-16,1 13 15,38 146-15,-38-146 16,-1 53-16,0-53 0,0-13 0,14 53 15,-1-40 1,1-27-16,-1-12 0,27 26 16,-13-40-16,0 0 0,52-13 15,54-26 1,39-40-16,-79 39 0,0 1 16,92-40-16,-92 39 0,-27 1 15</inkml:trace>
  <inkml:trace contextRef="#ctx0" brushRef="#br0" timeOffset="134426.12">11509 582 0,'14'66'0,"-1"14"16,0 52-16,0-66 15,-13 0-15,14 80 16,-14-67-16,13 80 0,-13-93 16,0 13-16,0-12 0,13-28 15,-13 14-15,0-13 0,0 39 16,0-52-16,0-14 0,0 0 0,0 0 15,0 1-15</inkml:trace>
  <inkml:trace contextRef="#ctx0" brushRef="#br0" timeOffset="135083.12">11470 556 0,'238'-14'16,"-172"1"-16,13 13 0,1 0 15,-1-13-15,0 13 0,1-13 16,-1-1-16,1 14 0,92-13 16,-106 0-16,13 13 0,-26 0 0,0-13 15,-13 13-15,-1 0 16,14 0-16,-26 13 0,-14-13 15,27 13-15,-27-13 0,0 13 16,0 1-16,-13-1 0,14 13 16,-1-12-16,13 52 0,-13-27 15,1 41-15,25-1 16,-25-26-16,12 40 16,0-40-16,-12 0 0,25 66 15,-25-66-15,-1-1 0,13 54 16,-12-53-16,12 27 15,-13-41-15,14 41 0,-14-1 16,-13-26-16,13-27 16,-13-12-16,-13 12 15,13 14-15,-13-27 0,-1 13 16,-12-12-16,-27 25 0,13-25 16,1-1-16,-54 0 15,1-13-15,25 0 0,14 0 16,1-13-16,-15 13 0,1-13 0,0-1 15,0 1-15,0-13 0,13 12 16,-13-12-16,0 0 0,-1-1 16,15 14-16,-15-14 0,14-12 0</inkml:trace>
  <inkml:trace contextRef="#ctx0" brushRef="#br0" timeOffset="135585.06">11470 595 0,'-93'-39'0,"186"78"0,-226-92 16,94 40-16,-14 0 0,0-14 16,0 14-16,-13-13 0,13-1 0,-13 1 0,0-1 15,-1 1-15,15 0 16,-15-14-16,-52 0 0,80 14 0,-41-1 15,27 1 1,40 26-16,-13 0 16,12 13-16</inkml:trace>
  <inkml:trace contextRef="#ctx0" brushRef="#br0" timeOffset="136745.6">12025 1032 0,'675'-80'15,"-609"80"-15,14 0 0,-28-13 0,54 13 16,-66 0-16,0 0 16</inkml:trace>
  <inkml:trace contextRef="#ctx0" brushRef="#br0" timeOffset="137290.43">11576 1230 0,'52'-13'16,"28"0"-16,-212 39 0,304-65 0,-106 39 16,225-40-1,-119 27-15,-14-14 16,-78 27-16,-14-13 16,66 0-16,-39 0 0,-14-1 15,-52 14 1,-1-13-16,-13 13 0</inkml:trace>
  <inkml:trace contextRef="#ctx0" brushRef="#br0" timeOffset="137569.42">12211 450 0,'26'53'0,"-13"-40"0,0 66 16,27 40-16,-13 27 15,-1-1-15,0 146 16,-12-185 0,-1-26-16,13 237 15,-26-237-15,0 78 16,14-118-16,-14 0 15,0-14-15,13 40 16</inkml:trace>
  <inkml:trace contextRef="#ctx0" brushRef="#br0" timeOffset="137959.16">14367 728 0,'0'105'0,"0"-78"0,13 52 15,-13-26 1,13 40-16,-13-40 15,0-14-15,0 1 16,0-27-16,-13-13 16</inkml:trace>
  <inkml:trace contextRef="#ctx0" brushRef="#br0" timeOffset="138204.28">14393 635 0,'66'-13'15,"-26"39"-15,13 27 16,13 40-16,-26-27 16,-40-13-16,0-14 15,-27 94 1,14-94-16,-13 1 0,-27 26 15,26-39-15,-12-1 0,-67 27 16,132-754-16,-92 1402 16,27-688-16,-14-13 0</inkml:trace>
  <inkml:trace contextRef="#ctx0" brushRef="#br0" timeOffset="139104.49">10663 1164 0,'-14'0'0,"41"-13"31,-27-14 0,13 27-15,-13-13-16,13 13 15,-13 13-15,14-13 16,-1 14-16,0-1 16,0 0-1,1-13-15,-1 13 16,0-26 0,0 0-16,-13-27 15,0 27 1,0 0-16,0-14 15,-13-12-15,13 25 16,-26 28 0,12-1-1,1 0-15</inkml:trace>
  <inkml:trace contextRef="#ctx0" brushRef="#br0" timeOffset="139652.12">10702 1733 0,'0'13'15,"0"0"1,0-52 265</inkml:trace>
  <inkml:trace contextRef="#ctx0" brushRef="#br0" timeOffset="140657.09">10755 1693 0,'14'40'16,"-1"-40"-16,0 13 15,13-13-15,-12-13 0,12 0 16,27 0-1,-40-1-15,1 14 0,-1 0 32,-13 27-32,0 12 0,-13-12 15,13 13-15,-27 52 16,14-65-16,0 12 16,13-12-16,0-14 15,0 0-15</inkml:trace>
  <inkml:trace contextRef="#ctx0" brushRef="#br0" timeOffset="141301.56">11509 622 0,'40'-40'0,"-27"40"0,1-26 15,-1-1-15,-13 14 16,13 0 0,13 13 15,1 13-16,-14-13 1,0 0-16,1 0 31,-1-13-31,0-14 16,-13 14 0,0 0-16,13 0 15,-13-14-15,27 14 16,-14-14-16,0 14 15,0 13-15</inkml:trace>
  <inkml:trace contextRef="#ctx0" brushRef="#br0" timeOffset="141725.54">12356 79 0,'26'53'31,"-26"-39"-31,14 12 0,-1-26 16,-13 13-16,26 0 0,-26 1 15,14-1-15,-1-13 16,27 0-16,-27 0 16,0 0-16,27-27 0,-14 1 15,-13 13-15,1 0 16,25-40-16,-25 39 16,-1 1-16,-13 0 15,-13 39 1,13 1-1,-27-1-15,27 1 16,-13-14-16,0 27 16,-1-1-16,1-12 15,0-14-15,13 0 16</inkml:trace>
  <inkml:trace contextRef="#ctx0" brushRef="#br0" timeOffset="142856.44">15558 476 0,'-14'40'16,"14"-27"-16,0 14 0,-13-1 15,13 1-15,0-1 16,-13 0-16,13-12 0,0-1 16,0 13-16,0 1 0,0-14 15,0 0-15</inkml:trace>
  <inkml:trace contextRef="#ctx0" brushRef="#br0" timeOffset="143360.39">15743 556 0,'-27'66'47,"54"-132"-47,-41 158 0,28-79 15,12 1-15,-26-1 16,13-13-16,1 0 0,-1 13 15,0-13-15,14 0 16,-27-13-16,13 0 16,-26-1-16,-1 1 15,1 0-15,-13 0 16,12 0-16,1 13 16,0 0-16,0-14 0,-1 14 15,54 0 16,-27 14-15,27-14-16,-27 0 0,27 13 16,-27 0-16,0-13 0,40 13 31,-26 0-31,-14-13 0,14 0 16,-14 0-16,0 0 15,0 0-15,0 0 16,1-13-16,-14 0 0,13 13 15,-13-26-15,-13 26 16,-1-27-16,1 1 0,-26 12 16,-1 1-1,13 13-15,-39-13 0,40 26 16</inkml:trace>
  <inkml:trace contextRef="#ctx0" brushRef="#br0" timeOffset="144454.44">11827 926 0,'40'-13'16,"-67"26"30,27 0-30,-13 0 0,26-13-16,-13 14 15,0-1-15,0 0 16,0 0-16,0 1 16,0-1-16,0 0 0,0 0 15,-13 14-15,13-14 16,-13 0-16,-1 0 15,14 1 1</inkml:trace>
  <inkml:trace contextRef="#ctx0" brushRef="#br0" timeOffset="144723.13">11906 979 0,'13'53'0,"1"-40"0,-1-13 15,0 0-15,0 0 16,-13 13-16,27-13 16,-14-13-16,0 13 15,-13-13-15,0 0 16,0-1-16,0 1 15,-13 0-15,0 13 16,0-13 0,-1 13-16</inkml:trace>
  <inkml:trace contextRef="#ctx0" brushRef="#br0" timeOffset="145494.26">12674 741 0,'-27'40'16,"14"-40"-16,13 13 16,-13 0-1,-1-13 32,14 13-31,-13-13 15,0 0 16,0 13 15,39-26 204</inkml:trace>
  <inkml:trace contextRef="#ctx0" brushRef="#br0" timeOffset="146087.93">12568 794 0,'13'0'0</inkml:trace>
  <inkml:trace contextRef="#ctx0" brushRef="#br0" timeOffset="146241.42">12793 781 0,'13'0'0</inkml:trace>
  <inkml:trace contextRef="#ctx0" brushRef="#br0" timeOffset="146395.37">13057 1283 0</inkml:trace>
  <inkml:trace contextRef="#ctx0" brushRef="#br0" timeOffset="146569.92">12925 1561 0,'-13'0'0</inkml:trace>
  <inkml:trace contextRef="#ctx0" brushRef="#br0" timeOffset="146841.28">12250 1614 0</inkml:trace>
  <inkml:trace contextRef="#ctx0" brushRef="#br0" timeOffset="147241.71">13375 1879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29.858"/>
    </inkml:context>
    <inkml:brush xml:id="br0">
      <inkml:brushProperty name="width" value="0.025" units="cm"/>
      <inkml:brushProperty name="height" value="0.025" units="cm"/>
      <inkml:brushProperty name="ignorePressure" value="1"/>
    </inkml:brush>
  </inkml:definitions>
  <inkml:trace contextRef="#ctx0" brushRef="#br0">36 0,'0'4,"-4"4,0 4,0 3,1 3,-3-2,0-1,1 1,2-2</inkml:trace>
</inkml:ink>
</file>

<file path=ppt/ink/ink210.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6:04:01.891"/>
    </inkml:context>
    <inkml:brush xml:id="br0">
      <inkml:brushProperty name="width" value="0.05292" units="cm"/>
      <inkml:brushProperty name="height" value="0.05292" units="cm"/>
      <inkml:brushProperty name="color" value="#0070C0"/>
    </inkml:brush>
  </inkml:definitions>
  <inkml:trace contextRef="#ctx0" brushRef="#br0">1588 1720 0,'26'0'62,"159"0"-46,-26 13-16,66 13 16,158 14-16,-65-40 15,79 0-15,66 0 16,79 0 0,27 0-16,13 0 0,-119 0 15,106 0-15,-66 0 16,39 0-16,-39 0 15,-40 0 1,-132 0-16,-80 0 16,-79 0-16,-27 0 15,-52 0-15,-27 0 16,-53 0-16</inkml:trace>
  <inkml:trace contextRef="#ctx0" brushRef="#br0" timeOffset="2320.1">4961 516 0,'40'0'93,"185"0"-77,118 0 0,-65 0-1,119 0-15,-13 0 16,13 0-16,-106 0 16,-40 0-16,14 0 15,-14 0-15,-39 0 16,13 0-1,66 0-15,-80 0 0,120 0 16,-80 0-16,1 0 16,-54 0-16,-13 0 15,-52 0 1,-1 0-16,-39 0 16,-27 0-16,26 0 15,-12 0-15,26 0 16,-1 0-16,-25 0 15,-1 0-15,-13 0 16,-13 0-16,0 0 16,-13 0-16,-1 0 15,-12 0-15,-1 0 16,-12 0 0,25 66 171,-12 146-171,-27-133-1,39 146 1,-12-106-16,-27-13 16,13-27-16,14 1 15,-27-41-15,13 14 16,-13-13-1,0-27-15,0 0 16,0 1 187,-106-1-172,-185 27-15,-106 12 0,146-52-16,13 27 15,-14-27-15,41 0 16,25 0-16,54 0 16,26 0-16,14 0 15,25 0-15,1 0 16,27 0-16,12 0 15,14 13-15,0-13 16,-14 0-16,1 0 16,13 0-1,-1 0-15,-12 0 16,13 0 0</inkml:trace>
  <inkml:trace contextRef="#ctx0" brushRef="#br0" timeOffset="3612.8">4974 529 0,'-26'0'63,"-1"0"-48,-12 0-15,12 0 0,-52 0 16,52 0 0,-26 0-16,-13 13 0,27-13 15,25 27-15,1-27 16,13 13 78,0 80-79,0-40 1,0 26-16,-13-13 15,13 13-15,-13 14 16,-1 26-16,-12 0 16,26-39-16,0 25 15,0-25-15,0-14 16,0-13-16,0 0 16,0 0-16,0-14 15,0 14 1,0-39-16,0 12 15,13-13 251,14-13-266</inkml:trace>
  <inkml:trace contextRef="#ctx0" brushRef="#br0" timeOffset="5388.73">15042 1323 0,'13'-40'0,"-26"40"16,-14 0-16,14 0 15,0 13-15,-1-13 0,-52 27 16,53-14-16,0 0 16,-14 1-16,1-1 15,26 0-15,0 0 0,13 1 16,27 12-1,-27-13-15,13 0 0,-12 1 16,12-14-16,14 26 0,0-13 16,-1 14-1,-26-14-15,1 0 0,-1 1 0,0 12 16,-13-13-16,0 0 0,0 1 16,0-1-16,-13 0 0,0 0 15,-1 1-15,1-1 0,-26 26 16,25-25-16,1-14 0,-13 13 0,12 0 15,1-13-15,-13 13 16,12 1-16,1-14 0,0-14 16,0 1-1</inkml:trace>
  <inkml:trace contextRef="#ctx0" brushRef="#br0" timeOffset="5671.81">15306 1244 0,'13'-14'16,"-13"54"-1,0-27-15,-13 14 16,13-1-16,-13 14 0,13-14 16,0 1-16,0-1 0,0 27 15,0-40-15,13 27 16,0-13-16,-13-1 0,14-26 15,12 26-15,-13-26 16,14 0-16,-14 0 0,40-13 16,-27 13-16,14-13 15,-27 0-15,1 13 0,-1-13 16,-13-1-16</inkml:trace>
  <inkml:trace contextRef="#ctx0" brushRef="#br0" timeOffset="5846.95">15121 1495 0,'-13'-13'15,"39"-1"1,1 1-16,26 0 16,-27 0-16,14 13 15,26-13-15,26-1 16,-52 14-16,-13 0 15,26 0-15</inkml:trace>
  <inkml:trace contextRef="#ctx0" brushRef="#br0" timeOffset="6425.31">15796 1363 0,'-27'-14'0,"14"14"15,0 0-15,-1 14 16,1-14-16,0 13 0,0 0 16,0-13-16,13 13 0,-14 1 15,14-1-15,-13-13 0,13 13 16,-13 0-16,13 0 0,0 1 16,13-1-1,0-13 1,1 0-16,-1 0 15,0-13 1,-13-1-16,13 14 16,-13-13-16,13 13 0,-13-13 15,0 0-15,14 13 16,-14-13-16,13 26 47,-13 0-32,0 0 1,0 0 0,13-13-1,0 0 1,14-13 0,-14 13-1,0 0 1,1 0-16,-1-13 0,0 13 15,0 0 1,0 0-16,1 13 31,-1-13-15,0 0 0</inkml:trace>
  <inkml:trace contextRef="#ctx0" brushRef="#br0" timeOffset="7116.33">16153 1191 0,'0'-14'16,"-13"41"0,13-14-16,0 0 15,0 1-15,0-1 0,-14 0 16,14 13-16,0 1 0,0-14 15,0 0-15,0 1 16,0-1-16,0 0 16,-13 0-16,0-13 15,0 14 1,-27-14-16,14 13 16,-1 0-16,1 0 15,12-13-15,1 13 16,0 1-16,0-14 15,13 13-15,0 0 16,13 0 0,0-26-16,14 13 15,26-13-15,-27 13 16,27-27-16,0 1 16,-27 26-16,-13-13 0,1 0 0,12-1 15,-13-12 1,1 13-16,-1-1 15,-26 1 1,-1 26 31,14 1-31,14-14-16,-14 13 15,13 13-15,0-12 31,-13-1-15,13 0-16,1-26 47,-14 0-31,13 13-16,-13-14 15,13 1-15,0 0 16,0 0-1,-13-1 1,14 14-16,-1 0 16</inkml:trace>
  <inkml:trace contextRef="#ctx0" brushRef="#br0" timeOffset="7599.66">17013 1072 0,'0'-14'16,"0"41"-16,0-14 15,-14 0-15,14 14 0,-13 12 16,0-12-16,0 13 0,13-14 16,0-13-16,0 14 0,0-1 15,13-13-15,-13 1 16,13-14-16,0 13 16,14-13-16,-1 0 15,-12 0-15,25-13 16,-25 13-16,-1 0 0,0-14 15,0 1 1</inkml:trace>
  <inkml:trace contextRef="#ctx0" brushRef="#br0" timeOffset="8077.03">16973 1270 0,'13'-13'31,"0"13"-15,1 0-16,25-13 15,-25 13 1,-1-14-16,0 14 0,-13-13 16,-13 0-1,13 0 1,-13-1-16,-1 14 16,1-13-1,13 0-15,-66 132 0,132-251 16,-53 132-1,14 0-15,-14-14 0,0 14 16,1 0-16,12 0 16,-13 14-16,0-14 15,1 13-15,25 13 16,-39-12-16,14-14 16,-1 26-16,-13-13 15,13 1 1,-13-1-16,0 0 15,27-26 17,-27 0-17,13-14-15,13 14 16,-26 0-16,13-1 0,1 14 16,-1-13-16,0 0 15,27 0-15,-40-1 16</inkml:trace>
  <inkml:trace contextRef="#ctx0" brushRef="#br0" timeOffset="8553.69">17502 1098 0,'0'-13'0,"-13"39"15,13-13 1,0 1 0,0-1-16,-13 0 0,13 0 15,0 14-15,0-14 16,13 0-1,-13 1-15,0-1 16,13 0-16,-13-185 47,13 331-47,-13-172 16,14 13-16,-14-14 15,13 1 1,-13 0-1,26 13 32,-26 13-47,14 0 16,-14 1-16,0-1 16,0 0-16,13-13 15,-13 26-15,0-12 16,0-1-16,0 0 15,0 0 1,0 1-16,-13-28 63</inkml:trace>
  <inkml:trace contextRef="#ctx0" brushRef="#br0" timeOffset="9304.93">17515 1177 0,'0'-26'0,"0"52"15,14-12-15,-14-1 0,0 13 16,13-12-16,-13-1 15,0 13-15,0-13 16,13 14-16,-13-1 16,0-12-16,0-1 15,13-26 17,-13-1-32,0 1 0,14-13 15,-1 12-15,0-25 0,13-14 16,-12 13-16,-1 27 15,0 0-15,0-1 16,1 1-16,-1 13 0,0-13 16,0 26-1,-13 0 1,14-13-16,-14 27 16,0-14-16,0 0 15,0 1 1,0-1-16,13 0 0,-13 0 15,13 1-15,0-1 16,0-13 0,1 0-16,-1-13 15,0 13-15,-13-14 16,0 1-16,0 0 0,13 0 16,-13-1-16,0 1 15,14 0 1,-14 0-1,26 13 1,-26 13-16,13-13 0,-13 13 16,14 0-16,-14 1 15,13-14-15,-13 13 0,13 0 16,-13 0 0,13 1-1,-13-1-15,27-26 31,-14-1-15,-13 1-16,13 0 16,0 0-16,-13-1 15,-26 14 1,13 14 0,-1-14-16,-12 13 0</inkml:trace>
  <inkml:trace contextRef="#ctx0" brushRef="#br0" timeOffset="10726.04">15386 2222 0,'0'-13'0,"-14"40"16,14-14 0,-26 40-1,26-27-15,-13 1 0,13-14 16,0 13-16,0 14 0,0-27 16,13 14-16,-13-14 0,13 0 15,0 1-15,1-14 0,-1 0 16,26-14-1,-25 1-15,-1 0 0,0 0 16,0-1-16,1-39 0,-14 1 16,0 25-16,0-13 0,0 14 15,-14-14-15,1-13 16,-13 0-16,26 40 16,-14 0-16,1 0 0,-13 26 15,26 0 1,-13-13-16,13 13 0,0 27 15,-14-13-15,14-14 0,14 40 16,-14-27-16,0 1 16,0-1-16,13 1 0,-13-1 0,13 0 15,-13-12-15,13 12 0,0-13 0,1 14 16,-1-14 0,0 0-16,-13 1 0,13-14 0,14 0 15,-1 0-15,1-14 16,-14 14-16,0-13 0,0 0 15,27-27 1,-27 0-16,1 27 0,-1-13 16,-13 13-16,0-1 15,13 1-15,-13 0 0,-13 26 47,0 0-31,13 1-16,0-1 0,0 0 15,13 0-15,0 0 16,0-13 0,14 0-16,-14-13 15,0 0-15,0 13 0,14-26 16,-14 12 0,0 1-16,-13 0 0,14 13 15,-1 0 16,0 13-31,-13 0 16,13-13-16,0 14 16,1-14-16,-1 0 15,0 0-15,14 0 16,12-14-16,-25 1 16,-1 13-16,13-26 15,-13 12-15,-13 1 16,14 0-1,-14 0-15,0-1 16,0 1 0,13 26 15,0 1-15,0-14-16,-13 13 15,14-13-15,-1 13 0,0 0 16,-13 1-16,13-1 15,-13 0 1,13-13-16,-13 13 16,14-26 15,-14 0-15,13 0-16,-13-1 15,0 1-15,13 13 16,-13-13-16,0 0 0,0-1 15,13 1-15,-13 0 0,14 0 0</inkml:trace>
  <inkml:trace contextRef="#ctx0" brushRef="#br0" timeOffset="11086.74">16351 2051 0,'13'-40'15,"1"27"-15,-14-1 16,13 41 0,0-14-1,-13 14 1,13-1-16,1 0 0,-1 1 15,-13-1-15,0-12 0,13-1 16,-13 53 0,-13-53-16,13 0 0,0 1 15,-13-1 1,-1-26 0,14-1-1,14-12-15,-14 13 16,13-1-16,0 1 0,0-13 15,1 13-15,-1-1 16,0 14-16,13 0 16,-12 0-16,-1 0 0,0 0 15,14 14 1,-14-1-16,0 0 0,-13 0 16,0 0-1,0 1-15,0-1 16</inkml:trace>
  <inkml:trace contextRef="#ctx0" brushRef="#br0" timeOffset="11205.75">16642 2117 0,'-13'-14'0</inkml:trace>
  <inkml:trace contextRef="#ctx0" brushRef="#br0" timeOffset="11702.22">16788 1799 0,'0'40'16,"0"-27"-16,0 27 15,0-27-15,0 27 0,13-14 16,-13 14-16,-13-252 0,39 437 16,-26-198-16,14-1 15,-1-13-15,13 0 16,-13-13-16,14-13 16,-1-26-1,-26 25 1,0 1-16,-13 40 31,0-14-15,13 0-16,0 0 15,0 0-15,13-13 16,14 14-16,-14-14 16,13-14-16,1 14 15,-14-13-15,0 13 16,53-26-16,-52 26 15,-1-13-15,13 13 0,-13 0 16,14 13 0,-14-13-16,0 13 15,-13 0-15,0 0 16,0 1-16,0-1 16,-13 0-16,-13 14 15,-1-14-15,14 0 16</inkml:trace>
  <inkml:trace contextRef="#ctx0" brushRef="#br0" timeOffset="12663.95">15663 2633 0,'569'-106'15,"-397"66"-15,-92 27 16,211-40 0,-27 0-1,-26 13 1,-158 27-16,-14 0 0,106-27 15,-53 0 1,-79 27-16,65-40 16,-78 40-16,39-40 15,0 0-15,93-105 16,-93 78 0,-26 40-16,-1 1 15,1-1-15,26-26 0,-39 26 16,39-52-16,-13-14 15,-40 66 1,0 0-16,0 1 0,1-41 16,-28 1-16,-65-80 15,53 106-15,-14 14 16,-39-41-16,-27 1 16,53 39-16,-225-79 15,199 79-15,-80 1 16,-40-1-1,-105 0-15,106 40 16,-146 0 0,92 14-16,1 25 15,26-12 1,0 26-16,14 0 16,118-27-16,-172 80 15,199-80-15,-159 93 16,40 0-1,119-66-15,-80 106 16,94-119-16,25 13 16,-79 119-16,14 53 15,52-67 1,27-118 0,-14 79-16,27-79 15,0 0-15,0 39 0,14 13 16,-1-52-16,13 40 15,40 12-15,1 1 16,25-14-16,-39-39 16,66 26-16,13-13 15,14-13-15,-54-14 16,-12-13-16,105 1 16,14-1-16,-107 0 0,14-13 15,79 0-15,-92-13 16,158 0-16,-185-1 15,0 1-15,-13 13 0,0 0 16,27-13-16,-41 0 16,1 13-16,-27 0 15,0 0-15</inkml:trace>
  <inkml:trace contextRef="#ctx0" brushRef="#br0" timeOffset="14130.86">15716 1892 0,'185'-53'0,"-52"13"15,-67 27-15,13 0 16,93-14-16,-92 1 0,78-1 15,1 1-15,-27-1 16,-65 27-16,-28-13 16,-12 0-16,-1 13 0</inkml:trace>
  <inkml:trace contextRef="#ctx0" brushRef="#br0" timeOffset="14313.05">15941 1879 0,'80'-14'16,"12"1"-16,-26 0 0,0 13 16,80-13-16,-14-1 15</inkml:trace>
  <inkml:trace contextRef="#ctx0" brushRef="#br0" timeOffset="14682.93">16140 2408 0,'396'-66'16,"-303"52"-16</inkml:trace>
  <inkml:trace contextRef="#ctx0" brushRef="#br0" timeOffset="14841.05">16312 2527 0,'0'0'0,"52"-13"15,-25 13-15,13-14 0,13 1 16,13 0-16,0 0 0</inkml:trace>
  <inkml:trace contextRef="#ctx0" brushRef="#br0" timeOffset="25049.85">12197 1310 0,'-13'0'62,"-132"119"-46,39-13-16,0-1 16,13-25-16,1 12 15,-14-12-15,26-14 16,41-26-16,12-27 16,14 13-16,0-26 62,26 0-15,40 0-31,26-39-16</inkml:trace>
  <inkml:trace contextRef="#ctx0" brushRef="#br0" timeOffset="25504.91">12462 1323 0,'0'53'31,"0"26"-15,-40 54-16,-13-1 15,14 0 1,-41-26-16,1 26 0,-27-13 16,66-66-16,-13 0 15,27-26-15,26-14 16,0 0-1</inkml:trace>
  <inkml:trace contextRef="#ctx0" brushRef="#br0" timeOffset="27312.72">24950 14023 0,'-13'-13'63,"0"-1"-47,-27 1-16,0 0 15,-39-27-15,-53 1 16,26-28-16,27 15 15,-14-1 1,-26 26-16,66-13 0,26 40 16,1-13-16,13 13 15,-14 0 1,-39 0 0,13 0-1,14 0-15,12 0 16,1 0-16,-27 13 15,39 40-15,-25 66 16,26 67 0,13 39-1,13-186 1,13-39 0,-13 0-1,27 0-15,-27 0 0,27 0 16,-27 0-16,27 0 15,13 0-15,13 0 16,0 0-16,40 0 16,106-13-1,-80-27 1,-79 14-16,40-27 0,-80 27 16,0-1-16,0 14 15,-13-27-15,0 0 16,0 27-16,0-26 15,0 25 1,0 1 0,0 0-16,0 0 15</inkml:trace>
  <inkml:trace contextRef="#ctx0" brushRef="#br0" timeOffset="32579.16">19632 8096 0,'-26'93'0,"26"-53"0,-14 12 0,1 68 15,0-54-15,0 0 16,13 13-16,-14-13 0,1 0 16,0 14-16,13-14 0,-13 0 0,0 0 0,-1-13 15,14 13-15,-13-26 0,13 13 0,-13-13 16,13-1-16,0 1 0,-13-14 16,13 1-16,0-1 0,0-12 0,-14-1 15</inkml:trace>
  <inkml:trace contextRef="#ctx0" brushRef="#br0" timeOffset="32982.99">19804 8162 0,'-53'53'0,"27"-26"0,-1-1 15,1 1-15,-14 12 0,14-12 0,-54 52 16,54-52-16,-1-1 0,1 1 16,-1-1-16,1-13 0,0 0 15,12 1-15,1-1 0,0-13 16,13-13-16,0-1 0,0-25 15,13 12-15,0-12 0,14 12 16,-14 1-16,13-1 0,14 1 16,-13 13-16,12-1 0,-12 1 0,39 26 15,-26-13-15,-14 14 0,14-1 16,-1 13-16,1-12 16,26 38-16,-39-38 0,26 39 15,-40-40-15,13 0 0,-13 13 16,1-12-16,-1-1 0,0 13 15,14-12-15</inkml:trace>
  <inkml:trace contextRef="#ctx0" brushRef="#br0" timeOffset="109835.99">19659 1296 0,'224'172'63,"-448"-344"-48,448 371-15,-237-186 0,0 27 16,13-27-16,-26 0 15</inkml:trace>
  <inkml:trace contextRef="#ctx0" brushRef="#br0" timeOffset="110582.94">19328 1601 0,'-13'0'16,"132"-13"0,-53-1-1,198-25 1,-184 25 15,-67 1-31,27 0 0</inkml:trace>
  <inkml:trace contextRef="#ctx0" brushRef="#br0" timeOffset="110953.78">19513 1349 0,'26'27'15,"14"-14"1,-13 0-16,-1 1 15,40 12-15,-13 14 16,-26-27-16,39 40 16,-53-40-16,0 0 15,14 67 1,-27-14 0,-14-40-16,-25 54 15,-27 12 1,52-65-16</inkml:trace>
  <inkml:trace contextRef="#ctx0" brushRef="#br0" timeOffset="115560.27">19566 8361 0,'-53'26'16,"13"14"-16,27-14 0,-13 1 16,-1-1-16,-12 14 0,12-14 15,-26 41-15,27-41 0,-27 27 16,26-27-16,-12 27 16,25-39-16,-25 25 15,25-12-15,1-14 16,13 0-1,27-26 17,-14-13-32,27-1 15,-27 1-15,40-27 16,13-27 0,-13 27-16,-27 27 0,27-40 15,-26 39-15,-1-12 16,53-41-1,-52 54-15,26-14 0,-27 14 16,40-1-16,-52 14 16,52 26-1,-26 27 1,-14 0-16,-13-14 0,0-13 16,54 106-1,-41-79 1,-13-27-16,0 14 15,1-14-15,12 13 0,1 1 16,-1-14 0,-26 0-1,13-13 1</inkml:trace>
  <inkml:trace contextRef="#ctx0" brushRef="#br0" timeOffset="116699.17">19354 9737 0,'80'0'15,"-67"-14"1,13 14-16,80-13 16,-13 0-16,-27 0 15,-26 0-15,-14 13 16,27 0-16,-40 0 0,27-14 16,-27 14-16,14 0 15</inkml:trace>
  <inkml:trace contextRef="#ctx0" brushRef="#br0" timeOffset="116957.73">19328 9882 0,'26'0'16,"-52"0"-16,66 0 0,-1 0 15,1-13-15,-14 13 16,14-13-16,-14 13 0,27-14 16,-26 14-16,-1 0 0,1 0 15,26-13-15,-27 13 16,14 0-16,-14-13 16,-12 13-1,12 0-15,0 0 16</inkml:trace>
  <inkml:trace contextRef="#ctx0" brushRef="#br0" timeOffset="119126.51">20108 8189 0,'27'-13'0,"-14"13"0,0 0 16,14 0-16,-14 0 0,13 0 16,27 13-16,-39-13 15,-1 0-15,13 0 0,-13 0 16,1 13-16,-1-13 0,27 27 15,-40-14-15,13 0 16,0 27-16,0-14 16,-13-13-16,27 67 0,-27-41 15,26 41-15,-26-41 0,27 67 16,12 0 0,-25-40-16,-1-13 0,40 106 15,-27-53-15,14 0 16,-27-67-16,14 54 15,-1 39 1,-13-52-16,0-14 16,-13-13-16,0-40 15,14 53-15,-28-26 16,14-27-16,0 13 0,0 14 16,-13-27-1,0 14 1,-13-14-16,-1 0 15,-13 0-15,27-13 16,-132 0 0,52-26-16</inkml:trace>
  <inkml:trace contextRef="#ctx0" brushRef="#br0" timeOffset="119945.74">18997 8268 0,'-172'40'31,"159"-27"-31,-53 27 16,52-27-16,-12 14 0,0 12 16,-14 67-1,27-66-15,13 132 16,0-66-1,0 66 1,0-40-16,-14 79 16,1-144-1,0 65-15,13-79 0,-13 66 16,0-53-16,-1-26 16,1 92-16,0-53 15,0 14 1,13-80-16,0 27 15,0-14-15,0-12 0,13 12 16,0-13 0,0-13-16,14 0 15,-14 0-15,119-39 16,-92 25-16,66-25 16,-40 25-16,53-25 15</inkml:trace>
  <inkml:trace contextRef="#ctx0" brushRef="#br0" timeOffset="120597.74">20214 10345 0,'0'-13'16,"-13"39"-1,13 1-15,0-1 0,-13-12 16,13 39-16,0-1 16,0-25-16,-14-1 0,14 27 15,0-26-15,0-1 0,14 14 16,-14-27-16,0 14 0,0-14 16,0 0-16,13 0 15,-13 0-15,13 1 0,-13-1 0,0 0 16,13-13-16</inkml:trace>
  <inkml:trace contextRef="#ctx0" brushRef="#br0" timeOffset="120887.03">20002 10848 0,'27'79'0,"-1"-39"15,-26-27-15,27 14 16,-14-27-16,0 13 16,40 0-16,-40-13 15,14 0-15,-14 0 0,27-13 16,-14 0-16,1-1 15,-1 1-15,14-13 16,-14 13-16,27-14 16,-39 14-16</inkml:trace>
  <inkml:trace contextRef="#ctx0" brushRef="#br0" timeOffset="124213.77">15147 2381 0,'53'27'0,"-39"-14"16,-1 0-16,0 14 31,0-14-31,-26 0 0,13 14 0,0-14 15</inkml:trace>
  <inkml:trace contextRef="#ctx0" brushRef="#br0" timeOffset="133456.62">15134 2434 0,'13'-13'109,"-26"0"-62,26-1-31,-13 1 15,27 13 47,-14 0-46,14 13-17,-14-13-15,0 14 16,0-14-1,0 13-15,1-13 0,-1 13 32,-13 0-32,13 1 15,-13-1-15,0 0 16,-13-13-16,13 13 16,-13 1-16,13-1 0,-14 0 0,1 0 0,0 0 15,0 1-15,0-1 0,13 0 0,-14 14 16,1-14-16</inkml:trace>
  <inkml:trace contextRef="#ctx0" brushRef="#br0" timeOffset="134255.1">14605 2659 0,'-13'0'16,"52"0"0,-25-13-1,12 13-15,-13 0 16,1-13-16,12 13 0,-13 0 0,1-14 15,-1 14-15,13 0 0,-13-13 0,1 13 16,-1 0-16,27-13 16,-27 0-16,0 13 0</inkml:trace>
  <inkml:trace contextRef="#ctx0" brushRef="#br0" timeOffset="134913.84">14182 1839 0,'13'0'16,"13"-13"-16,-12 13 0,-1 0 16,0 0-16,14-14 0,-1 1 15,0 13-15,-12 0 0,-1-13 16,13 13-16,-12 0 0,-1-13 0</inkml:trace>
  <inkml:trace contextRef="#ctx0" brushRef="#br0" timeOffset="135219.03">14407 1601 0,'26'13'16,"-26"0"-16,13-13 0,0 13 15,1 1-15,-1-1 0,0 0 16,0 0-16,-13 1 0,14-1 0,-1 13 16,0-13-16,-13 1 15,0-1-15,0 0 0,0 0 0,-13 14 16,-14 13-16,1-14 15,-1 0-15</inkml:trace>
  <inkml:trace contextRef="#ctx0" brushRef="#br0" timeOffset="137451.01">17489 1124 0,'13'27'15,"0"-27"-15,-13 26 16,14-12-16,12 65 16,-26-66-1,0 14-15,13-14 0,-13 0 0,0 14 0,0-14 16,0 0-16,0 0 0,0 1 16,-13-1-16,13 0 0,0 0 15,-13-26 16,13-13-15,13-14-16,-13 13 16,27-65-1,-27 65-15,13 14 0,0-13 0,-13 12 16,13-12-16,0 13 0,1-1 16,-14 1-16,13 0 0,0 0 15,0 0-15,1-1 0</inkml:trace>
  <inkml:trace contextRef="#ctx0" brushRef="#br0" timeOffset="138084.76">17806 992 0,'-26'27'0,"13"-14"16,13 0-16,0 0 0,-13 1 15,13-1-15,0 0 0,0 0 0,0 0 16,0 14-16,0-14 0,13 0 16,0 1-16,-13-1 0,13 0 15,0-13-15,-13 13 0,14-13 16,-1 0-16,0 0 0,0 0 0,1 0 16,-1 0-16,-13-13 0,13 13 15,-13-13-15,0 0 16,0-1-16,0 1 0,0 0 0,-13 0 15,0-14-15,13 14 0,-14 0 16,1 0-16,0-1 16,13 1-16,-13 13 0,13-13 15,-14 13-15,14-13 16,14 26 15,-1 0-31,13 0 0,-12 1 16,-1-14-16,0 13 0,14 0 15,-14 13-15,0-12 0,0-1 16,27 13-16,-14 1 0,-12-14 16,-1 0-16,-13 1 15,13 12-15,-13 0 16,-13-26 15,13-13-15,0-13-16,0 13 15,0-1-15,0-12 0,0 13 16,13-14-16,-13 1 0,13 12 0,-13-12 16,14-14-16,-1 27 0,0 0 15,0-14-15,0 14 16,1-13-16,-1 26 0,0-14 16,0 14-16,1 0 15,-1 0-15,0 0 16</inkml:trace>
  <inkml:trace contextRef="#ctx0" brushRef="#br0" timeOffset="139102.14">21312 794 0,'0'26'15,"0"-13"1,0 1-16,0-1 0,0 0 0,0 0 16,0 1-16,0 38 15,0 1 1,0-39-1,13-1-15,-13 0 16</inkml:trace>
  <inkml:trace contextRef="#ctx0" brushRef="#br0" timeOffset="139481.63">21603 873 0,'-26'27'15,"13"-27"1,-1 13-16,1 0 15,13 0-15,-13-13 0,0 13 16,13 1-16,-14-14 0,14 13 16,14 0-1,-1-13 1,0 0-16,0 0 0,1 0 16,-1 0-16,0 0 0,0 0 0,0 0 15,1-13-15,-1 13 16,0 0-16,0 0 0,1-13 15,-1 13-15</inkml:trace>
  <inkml:trace contextRef="#ctx0" brushRef="#br0" timeOffset="139665.19">21709 886 0,'-13'0'16,"0"14"-16,13 12 15,-14-13-15,14 0 16,0 14-16,-13-14 0,13 0 16,0 1-16,0-1 0,0 0 15,0 27-15,0-27 16,53-225-16,-93 437 0</inkml:trace>
  <inkml:trace contextRef="#ctx0" brushRef="#br0" timeOffset="140266.91">21497 1217 0,'133'-53'16,"-107"40"-16,67-27 16,-67 27-16,1 0 0,-1-14 15,1 14-15,-1-13 0,-13 12 16,1-12-16,-14-1 0,13-25 16,-26-15-16,-1 28 15,-12 12-15,-14-26 16,-26 0-16,40 40 15,-54-13-15,27 13 0,14 13 16,-41 13-16,40 0 16,-12 0-16,-1 14 0,0-1 15,13 1-15,-39 39 0,52-27 16,1 1-16,-14 26 16,27 0-16,26-13 15,-13-13-15,40 13 16,-1 0-16,-12-40 15,-14 0-15,14 1 0,-1-14 16,14 13-16,52-26 16,-12-1-16,-41 14 15</inkml:trace>
  <inkml:trace contextRef="#ctx0" brushRef="#br0" timeOffset="141676.85">21894 926 0,'-13'13'16</inkml:trace>
  <inkml:trace contextRef="#ctx0" brushRef="#br0" timeOffset="141949.99">22040 913 0,'13'-13'32,"0"13"-32,0 0 15,1 0 1</inkml:trace>
  <inkml:trace contextRef="#ctx0" brushRef="#br0" timeOffset="142077.98">22291 913 0</inkml:trace>
  <inkml:trace contextRef="#ctx0" brushRef="#br0" timeOffset="142492.32">21669 1521 0,'0'27'16,"0"-14"-16,0 0 15,0 1-15,0-1 0,0 0 16,0 0-16,0 0 0,0 1 15,0-1-15,0 0 0,0 0 0,0 1 16,0-1-16</inkml:trace>
  <inkml:trace contextRef="#ctx0" brushRef="#br0" timeOffset="142822.32">22000 1521 0,'-13'-13'15,"0"13"-15,-1 0 0,-12 0 16,26 13-16,-13-13 0,0 0 16,-1 14-16,14-1 15,-13-13-15,13 13 16,13 14-16,1-14 15,-14 0-15,13 0 16,-13 0-16,13-13 16,-13 14-16,-13-1 15,13 0-15,-13-13 16,13 13-16,-27 1 0,14-14 16,0 0-16,13 13 0,-14-13 15,1 0-15,13 13 0</inkml:trace>
  <inkml:trace contextRef="#ctx0" brushRef="#br0" timeOffset="142954.07">22013 1693 0,'14'-13'15,"-14"0"1</inkml:trace>
  <inkml:trace contextRef="#ctx0" brushRef="#br0" timeOffset="143094.89">22238 1640 0,'13'-13'0</inkml:trace>
  <inkml:trace contextRef="#ctx0" brushRef="#br0" timeOffset="143564.63">22119 1879 0,'40'-14'0,"92"-65"15,-66 26-15,14-13 16,-54 39-16,14-25 16,-14 25-16,-13-13 0,1 14 0,-14-14 15,-14-13-15,-12 14 16,13 12-16,-27 1 0,14-1 16,-14 14-16,0 0 0,1 0 15,-14-1-15,0 14 0,-13 0 0,-14 0 0,14 14 16,-13 12-16,13-13 0,-1 14 15,1-1-15,-40 40 16,54-26-16,12 0 0,13-1 0,-12 41 16,25-14-16,14-40 15,0 1-15,14-1 0,12 1 16,14 12-16,-14-25 16,14-1-16,26 0 0,-39-13 15,26-13-15</inkml:trace>
  <inkml:trace contextRef="#ctx0" brushRef="#br0" timeOffset="147587.04">21749 1005 0,'13'14'47</inkml:trace>
  <inkml:trace contextRef="#ctx0" brushRef="#br0" timeOffset="147743.01">22093 992 0,'13'-13'0,"0"13"31</inkml:trace>
  <inkml:trace contextRef="#ctx0" brushRef="#br0" timeOffset="147890.82">22318 979 0,'13'0'0</inkml:trace>
  <inkml:trace contextRef="#ctx0" brushRef="#br0" timeOffset="148416.94">22146 1693 0,'0'-13'47</inkml:trace>
  <inkml:trace contextRef="#ctx0" brushRef="#br0" timeOffset="149452.75">22648 781 0,'0'-14'0,"27"14"16,-14 0 15,0 14-31,0-14 0,-13 13 0,14-13 16,-14 13-16,13 0 15,13 14-15,-26-14 0,14 13 0,-1 1 16,0 12-16,0-25 0,27 78 16,-27-65-1,0 12-15,1-12 0,-1 13 0,0-14 16,0 14-16,1-14 0,-1 1 15,0-14-15,0 27 0,1-14 16,-14-13-16,0 1 0,0-1 16,0 0-16,0 0 0,0 0 15,-14 1-15,1 12 0,0-26 16,0 13-16,-1 1 0,1-14 0,-13 13 16,12-13-16,1 13 0,0-13 15,0 0-15,0 0 0,-1 0 16,1-13-16</inkml:trace>
  <inkml:trace contextRef="#ctx0" brushRef="#br0" timeOffset="149812.89">23178 1072 0,'39'0'15</inkml:trace>
  <inkml:trace contextRef="#ctx0" brushRef="#br0" timeOffset="150067.07">23297 979 0,'13'26'0,"0"14"0,0-13 15,-13-14-15,0 0 0,0 0 16,0 0-16,0 1 0,-13-1 0,13 13 16,-13-12-1,13-1-15</inkml:trace>
  <inkml:trace contextRef="#ctx0" brushRef="#br0" timeOffset="150769.87">23733 1005 0,'0'14'0,"0"-1"0,0 0 15,0 0-15,-13 1 0,13-1 0,0 0 16,0 0-16,0 0 0,0 1 16,0-1-16,0 0 0,0 0 0,13 1 15</inkml:trace>
  <inkml:trace contextRef="#ctx0" brushRef="#br0" timeOffset="151103.79">23601 900 0,'-53'145'16,"53"-132"0,13 67-16,-13-54 15,13 1-15,1-14 0,-14 13 0,13-12 16,0-1-16,0 0 0,1 0 15,12 0-15</inkml:trace>
  <inkml:trace contextRef="#ctx0" brushRef="#br0" timeOffset="151318.89">24037 913 0,'14'66'0,"-14"-40"0,0 1 15,0 26-15,0-27 16,0 14-16,-14 0 0,14-1 16,-26 27-16,-14 14 15,14-54-15,13 1 0</inkml:trace>
  <inkml:trace contextRef="#ctx0" brushRef="#br0" timeOffset="151784.04">23508 1654 0,'119'-27'0,"0"14"16,-79 0-1,0 0-15,-1-1 0,1 1 16,53-13-16,-40 12 0,0-12 16,-1-1-16,-12 1 0,13 0 15,0-1-15,-13-13 0,13 14 0,-14-14 16,-12 1-16,-1-1 0,1 0 0,-1-79 15,-26 66 1,0 13-16,-26 1 0,12-1 0,-12-13 16,-14 14-16,-13-1 0,0 13 15,1 1-15,-1-1 0,-53 1 16,53 26-16,0 0 0,-26 0 0,12 26 16,14-12-16,-13 12 0,13 14 15,-13-14-15,13 27 0,14-13 0,-14 0 16,13 12-16,14-12 0,-27 66 15,39-66-15,1-1 16,13 1-16,13 39 0,14-12 16,-1-41-16,1 1 0,-1-1 15,1 0-15,12 1 16,-12-27-16</inkml:trace>
  <inkml:trace contextRef="#ctx0" brushRef="#br0" timeOffset="160217.96">22397 10120 0,'-26'14'0,"12"-1"16,-12 0-16,-1 13 0,1 1 0,-1-1 15,-12 14-15,-1-13 16,0 12-16,-26 27 0,27-39 16,-1-1-16,13 1 0,-12 12 15,12 1-15,14-40 16,13 13-16</inkml:trace>
  <inkml:trace contextRef="#ctx0" brushRef="#br0" timeOffset="160637.68">22529 10385 0,'-66'53'16,"40"-40"-16,-1 14 0,1-14 0,-1 0 16,1 13-16,-1-12 0,14-1 15,-13 0-15,12 0 0,14 1 16,-13-1-16,13 0 0,-13 0 0,13 0 16,13 1-16,0-1 15,1-13-15,-1 0 16,0 0-16,0 0 0,14 0 0,13 0 15,-14-13-15,14-1 16,-1 1-16,-25 0 16,-1 13-16,0-13 0,0 0 15,0-1-15,1 1 0,-1 0 16,-26 39 15,-14 27-15,27-26-16,-13-14 0,0 53 15,0-53-15,-1 14 16,14-1-16,0-13 0,-13 40 16,13-39-16,-13-1 15,13 0-15</inkml:trace>
  <inkml:trace contextRef="#ctx0" brushRef="#br0" timeOffset="160877.82">22159 10147 0,'251'-66'0</inkml:trace>
  <inkml:trace contextRef="#ctx0" brushRef="#br0" timeOffset="161808.82">22093 10054 0,'251'-26'0,"-145"12"16,-66 14-16,12-13 15,15 13-15,-41 0 16,1 0-16,25 13 0,-25 1 16,-1-1-16,14 40 0,-13-27 15,-14 1-15,0 12 0,13 41 16,1 26-16,-14-14 15,0-26-15,-13-26 16,14 13-16,-1-13 0,0 13 0,14 26 16,-27-39-16,13-1 15,0 1-15,0-13 0,14 78 16,-27-78-16,0-14 16,0 13-16,-14 14 0,1-27 15,0 14-15,-27 26 0,14-27 16,-1-13-16,-12 14 15,12-14-15,-79 40 0,40-40 16,13 1-16,-79 12 0,66-26 16,-13 13-16,12-13 0,-78 0 15,-14-13-15,14 0 16,-1-14-16,14-12 16,26-1-1,79 13-15,-12 1 0,-14-80 16,53 14-1,145-213-15,-65 226 16,-1-14-16,199-118 16,-80 105-1,-92 66-15,146-39 16,-107 39-16,1 27 16,-14 0-16,-92 13 15</inkml:trace>
  <inkml:trace contextRef="#ctx0" brushRef="#br0" timeOffset="170938.31">14248 12515 0,'-185'92'16,"145"-65"-16,-13 26 15,27-27-15,-14 27 0,0 0 16,27-26-16,13-1 0,0-13 15,-13 27-15,26-14 16,0 14-16,0-27 0,14 14 16,-1-14-16,1 0 15,12 0-15,-25-13 16,39 0-16,-14 0 0,-25 0 16,38-13-16,-25 0 15</inkml:trace>
  <inkml:trace contextRef="#ctx0" brushRef="#br0" timeOffset="171233.15">14459 12832 0,'-52'133'47,"52"-120"-47,0 0 16,26 0-16,27 14 15,13-40 1,-26 13-16,-27-14 0,27-12 31,-40 13-31,0-14 0,-14-13 16,-12 14-16,13 13 16,-14 0-16,1-1 15,-1 1 1,14 13-1</inkml:trace>
  <inkml:trace contextRef="#ctx0" brushRef="#br0" timeOffset="171675.72">14883 12740 0,'79'185'78,"-52"-159"-78,-14-12 16,13-28-1,-12-12 1,12-27-16,-26 40 15,0-80 1,13 67-16,-13-1 16,0 14-1,0 0-15,13 13 16,1 0-16</inkml:trace>
  <inkml:trace contextRef="#ctx0" brushRef="#br0" timeOffset="172175.32">15333 12621 0,'-53'13'16,"53"0"-16,-40 106 31,53-92-16,-13 12 1,13-39-16,14 0 31,-14-13-31,27-27 32,-503 1-32,952 65 0,-475-39 15,-1 13-15,13 0 16,-13 13-16,14 0 15,-14 1-15,14 12 16,-14 1-16,-13-14 16,13-13-16,-13 13 15,0 0 1,13-39 0,-13 13-1,14-14-15,-1 1 0,-13-14 16,13 27-1,13-27 1,-26 27-16,40-14 16,-13 14-1,-14 13-15,13-13 0,1 26 16,-1-13-16,-13 13 0,1-13 16</inkml:trace>
  <inkml:trace contextRef="#ctx0" brushRef="#br0" timeOffset="172753.77">14579 13242 0,'185'40'16,"-132"-27"-1,79-13-15,-53-13 0,67-13 16,-14-1-16,14-13 15,-67 14-15,40-27 16,53-39 0,-93 25-16,-39 1 15,-13 0-15,-14-13 16,-13-1-16,-40-39 16,-39 13-1,13 40-15,-53-26 0,26 39 16,-105-13-16,-107 26 15,186 40-15,-13 13 16,-119 27-16,-14 39 16,146-39-16,13 0 0,-106 65 15,40 14-15,27 1 16,52-15 0,27 28-1,66-67-15,27-13 0,52 13 16,66 0-16,67-13 15,26-27-15,0-12 16,1-28-16,38 1 16</inkml:trace>
  <inkml:trace contextRef="#ctx0" brushRef="#br0" timeOffset="173103.79">16113 12859 0,'-13'0'0,"211"-27"16,-52 27-1,145-26 1,-2447 462-16,4497-885 16,-2288 449-16,-13-14 15,-1 14-15,54-13 16,-80 0-16,27 0 0</inkml:trace>
  <inkml:trace contextRef="#ctx0" brushRef="#br0" timeOffset="173335.3">16986 12541 0,'278'66'31,"-132"146"16,-186-106-31,13-80-16,-25 27 16,-1-13-16,-27-27 31</inkml:trace>
  <inkml:trace contextRef="#ctx0" brushRef="#br0" timeOffset="174418.06">18217 12131 0,'-106'119'16,"66"-13"-1,14-27 1,12 1-16,14-27 16,14-14-16,-1-12 15,0-14-15,14 27 0,25-27 16,15-582-16,-107 1138 0,66-569 16,14-26-1,0 12-15,-1-12 0,-12 13 16,-1-14-16,-26 14 15,14 13-15,-1-13 0,-13-1 16,13-12-16,0 13 16,0 26 31,-13 0-32,14 0-15,-14 1 16,13-1-16,13 0 15,1 14-15,-14-27 16,0 0 0,14 0-16,-14 0 15,0-14-15,0 1 16,-13 0 0,14 13-16,-14-13 15,0-1-15,0 1 0,-14 0 16,14 0-1,-13 0-15,13-1 0,-13 1 16,13 0 15,13 13-15</inkml:trace>
  <inkml:trace contextRef="#ctx0" brushRef="#br0" timeOffset="175052.92">18693 12435 0,'13'0'15,"13"14"1,-12-1-16,-14 13 16,13-12-16,-13-1 15,13 0 1,-13 0-16,27-26 31,-14-27-15,0 27-16,0-13 15,-13 12 1,14 1-16,-1 13 16,13 0 15,-13 27-31,-13-14 16</inkml:trace>
  <inkml:trace contextRef="#ctx0" brushRef="#br0" timeOffset="175431.16">18971 12607 0,'13'-26'16,"-13"13"0,13-14-16,0 14 15,1 0 1,-1 0-1,0 26 1,0 0 0,-13 0-1,-92 53-15,197-132 0,-105 79 16,14 1-16,-1-28 47,0 14-47,-13-13 15,13 0-15,1-13 0,-14 12 16,13 1-16,-13 0 16,13 13-16,0-13 15,1 26 1,-14 0 0</inkml:trace>
  <inkml:trace contextRef="#ctx0" brushRef="#br0" timeOffset="176387.75">19248 12554 0,'14'0'0,"12"-39"47,-26 65-16,0-13-16,0 1 1,0-1 0,13-13-16,1-13 15,-81-1-15,147 28 16,-54-41-16,-12 14 0,-1-13 16,0-1-16,13 1 0,1-67 15,-1 40 1,-12 13-16,-1 1 15,0 26 1,-26 52 0,13-26-1,0 14-15,0-14 16,0 14-16,0 39 16,26-13-16,-13-27 15,1-13-15,-1 1 16,0-14-16,0 0 0,14 0 15,-14 0-15,14-14 16,-14 14 0,0-13-16,-13 0 15,-13 13 1,0 0 0,-1 13-1,14 0-15,-13-13 16,13 14-16,0-1 15,13-13-15,-13 13 16,14-13-16,-1 13 16,0-13-16,13-13 15,1 13-15,-14-13 16,0 13-16,14-13 0,13-27 16,-14 0-1,14-13 1,-14 14-16,-13 25 15,27-12 1,-14 26-16,-12 13 16,-1-13-16,-13 13 0,13 1 15,-13-1-15,0 40 16,-13-14-16,0 1 16,13-27-1,-27 14-15,27-14 0,-13 0 16,26-52 15,-13 25-15,13 14-16,14-39 15,-1 12-15,-12 27 0,-1-13 16,0 13-16,0-13 16,27 26-1,-27 0-15,0-13 0,1 13 16,-14 14-16,13-1 15,-13-12 1,-13-1-16,13 0 16,0 0-16</inkml:trace>
  <inkml:trace contextRef="#ctx0" brushRef="#br0" timeOffset="176885.43">20267 12277 0,'-26'-40'16,"52"53"15,-13-13-15,1 13-1,-1-13-15,0 14 0,0-1 0,0 13 16,-13-12-1,0 25 1,14-12-16,-14-14 0,0 0 16,13 14-16,0-14 15,14-13 1,26 0 0,-40-13-16,26-14 15,-12-13 1,-14 27-16,14-26 15,-14 25 1,-13 1-16,0 40 31,0-14-15,13 13 0,0-13-16,1 1 15,12-1 1,0-13-1,1 0-15,-14 13 32</inkml:trace>
  <inkml:trace contextRef="#ctx0" brushRef="#br0" timeOffset="177425.47">18666 13084 0,'887'-66'47,"-557"39"-32,-91 1 1,-28-1-16,-105 14 0,79-27 16,67-13-1,-41-26 1,-145 52-16,67-52 16,-80 13-16,-27 0 15,-79-106 1,-26 79-1,13 40-15,-93-66 16,-264-66 0,304 145-16,-424-105 15,384 118-15,-476 1 16,477 39 0,-332 93-16,186 0 15,13 13-15,172-53 16,-238 225-1,304-119 1,92-66-16,67 13 16,79-26-16,40-27 15,80-27 1,-67-25 0</inkml:trace>
  <inkml:trace contextRef="#ctx0" brushRef="#br0" timeOffset="178442.77">12356 12938 0,'40'0'15,"-14"0"-15,1-13 0,12 13 16,14-13-16,40-1 16,13-12-16,-53 13 0,0 0 15,-14-1-15,1 1 0,0 13 0,26-26 16,-53 26 0,0-14-16,0 1 15</inkml:trace>
  <inkml:trace contextRef="#ctx0" brushRef="#br0" timeOffset="178670.65">12951 12607 0,'0'0'16,"40"0"-16,-13 0 0,-14 0 15,26 14-15,-25-1 0,12 0 16,-13-13-16,1 13 0,12 1 15,-13 12-15,0 0 16,-13-12-16,14-1 0,-28 27 0,14-14 16,-39 27-16,26-27 15,-14 1-15,1-1 0,-27 14 16,26-27-16,-39 14 16,26-14-16</inkml:trace>
  <inkml:trace contextRef="#ctx0" brushRef="#br0" timeOffset="179657.66">8361 12488 0,'-93'53'0,"80"-26"0,-13-1 16,-1 1-16,-13 26 0,27-14 16,0 27-16,13-52 15,0 52-15,0-40 16,13 1-16,0-14 0,1 27 15,-1-27-15,0 0 0,0 0 16,1 1-16,-1-1 0,0-13 16,0 0-16,0 13 0,14-26 0,-1 13 15,-12-13-15,12 13 16,1-27-16</inkml:trace>
  <inkml:trace contextRef="#ctx0" brushRef="#br0" timeOffset="179942.7">8612 12740 0,'-26'26'16,"12"-13"-16,1 1 0,13-1 16,-13 27-16,13-14 15,0-13-15,13 0 0,-13 1 0,13-1 16,1 0-16,-1 0 16,13-13-16,-12 0 0,-1 0 15,13 0-15,14-26 0,-27 26 16,14-27-16,-14 14 15,-13 0-15,-159-106 0,331 212 0,-185-107 16,0-12-16,-133-40 0,278 119 16,-145-53-16,0-14 0,-66 1 15,65 13 1,1 0-16,0 0 0,0 0 16,-14 0-16,14 13 0,13 1 15</inkml:trace>
  <inkml:trace contextRef="#ctx0" brushRef="#br0" timeOffset="180254.85">8837 12700 0,'0'13'0,"13"0"0,14 54 31,-27-54-31,26 13 0,-26-12 16,13-1-16,1-13 0,-14 13 16,13 0-16,0-13 0,0 0 15,1 0-15,-14-13 0,13 0 16,0 0-16,-13-1 16,0 1-16,0 0 0,0 0 15,0-1-15,0-25 0,0 25 16,0-12-16,0 13 0,0 0 15,0-1-15,0 1 16,13 13 0</inkml:trace>
  <inkml:trace contextRef="#ctx0" brushRef="#br0" timeOffset="180807.97">9260 12568 0,'-52'39'0,"52"-25"0,0-1 16,-14 0-16,14 0 0,0 14 16,0-14-1,14 0 1,-1-26 0,0 0-16,13 0 15,-12-1-15,-1 1 16,0 13-16,0 0 15,1-13-15,12 26 16,-13-13-16,0 13 16,-13 1-16,14-14 0,-1 13 15,-13 0-15,13 0 0,-13 14 16,0-14-16,0 0 16,0-53 15,13 27-16,-13 0-15,0 0 0,0 0 16,14-27-16,12 13 16,-26 14-16,13 0 0,1 0 15,-1-1-15,0 1 16,0 13-16,0 0 31</inkml:trace>
  <inkml:trace contextRef="#ctx0" brushRef="#br0" timeOffset="181390.86">8599 13295 0,'40'0'16,"13"0"-16,-27 0 16,14-13-16,13 13 0,-14-13 15,80-14-15,67-26 16,-67 1-16,-66 38 16,-1-12-16,-12-1 15,13 1-15,13-27 0,-39 27 16,26-27-16,-27 26 0,14-26 15,-27 14-15,0 12 16,0-13-16,-13 14 0,0-27 16,-13-26-16,0 26 15,-13-53-15,-41 0 16,28 53-16,-1 0 0,-39 0 16,12 14-16,1-1 0,-79 0 15,52 14-15,-92 13 16,79 13-16,-145 26 0,-1 27 15,-91 79 1,237-92-16,0 26 16,-79 40-16,26 26 15,27 1-15,92-81 0,13 1 16,1 14-16,13 78 16,26-92-16,53 40 15,-26-54-15,13 1 0,79 26 16,-53-39-16,1-14 0,12 0 15,-12 0-15,92-13 0,79-26 16,-92-14 0,-80 14-16,1-1 0,-14 1 15</inkml:trace>
  <inkml:trace contextRef="#ctx0" brushRef="#br0" timeOffset="181858">10094 12634 0,'26'-27'16,"54"14"-1,-54 13 1,-13-13-16,27 13 0,-13 0 15,-14 0-15,0 0 0,0 0 16</inkml:trace>
  <inkml:trace contextRef="#ctx0" brushRef="#br0" timeOffset="182025.15">10226 12832 0,'40'-13'15,"13"13"1,-40-13 0,0 13-16,53 0 15,-39-13-15,-14 13 0</inkml:trace>
  <inkml:trace contextRef="#ctx0" brushRef="#br0" timeOffset="185930.32">10345 12753 0,'-13'0'15,"53"0"-15,-14 0 0,1 13 16,-1-13-16,1 0 0,-14 13 15,13-13-15,14 27 16,-27-27-16,14 13 0,-27 0 0,13 1 16,0 12-16,0-13 0,-13 0 15,0 14-15,-13-14 0,13 14 16,-13-14-16,0 13 0,-27 40 16,27-39-16,-27 26 0</inkml:trace>
  <inkml:trace contextRef="#ctx0" brushRef="#br0" timeOffset="190252.78">10226 12409 0,'-13'-13'0,"26"26"15,14 0 1,12 0-16,-25 1 15,65 25 1,-53-39-16,14 14 16,-13-1-16,-1 13 15,-13-26 1,0 27 0,-26 12-16,0-12 15,-13 13-15,-27 39 16,13-13-1,0 0-15,1 0 16,25-52 0,14 12-16</inkml:trace>
  <inkml:trace contextRef="#ctx0" brushRef="#br0" timeOffset="195578.92">10200 12025 0,'13'0'16,"-26"-13"-16,13 0 16,-40 0-1,27 13-15,0-14 16,-14 14-16,1-13 0,-1 13 0,-13-13 16,1 0-16,-1-1 0,0 1 0,-13 0 15,1 0-15,-1 13 0,-13-13 16,-1-1-16,1 1 0,0 0 0,0 0 0,0 13 15,-14-14-15,28 1 16,-1 13-16,0-13 0,-13 13 0,-1-13 16,1 13-16,-13-13 0,26 13 0,-13 0 15,13 0-15,-66 13 16,39-13-16,14 13 0,0 0 0,0 0 16,0 1-16,13-1 0,-13 0 15,0 14-15,13-14 0,-53 40 16,66-40-16,-52 40 0,39-13 15,13-14-15,0 0 16,-13 14-16,14 0 0,-1 0 0,0-14 16,-39 67-16,52-54 0,-12 1 15,-1 0-15,0 13 0,-12 39 16,25-39-16,1-13 0,-1 13 16,14-14-16,13 1 0,-13 0 0,-1-1 15,14 14-15,0-13 0,14 0 16,-14-1-16,13 1 0,13 13 0,1-13 15,13-1-15,-1 14 0,14-13 0,0 0 16,66 26-16,-53-40 16,14 1-16,-1-14 0,40 13 15,-40-12-15,160 12 0,-107-13 0,0-13 16,-26 14-16,26-14 0,-13 0 16,27 0-16,-14 0 0,146-14 15,-146 14-15,14-13 0,-1-13 16,-26 12-16,14-12 0,-14 0 15,0-1-15,119-39 0,-132 26 16,-14 14-16,14-14 0,-13 0 0,-27 1 16,0 12-16,0-12 0,-13-1 15,0 0-15,0 1 0,-13-1 0,26-53 16,-40 40-16,14-53 16,-40 67-16,13-1 0,-26-13 15,-27-119-15,14 119 16,-14 0-16,-13 0 0,-53-26 15,40 26-15,-26 0 16,-67-13-16,53 40 0,27-1 16,-1 1-16,-26 12 0,14 1 0,-1 0 15,1 0-15,12 13 0,-12 0 16,-1 0-16,0 0 0,-184 13 16,197 0-16,1 0 0,0 1 15,12 12-15,1-13 16,0 1-16,13-1 0</inkml:trace>
  <inkml:trace contextRef="#ctx0" brushRef="#br0" timeOffset="200610.26">11959 12502 0,'-40'0'110,"-39"0"-95,39 0 1,-39 0-16,0 13 16,13-13-1,-40 0-15,26 0 16,41 13-16,25-13 15,1 0 64,0 0-17</inkml:trace>
  <inkml:trace contextRef="#ctx0" brushRef="#br0" timeOffset="201929.99">11417 12449 0,'0'-14'63,"-13"14"-32,-1 14-15,1-1-1,0-13 95,13 13-79,-13-13-15,-1 0 46,14 13-15,-13-13-31,0 0 30,13 14-30,-13-1 140,13 13-93,13-13-48,0 1 1,27-1 0,-27 0-16,0-13 15,1 0 1,-14 13 31</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0.685"/>
    </inkml:context>
    <inkml:brush xml:id="br0">
      <inkml:brushProperty name="width" value="0.025" units="cm"/>
      <inkml:brushProperty name="height" value="0.025" units="cm"/>
      <inkml:brushProperty name="ignorePressure" value="1"/>
    </inkml:brush>
  </inkml:definitions>
  <inkml:trace contextRef="#ctx0" brushRef="#br0">86 0,'-3'7,"-1"5,-4 4,0 2,-2 2,1 1,-2-4,2-1,2 0,-2-2,2-5</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1.505"/>
    </inkml:context>
    <inkml:brush xml:id="br0">
      <inkml:brushProperty name="width" value="0.025" units="cm"/>
      <inkml:brushProperty name="height" value="0.025" units="cm"/>
      <inkml:brushProperty name="ignorePressure" value="1"/>
    </inkml:brush>
  </inkml:definitions>
  <inkml:trace contextRef="#ctx0" brushRef="#br0">53 1,'0'3,"-3"5,-2 4,-2 3,-4 3,0 1,2 1,2-3</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321"/>
    </inkml:context>
    <inkml:brush xml:id="br0">
      <inkml:brushProperty name="width" value="0.025" units="cm"/>
      <inkml:brushProperty name="height" value="0.025" units="cm"/>
      <inkml:brushProperty name="ignorePressure" value="1"/>
    </inkml:brush>
  </inkml:definitions>
  <inkml:trace contextRef="#ctx0" brushRef="#br0">84 1,'-4'0,"0"3,-1 5,-1 0,-1 3,-2 3,0 2,-1 1,1 2,-2-3,2-4</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2.966"/>
    </inkml:context>
    <inkml:brush xml:id="br0">
      <inkml:brushProperty name="width" value="0.025" units="cm"/>
      <inkml:brushProperty name="height" value="0.025" units="cm"/>
      <inkml:brushProperty name="ignorePressure" value="1"/>
    </inkml:brush>
  </inkml:definitions>
  <inkml:trace contextRef="#ctx0" brushRef="#br0">44 0,'0'3,"-4"5,0 4,-1 3,-1-1,-1 1,-2 1,0-3</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3.605"/>
    </inkml:context>
    <inkml:brush xml:id="br0">
      <inkml:brushProperty name="width" value="0.025" units="cm"/>
      <inkml:brushProperty name="height" value="0.025" units="cm"/>
      <inkml:brushProperty name="ignorePressure" value="1"/>
    </inkml:brush>
  </inkml:definitions>
  <inkml:trace contextRef="#ctx0" brushRef="#br0">28 1,'0'6,"-3"6,-5 4,-1 3,2-2</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35.186"/>
    </inkml:context>
    <inkml:brush xml:id="br0">
      <inkml:brushProperty name="width" value="0.025" units="cm"/>
      <inkml:brushProperty name="height" value="0.025" units="cm"/>
      <inkml:brushProperty name="ignorePressure" value="1"/>
    </inkml:brush>
  </inkml:definitions>
  <inkml:trace contextRef="#ctx0" brushRef="#br0">78 1,'-3'0,"-5"0,-1 3,-2 1,1 4,-1-1,-3 3,2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5.383"/>
    </inkml:context>
    <inkml:brush xml:id="br0">
      <inkml:brushProperty name="width" value="0.05" units="cm"/>
      <inkml:brushProperty name="height" value="0.05" units="cm"/>
      <inkml:brushProperty name="color" value="#E71224"/>
      <inkml:brushProperty name="ignorePressure" value="1"/>
    </inkml:brush>
  </inkml:definitions>
  <inkml:trace contextRef="#ctx0" brushRef="#br0">245 0,'-7'10,"0"0,0 0,0 1,1-1,1 1,0 1,1-1,-6 20,-10 25,-123 259,126-286,11-17</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56.45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23 24,'-7'7,"1"-2,0 0,0 0,1 0,0 1,0 0,0 0,1 0,0 0,0 1,1 0,-1 0,1 0,1 0,-1 0,0 9,2-12,0 0,0 0,1 0,0 0,-1 0,2 0,-1 0,0 0,1 0,0-1,0 1,0 0,0 0,0 0,1-1,0 1,0-1,0 0,0 1,0-1,4 4,-3-5,0 0,1 0,-1 0,1 0,-1-1,1 1,0-1,0 0,0 0,0 0,-1-1,1 1,0-1,0 0,0 0,0 0,0-1,0 1,0-1,0 0,5-2,-3 1,0-1,0 0,0 0,0 0,0-1,-1 1,1-2,-1 1,0 0,-1-1,1 0,-1 0,0 0,0-1,0 1,-1-1,0 0,0 0,-1 0,1 0,2-13,-4 15,0 0,-1 0,1 0,-1 0,0 0,0 0,0 0,0 0,-1 0,1 0,-1 0,0 0,-1 1,1-1,-1 0,1 1,-1-1,0 1,0-1,-1 1,1 0,-1 0,1 0,-1 0,0 0,0 1,0-1,-1 1,1 0,-1 0,1 0,-1 1,0-1,1 1,-1 0,-7-2,0 1,0 0,0 1,0 0,0 1,0 0,0 0,0 1,0 1,0 0,1 1,-1 0,0 0,-17 9,14-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1.678"/>
    </inkml:context>
    <inkml:brush xml:id="br0">
      <inkml:brushProperty name="width" value="0.025" units="cm"/>
      <inkml:brushProperty name="height" value="0.025" units="cm"/>
      <inkml:brushProperty name="ignorePressure" value="1"/>
    </inkml:brush>
  </inkml:definitions>
  <inkml:trace contextRef="#ctx0" brushRef="#br0">52 0,'-4'7,"0"5,0 4,-2-1,-1 0,1 2,2 0,-2 1,0 1,1-3</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1.698"/>
    </inkml:context>
    <inkml:brush xml:id="br0">
      <inkml:brushProperty name="width" value="0.025" units="cm"/>
      <inkml:brushProperty name="height" value="0.025" units="cm"/>
      <inkml:brushProperty name="ignorePressure" value="1"/>
    </inkml:brush>
  </inkml:definitions>
  <inkml:trace contextRef="#ctx0" brushRef="#br0">237 1,'-23'14,"1"2,0 1,2 0,0 2,1 0,-23 30,-5 4,45-52,0 1,0 0,1 0,-1 0,0 0,1 0,0 0,-1 0,1 1,0-1,0 0,0 1,1-1,-1 1,1-1,-1 1,1 2,0-3,1-1,0 1,-1-1,1 1,0-1,0 0,0 1,0-1,0 0,0 0,1 0,-1 0,0 0,1 0,-1 0,0 0,1 0,-1-1,1 1,-1-1,1 1,0-1,-1 1,1-1,-1 0,1 0,0 0,1 0,30 3,0-3,0 0,0-2,-1-2,35-7,-60 10,10-2</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2.353"/>
    </inkml:context>
    <inkml:brush xml:id="br0">
      <inkml:brushProperty name="width" value="0.025" units="cm"/>
      <inkml:brushProperty name="height" value="0.025" units="cm"/>
      <inkml:brushProperty name="ignorePressure" value="1"/>
    </inkml:brush>
  </inkml:definitions>
  <inkml:trace contextRef="#ctx0" brushRef="#br0">134 1,'-3'18,"0"0,-1 0,-1 0,0-1,-1 1,-16 28,4-4,8-18,-9 23,-15 56,30-86</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151"/>
    </inkml:context>
    <inkml:brush xml:id="br0">
      <inkml:brushProperty name="width" value="0.025" units="cm"/>
      <inkml:brushProperty name="height" value="0.025" units="cm"/>
      <inkml:brushProperty name="ignorePressure" value="1"/>
    </inkml:brush>
  </inkml:definitions>
  <inkml:trace contextRef="#ctx0" brushRef="#br0">40 2,'-2'1,"0"0,0-1,0 1,1 0,-1 0,0 0,0 0,1 0,-1 0,0 0,1 1,-1-1,1 1,0-1,-1 1,1-1,0 1,0 0,0 0,0-1,0 1,1 0,-1 0,0 0,1 0,-1 0,1 0,0 0,0 2,-2 4,1 0,1 0,-1 0,1-1,0 1,3 11,-3-17,0 0,1 0,0 1,-1-1,1 0,0 0,0 0,0 0,0 0,1 0,-1 0,0 0,1 0,-1-1,1 1,0-1,0 1,0-1,-1 0,1 1,0-1,0 0,1 0,-1 0,0-1,0 1,0 0,5 0,-2-1,-1 0,1-1,-1 1,1-1,-1 0,0 0,1-1,-1 1,0-1,0 0,0 0,0 0,0 0,4-4,-5 3,1 1,-1-1,0 0,0 0,0 0,-1 0,1 0,-1-1,0 1,0-1,0 0,0 0,-1 0,1 1,1-8,-3 9,0-1,0 0,0 0,-1 1,1-1,-1 0,1 1,-1-1,0 0,0 1,0-1,0 1,0-1,-1 1,1 0,-1-1,0 1,0 0,1 0,-1 0,0 0,-1 1,1-1,0 1,0-1,-5-1,-10-5,0 3</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03.548"/>
    </inkml:context>
    <inkml:brush xml:id="br0">
      <inkml:brushProperty name="width" value="0.025" units="cm"/>
      <inkml:brushProperty name="height" value="0.025" units="cm"/>
      <inkml:brushProperty name="ignorePressure" value="1"/>
    </inkml:brush>
  </inkml:definitions>
  <inkml:trace contextRef="#ctx0" brushRef="#br0">73 1,'-4'3,"0"0,0 0,0 0,0 1,1 0,-1 0,1 0,0 0,0 0,0 1,1-1,0 1,0 0,0-1,0 1,1 0,-1 0,0 8,2-11,-1 1,1 0,-1-1,1 1,0-1,0 1,1 0,-1-1,0 1,1-1,-1 1,1-1,0 1,0-1,0 1,0-1,0 0,1 1,-1-1,1 0,-1 0,1 0,0 0,0 0,0-1,0 1,0-1,0 1,0-1,1 0,-1 1,0-1,1 0,-1-1,1 1,-1 0,4 0,-5-1,1 1,0-1,-1 0,1 1,0-1,-1 0,1 0,0 0,0 0,-1 0,1-1,0 1,-1-1,1 1,-1-1,1 1,0-1,-1 0,1 0,-1 1,0-1,1 0,-1 0,0-1,1 1,-1 0,0 0,0-1,0 1,0-1,0 1,0 0,-1-1,1 0,0 1,-1-1,1 1,-1-3,1 0,-1 1,0 0,-1 0,1 0,0-1,-1 1,0 0,0 0,0 0,0 0,0 0,0 0,-1 1,0-1,1 0,-1 1,0-1,0 1,-5-4,2 2,0 0,0 1,-1 0,1 0,-1 0,0 1,0 0,1 0,-2 0,1 1,-10-1,-2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3.880"/>
    </inkml:context>
    <inkml:brush xml:id="br0">
      <inkml:brushProperty name="width" value="0.05" units="cm"/>
      <inkml:brushProperty name="height" value="0.05" units="cm"/>
      <inkml:brushProperty name="color" value="#E71224"/>
      <inkml:brushProperty name="ignorePressure" value="1"/>
    </inkml:brush>
  </inkml:definitions>
  <inkml:trace contextRef="#ctx0" brushRef="#br0">328 0,'0'4,"0"3,0 5,-3 4,-5 5,-4 2,-3 5,-3 6,-4 5,-6 5,-1 2,-2 0,-2 2,0-1,0-2,-1-1,5-9</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5.099"/>
    </inkml:context>
    <inkml:brush xml:id="br0">
      <inkml:brushProperty name="width" value="0.05" units="cm"/>
      <inkml:brushProperty name="height" value="0.05" units="cm"/>
      <inkml:brushProperty name="color" value="#E71224"/>
      <inkml:brushProperty name="ignorePressure" value="1"/>
    </inkml:brush>
  </inkml:definitions>
  <inkml:trace contextRef="#ctx0" brushRef="#br0">266 0,'-22'13,"1"1,0 1,1 1,0 1,1 0,1 2,1 0,1 1,0 0,2 1,0 1,2 0,-15 36,25-54,1 0,0 0,-1 0,2 0,-1 0,0 0,1 0,0 0,0 0,0 1,1-1,-1 0,1 0,0 0,0 0,0 0,1 0,-1 0,1 0,4 6,-5-8,1 0,0 0,0 0,0 0,0 0,1 0,-1 0,0-1,1 1,-1-1,1 0,0 0,-1 0,1 0,0 0,-1 0,1-1,0 1,0-1,0 0,0 0,0 0,-1 0,1 0,0-1,0 1,0-1,-1 0,1 0,0 0,2-1,-3 1,-1 1,0-1,1 1,-1-1,0 1,0-1,1 0,-1 0,0 0,0 0,0 1,0-1,0-1,0 1,0 0,-1 0,1 0,0 0,-1-1,1 1,0 0,-1 0,0-1,1 1,-1-1,0 1,1 0,-1-1,0 1,0-1,0 1,0 0,-1-1,1 1,0-1,-1 1,1 0,-1-1,1 1,-1 0,-1-3,0 0,-1-1,-1 1,1-1,-1 1,1 0,-1 0,0 0,0 1,-7-5,-6-2</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012"/>
    </inkml:context>
    <inkml:brush xml:id="br0">
      <inkml:brushProperty name="width" value="0.05" units="cm"/>
      <inkml:brushProperty name="height" value="0.05" units="cm"/>
      <inkml:brushProperty name="color" value="#E71224"/>
      <inkml:brushProperty name="ignorePressure" value="1"/>
    </inkml:brush>
  </inkml:definitions>
  <inkml:trace contextRef="#ctx0" brushRef="#br0">116 14,'-5'1,"0"0,0 1,0-1,1 1,-1 0,1 0,-1 0,1 1,0-1,-1 1,1 0,1 1,-1-1,0 1,1-1,0 1,0 0,0 0,0 1,-2 4,1-2,0-1,1 1,-1-1,1 1,1 0,0 0,0 1,0-1,1 0,0 1,0-1,0 1,2 7,-1-12,1 0,0-1,-1 1,1 0,1-1,-1 1,0-1,0 0,1 1,-1-1,1 0,0 0,0 0,0 0,0 0,0 0,0-1,0 1,5 2,-2-2,0 0,0-1,0 1,0-1,0 0,0 0,1-1,-1 1,0-1,7-1,-6 1,0-1,0 1,0-1,0-1,-1 1,1-1,-1 0,1 0,-1-1,1 1,-1-1,0 0,-1-1,1 1,0-1,-1 0,0 0,0-1,6-8,-8 9,0 0,0 0,-1-1,1 1,-1 0,0-1,-1 0,1 1,-1-1,0 1,0-1,0 1,-1-1,1 0,-1 1,0-1,0 1,-1 0,0-1,1 1,-1 0,-4-5,1 2,0 0,0 1,-1 0,0 0,0 1,-1-1,1 1,-1 0,0 1,-1 0,-8-4,-1 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6:04:26.4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36 34,'-9'40,"8"-36,-1 0,1 0,0 0,0 0,0 0,1 0,-1 0,1 0,0 0,0 0,1 7,1-7,-1-1,0 1,1-1,0 1,0-1,0 0,0 0,0 0,1 0,0 0,-1 0,1-1,0 1,0-1,0 0,1 0,-1 0,5 2,-6-3,-1-1,1 1,-1-1,1 1,0-1,-1 1,1-1,0 0,-1 0,1 0,0 0,0 0,-1 0,1-1,0 1,-1-1,1 1,-1-1,1 1,0-1,-1 0,1 0,-1 0,0 0,1 0,-1 0,0 0,1 0,-1 0,0-1,0 1,0 0,0-1,0 1,-1-1,1 1,0-1,-1 1,1-1,-1 0,1 1,-1-3,1 0,0 0,0-1,-1 1,1 0,-1 0,0 0,0-1,-1 1,1 0,-1 0,0 0,0-1,0 1,-1 0,1 1,-1-1,0 0,0 0,0 1,-1-1,1 1,-5-5,0 2,1 0,-1 0,-1 1,1 0,-1 0,0 1,0 0,0 0,-12-3,4 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1:49.622"/>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29.804"/>
    </inkml:context>
    <inkml:brush xml:id="br0">
      <inkml:brushProperty name="width" value="0.025" units="cm"/>
      <inkml:brushProperty name="height" value="0.025" units="cm"/>
      <inkml:brushProperty name="ignorePressure" value="1"/>
    </inkml:brush>
  </inkml:definitions>
  <inkml:trace contextRef="#ctx0" brushRef="#br0">1 261,'289'-13,"-255"10,496-39,346-18,-462 32,103-2,-262 19,-92 2,91-9,105-2,-320 18,43-6,36-2,-16 11,-95-2,-11-2,-5-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037"/>
    </inkml:context>
    <inkml:brush xml:id="br0">
      <inkml:brushProperty name="width" value="0.025" units="cm"/>
      <inkml:brushProperty name="height" value="0.025" units="cm"/>
      <inkml:brushProperty name="ignorePressure" value="1"/>
    </inkml:brush>
  </inkml:definitions>
  <inkml:trace contextRef="#ctx0" brushRef="#br0">21 1,'2'0,"1"0,0-1,0 1,0 1,0-1,-1 0,1 1,0-1,0 1,-1 0,1 0,0 0,-1 0,1 0,-1 1,1-1,-1 1,0 0,0-1,0 1,0 0,0 0,3 4,-4-3,-1 0,1 0,-1 0,1 0,-1 0,0 0,0 0,0 0,-1 0,1 0,-1 0,0 0,1-1,-1 1,-1 0,1 0,0-1,-1 1,1 0,-1-1,0 1,-2 1,-25 27,24-27,0 0,1 1,0-1,0 1,0-1,1 1,-6 10,9-15,0 0,0 1,0-1,0 0,0 0,0 1,0-1,0 0,0 0,0 1,0-1,0 0,0 0,0 0,0 1,0-1,0 0,0 0,0 1,0-1,1 0,-1 0,0 0,0 1,0-1,0 0,1 0,-1 0,0 0,0 1,0-1,1 0,-1 0,0 0,0 0,1 0,-1 0,0 0,0 0,1 0,-1 0,17 1,15-5,29-11,-43 12</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088"/>
    </inkml:context>
    <inkml:brush xml:id="br0">
      <inkml:brushProperty name="width" value="0.025" units="cm"/>
      <inkml:brushProperty name="height" value="0.025" units="cm"/>
      <inkml:brushProperty name="ignorePressure" value="1"/>
    </inkml:brush>
  </inkml:definitions>
  <inkml:trace contextRef="#ctx0" brushRef="#br0">52 0,'0'3,"0"5,-4 0,0 3,-1 2,2 3,1 2,-3-3,0 0,0 1,2 0,-2 2,-1 0,1-2</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2.652"/>
    </inkml:context>
    <inkml:brush xml:id="br0">
      <inkml:brushProperty name="width" value="0.025" units="cm"/>
      <inkml:brushProperty name="height" value="0.025" units="cm"/>
      <inkml:brushProperty name="ignorePressure" value="1"/>
    </inkml:brush>
  </inkml:definitions>
  <inkml:trace contextRef="#ctx0" brushRef="#br0">1 1,'11'4,"0"1,0-2,1 1,-1-1,1-1,0 0,0-1,21-1,11-2,46-8,-7 0,101 7,-168 4</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3.536"/>
    </inkml:context>
    <inkml:brush xml:id="br0">
      <inkml:brushProperty name="width" value="0.025" units="cm"/>
      <inkml:brushProperty name="height" value="0.025" units="cm"/>
      <inkml:brushProperty name="ignorePressure" value="1"/>
    </inkml:brush>
  </inkml:definitions>
  <inkml:trace contextRef="#ctx0" brushRef="#br0">87 1,'15'0,"-5"-1,1 1,0 0,-1 1,1 0,17 5,-27-5,1-1,-1 1,1-1,-1 1,0 0,1 0,-1 0,0 0,1 0,-1 0,0 0,0 0,0 0,0 1,0-1,0 0,1 3,-1-1,-1-1,0 0,1 1,-1-1,0 0,0 1,0-1,-1 0,1 1,0-1,-1 0,0 0,1 0,-1 1,0-1,-1 2,-5 8,-1-1,1-1,-2 0,1 0,-1 0,-1-1,0 0,0-1,-1 0,-12 7,7-5,1 1,0 1,-22 24,36-36,1 1,-1-1,1 0,0 1,-1-1,1 0,0 1,0-1,-1 0,1 1,0-1,0 1,-1-1,1 1,0-1,0 1,0-1,0 1,0-1,0 0,0 1,0-1,0 1,0-1,0 1,0-1,0 1,0-1,0 1,0-1,1 1,-1-1,0 1,1 0,17 5,23-7,167-29,-187 27</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005"/>
    </inkml:context>
    <inkml:brush xml:id="br0">
      <inkml:brushProperty name="width" value="0.025" units="cm"/>
      <inkml:brushProperty name="height" value="0.025" units="cm"/>
      <inkml:brushProperty name="ignorePressure" value="1"/>
    </inkml:brush>
  </inkml:definitions>
  <inkml:trace contextRef="#ctx0" brushRef="#br0">19 4,'0'-3,"0"5,0 6,0 5,0 3,0 3,0 0,0 2,0-1,0 1,0-1,-4 0,0-1,-1 1,2-1,1-3</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318"/>
    </inkml:context>
    <inkml:brush xml:id="br0">
      <inkml:brushProperty name="width" value="0.025" units="cm"/>
      <inkml:brushProperty name="height" value="0.025" units="cm"/>
      <inkml:brushProperty name="ignorePressure" value="1"/>
    </inkml:brush>
  </inkml:definitions>
  <inkml:trace contextRef="#ctx0" brushRef="#br0">0 12,'10'0,"6"0,4 0,2 0,1 0,-1 0,-1 0,0 0,-1-3,0-2,-4 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5.933"/>
    </inkml:context>
    <inkml:brush xml:id="br0">
      <inkml:brushProperty name="width" value="0.025" units="cm"/>
      <inkml:brushProperty name="height" value="0.025" units="cm"/>
      <inkml:brushProperty name="ignorePressure" value="1"/>
    </inkml:brush>
  </inkml:definitions>
  <inkml:trace contextRef="#ctx0" brushRef="#br0">18 1,'5'11,"-1"0,0 0,-1 0,0 1,-1 0,0 0,-1-1,0 1,-2 24,-4 7,-14 60,4-19,12-67</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389"/>
    </inkml:context>
    <inkml:brush xml:id="br0">
      <inkml:brushProperty name="width" value="0.025" units="cm"/>
      <inkml:brushProperty name="height" value="0.025" units="cm"/>
      <inkml:brushProperty name="ignorePressure" value="1"/>
    </inkml:brush>
  </inkml:definitions>
  <inkml:trace contextRef="#ctx0" brushRef="#br0">0 39,'240'-9,"7"-1,-107 0,-8 0,-115 1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6.980"/>
    </inkml:context>
    <inkml:brush xml:id="br0">
      <inkml:brushProperty name="width" value="0.025" units="cm"/>
      <inkml:brushProperty name="height" value="0.025" units="cm"/>
      <inkml:brushProperty name="ignorePressure" value="1"/>
    </inkml:brush>
  </inkml:definitions>
  <inkml:trace contextRef="#ctx0" brushRef="#br0">145 1,'-132'122,"131"-122,0 1,0 0,0-1,1 1,-1 0,0 0,0 0,1 0,-1 0,0-1,1 1,-1 1,1-1,-1 0,1 0,0 0,-1 0,1 0,0 0,0 0,0 0,0 1,0-1,0 0,0 0,0 0,0 2,1-2,0 0,1 1,-1-1,0 0,0 0,0 0,1 0,-1 0,1 0,-1 0,1 0,-1-1,1 1,-1 0,4 0,7 2,0-1,0 0,22 0,12-2,174-3,-202 0,-1-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7.736"/>
    </inkml:context>
    <inkml:brush xml:id="br0">
      <inkml:brushProperty name="width" value="0.025" units="cm"/>
      <inkml:brushProperty name="height" value="0.025" units="cm"/>
      <inkml:brushProperty name="ignorePressure" value="1"/>
    </inkml:brush>
  </inkml:definitions>
  <inkml:trace contextRef="#ctx0" brushRef="#br0">104 1,'-2'9,"0"0,0 0,-1 0,-1-1,-6 14,-11 30,1 34,-13 39,27-107</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8.679"/>
    </inkml:context>
    <inkml:brush xml:id="br0">
      <inkml:brushProperty name="width" value="0.025" units="cm"/>
      <inkml:brushProperty name="height" value="0.025" units="cm"/>
      <inkml:brushProperty name="ignorePressure" value="1"/>
    </inkml:brush>
  </inkml:definitions>
  <inkml:trace contextRef="#ctx0" brushRef="#br0">18 1,'0'7,"0"5,0 4,0 2,0 2,0 1,0 0,-3-1,-1 1,-1-2,2 1,0-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6:54.598"/>
    </inkml:context>
    <inkml:brush xml:id="br0">
      <inkml:brushProperty name="width" value="0.025" units="cm"/>
      <inkml:brushProperty name="height" value="0.025" units="cm"/>
      <inkml:brushProperty name="ignorePressure" value="1"/>
    </inkml:brush>
  </inkml:definitions>
  <inkml:trace contextRef="#ctx0" brushRef="#br0">53 0,'-4'3,"1"-1,-1 1,1 0,0 0,-1 0,1 0,1 0,-1 1,0-1,1 1,0 0,0 0,0 0,0 0,1 0,0 0,-2 7,3-9,-1 0,1-1,-1 1,1 0,0 0,0 0,0-1,0 1,0 0,0 0,1 0,-1-1,1 1,-1 0,1-1,-1 1,1 0,0-1,0 1,0-1,0 1,0-1,0 1,0-1,1 0,-1 1,0-1,1 0,-1 0,1 0,-1 0,1 0,0-1,-1 1,1 0,0-1,-1 1,1-1,0 0,0 1,0-1,-1 0,3 0,-2 0,0 0,-1 0,1 0,-1 0,1-1,-1 1,1 0,0-1,-1 1,1-1,-1 1,0-1,1 0,-1 0,1 0,-1 0,0 1,0-2,0 1,1 0,-1 0,0 0,0 0,-1-1,1 1,0-1,0 1,-1 0,1-1,0 1,-1-1,0 0,1 1,-1-1,0 1,0-1,0 1,0-1,0-3,0 2,0 1,-1-1,1 0,-1 0,0 0,1 0,-1 1,0-1,-1 0,1 1,0-1,-1 1,0 0,1-1,-1 1,0 0,0 0,0 0,0 0,-1 0,1 1,-3-3,-31-4,19 7</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39.116"/>
    </inkml:context>
    <inkml:brush xml:id="br0">
      <inkml:brushProperty name="width" value="0.025" units="cm"/>
      <inkml:brushProperty name="height" value="0.025" units="cm"/>
      <inkml:brushProperty name="ignorePressure" value="1"/>
    </inkml:brush>
  </inkml:definitions>
  <inkml:trace contextRef="#ctx0" brushRef="#br0">0 20,'7'-3,"5"-2,4 1,3 1,1 0,1 2,-4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048"/>
    </inkml:context>
    <inkml:brush xml:id="br0">
      <inkml:brushProperty name="width" value="0.025" units="cm"/>
      <inkml:brushProperty name="height" value="0.025" units="cm"/>
      <inkml:brushProperty name="ignorePressure" value="1"/>
    </inkml:brush>
  </inkml:definitions>
  <inkml:trace contextRef="#ctx0" brushRef="#br0">55 0,'-3'7,"-1"5,0 4,0 3,2 1,-3-3,0 0,1-1,0 1,2 0,-3 2,0-1,1 2,0-4</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2:41.696"/>
    </inkml:context>
    <inkml:brush xml:id="br0">
      <inkml:brushProperty name="width" value="0.025" units="cm"/>
      <inkml:brushProperty name="height" value="0.025" units="cm"/>
      <inkml:brushProperty name="ignorePressure" value="1"/>
    </inkml:brush>
  </inkml:definitions>
  <inkml:trace contextRef="#ctx0" brushRef="#br0">1 23,'562'-15,"-529"12,-9 0,1 2,0 0,0 1,40 7,-48-3</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3.655"/>
    </inkml:context>
    <inkml:brush xml:id="br0">
      <inkml:brushProperty name="width" value="0.025" units="cm"/>
      <inkml:brushProperty name="height" value="0.025" units="cm"/>
      <inkml:brushProperty name="ignorePressure" value="1"/>
    </inkml:brush>
  </inkml:definitions>
  <inkml:trace contextRef="#ctx0" brushRef="#br0">152 16,'-5'-1,"0"0,0 0,0 0,-1 1,1 0,0 0,0 0,-1 0,1 1,0 0,0 0,0 1,0-1,0 1,0 0,0 1,-6 3,8-5,-1 1,1-1,0 1,0 0,0 0,0 0,0 0,1 1,-1-1,1 1,-1-1,1 1,0 0,0 0,0 0,0 0,1 0,-1 1,1-1,0 0,0 1,0-1,0 1,1-1,-1 1,1 3,1-5,0 0,0 0,0 0,0 0,0-1,0 1,0 0,1-1,-1 1,0-1,1 1,0-1,-1 0,1 0,0 0,0 0,-1 0,1 0,0 0,0 0,2 0,51 11,-33-8,-14-2,-1 0,0 0,0 1,0 0,0 0,0 0,-1 1,1 0,-1 0,10 10,-14-12,-1 0,1 0,-1 0,0 1,1-1,-1 0,0 1,0-1,-1 1,1-1,0 1,-1-1,1 1,-1-1,0 1,0 0,0-1,0 1,-1-1,1 1,-1 0,1-1,-1 1,0-1,0 0,0 1,0-1,-1 0,1 1,-1-1,1 0,-1 0,-3 3,1 0,-1-1,1 0,-1 0,0 0,0-1,0 1,0-1,0-1,-7 4,11-6,0 1,0-1,-1 1,1-1,0 0,0 1,0-1,0 0,0 0,0 0,-1 0,1 0,0 0,0 0,0 0,0 0,0 0,-1-1,1 1,0 0,0-1,0 1,0-1,0 1,0-1,0 0,0 1,0-1,1 0,-1 0,0 0,0 0,1 1,-1-1,0 0,1 0,-1 0,1 0,-1-1,1 1,-1 0,1 0,0 0,0 0,0 0,-1 0,1-1,0 1,1 0,-1 0,0 0,0 0,1-3,1-4,0 1,1-1,0 0,0 1,1-1,0 1,1 0,-1 0,1 1,0-1,11-9,-7 6,-1 1,0-1,-1 0,0-1,10-21,-16 29,-1 1,1-1,0 0,-1 0,1 0,-1 0,0 0,0 0,0 0,-1 0,1 0,-1 0,0 0,1 0,-1 1,0-1,-1 0,1 0,0 1,-1-1,0 1,1-1,-1 1,0 0,0 0,0 0,-1 0,1 0,-3-2,-1 1,1-1,-1 1,0 0,-1 1,1-1,0 1,-9-1,6 0,-8-1</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4.549"/>
    </inkml:context>
    <inkml:brush xml:id="br0">
      <inkml:brushProperty name="width" value="0.025" units="cm"/>
      <inkml:brushProperty name="height" value="0.025" units="cm"/>
      <inkml:brushProperty name="ignorePressure" value="1"/>
    </inkml:brush>
  </inkml:definitions>
  <inkml:trace contextRef="#ctx0" brushRef="#br0">9 4,'0'-3,"0"5,0 9,0 6,0 4,0 1,0 0,0 0,0-1,0 0,0-1,-3-4,-1-1,3 1,2-4</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049"/>
    </inkml:context>
    <inkml:brush xml:id="br0">
      <inkml:brushProperty name="width" value="0.025" units="cm"/>
      <inkml:brushProperty name="height" value="0.025" units="cm"/>
      <inkml:brushProperty name="ignorePressure" value="1"/>
    </inkml:brush>
  </inkml:definitions>
  <inkml:trace contextRef="#ctx0" brushRef="#br0">0 1,'7'0,"5"0,7 0,4 0,1 0,0 0,-1 0,2 0,1 0,2 0,-1 0,2 0,0 0,-3 0,-4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5.764"/>
    </inkml:context>
    <inkml:brush xml:id="br0">
      <inkml:brushProperty name="width" value="0.025" units="cm"/>
      <inkml:brushProperty name="height" value="0.025" units="cm"/>
      <inkml:brushProperty name="ignorePressure" value="1"/>
    </inkml:brush>
  </inkml:definitions>
  <inkml:trace contextRef="#ctx0" brushRef="#br0">59 0,'-3'5,"0"0,0 0,1 0,-1 1,1-1,1 1,-1-1,1 1,0 0,0-1,0 1,1 0,0 0,1 9,-3 28,-9 11,-11 70,20-109</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6.253"/>
    </inkml:context>
    <inkml:brush xml:id="br0">
      <inkml:brushProperty name="width" value="0.025" units="cm"/>
      <inkml:brushProperty name="height" value="0.025" units="cm"/>
      <inkml:brushProperty name="ignorePressure" value="1"/>
    </inkml:brush>
  </inkml:definitions>
  <inkml:trace contextRef="#ctx0" brushRef="#br0">1 78,'52'-3,"76"-13,2 0,260-25,-372 4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7.484"/>
    </inkml:context>
    <inkml:brush xml:id="br0">
      <inkml:brushProperty name="width" value="0.025" units="cm"/>
      <inkml:brushProperty name="height" value="0.025" units="cm"/>
      <inkml:brushProperty name="ignorePressure" value="1"/>
    </inkml:brush>
  </inkml:definitions>
  <inkml:trace contextRef="#ctx0" brushRef="#br0">261 35,'1'-1,"0"-1,0 1,0 0,0-1,0 1,1 0,-1 0,0 0,1 0,-1 0,1 0,-1 0,1 0,0 1,-1-1,1 0,0 1,-1 0,1-1,0 1,0 0,-1 0,4 0,21-8,-28 3,-10 3,-12 1,10 4,-1 0,0 0,1 2,0 0,0 0,1 2,-1-1,1 2,1 0,-1 0,-20 20,32-27,1-1,-1 1,1 0,-1-1,1 1,0 0,-1 0,1-1,0 1,0 0,0 0,0 0,-1 0,1-1,0 1,0 0,1 0,-1 0,0-1,0 1,0 0,0 0,1 0,-1-1,0 1,1 0,-1 0,1-1,-1 1,1 0,-1-1,1 1,-1-1,1 1,0 0,-1-1,1 1,0-1,-1 0,2 1,38 22,-23-15,-15-7,0 0,0 0,0 1,0-1,-1 0,1 0,0 1,-1-1,0 1,1 0,-1-1,0 1,0 0,1 0,-1 0,-1 0,1-1,0 2,0-1,-1 0,1 0,-1 0,0 3,0-3,-1 0,0 1,0-1,0 0,0 0,0 0,0 0,0 0,-1 0,1 0,-1 0,0-1,1 1,-1-1,0 1,0-1,-3 2,-5 3,-1 0,1-1,-2 0,1-1,0 0,-1-1,-13 2,-21-2,25-2</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18.112"/>
    </inkml:context>
    <inkml:brush xml:id="br0">
      <inkml:brushProperty name="width" value="0.025" units="cm"/>
      <inkml:brushProperty name="height" value="0.025" units="cm"/>
      <inkml:brushProperty name="ignorePressure" value="1"/>
    </inkml:brush>
  </inkml:definitions>
  <inkml:trace contextRef="#ctx0" brushRef="#br0">78 37,'-1'-1,"1"1,-1 0,1-1,-1 1,1 0,-1-1,1 1,-1 0,1 0,-1-1,1 1,-1 0,1 0,-1 0,0 0,1 0,-1 0,1 0,-1 0,1 0,-1 0,0 0,1 0,-1 0,1 1,-1-1,1 0,-1 0,1 0,-1 1,1-1,-1 0,1 1,-1-1,1 1,-1-1,1 0,0 1,-1 0,-24 14,23-13,-1 0,1 1,-1-1,1 1,0-1,0 1,0 0,0-1,0 1,1 0,-1 0,1 0,0 1,0-1,0 0,0 0,0 1,1-1,0 0,-1 1,1-1,0 0,1 1,-1-1,1 1,-1-1,1 0,0 0,0 0,1 1,-1-1,1 0,-1 0,1-1,3 5,-2-3,0 0,0 0,0-1,1 0,-1 1,1-1,0-1,0 1,0 0,0-1,0 0,1 0,-1 0,1-1,-1 1,1-1,0 0,-1-1,1 1,0-1,0 0,-1 0,1 0,0 0,5-2,-6 1,-1 0,1 0,-1 0,0-1,1 1,-1-1,0 0,0 0,0 0,0 0,-1 0,1-1,-1 1,1-1,-1 1,0-1,0 0,0 0,0 0,0 0,-1-1,0 1,1 0,-1-1,0 1,0-6,0 4,-1 0,0 0,-1 0,1 1,-1-1,0 0,0 0,-1 1,1-1,-1 0,0 1,0 0,-1-1,1 1,-1 0,0 0,0 0,-6-5,3 4,-1-1,0 2,0-1,0 1,0 0,-1 0,1 1,-1 0,0 1,0 0,-10-2,0 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7:22.645"/>
    </inkml:context>
    <inkml:brush xml:id="br0">
      <inkml:brushProperty name="width" value="0.025" units="cm"/>
      <inkml:brushProperty name="height" value="0.025" units="cm"/>
      <inkml:brushProperty name="ignorePressure" value="1"/>
    </inkml:brush>
  </inkml:definitions>
  <inkml:trace contextRef="#ctx0" brushRef="#br0">18 1,'0'3,"-3"4,-1 5,-1 4,2 1,0-1</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105"/>
    </inkml:context>
    <inkml:brush xml:id="br0">
      <inkml:brushProperty name="width" value="0.025" units="cm"/>
      <inkml:brushProperty name="height" value="0.025" units="cm"/>
      <inkml:brushProperty name="ignorePressure" value="1"/>
    </inkml:brush>
  </inkml:definitions>
  <inkml:trace contextRef="#ctx0" brushRef="#br0">211 0,'-2'1,"-1"0,0 1,1-1,0 1,-1 0,1-1,0 1,0 0,0 0,0 0,0 1,-3 3,-4 5,-24 19,0 0,-58 68,90-97,0 1,0-1,0 0,0 1,0-1,0 1,0-1,0 1,1-1,-1 1,1-1,-1 1,1 0,-1-1,1 1,0 0,0-1,0 1,0 0,0-1,0 1,1 2,0-3,0 1,0-1,0 0,0 0,0 0,1 1,-1-1,0 0,0 0,1-1,-1 1,1 0,-1 0,1-1,-1 1,1-1,0 1,2-1,11 2,0 0,0-1,30-3,-33 2,103 0,44-3,-142 0,-5-1</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0.891"/>
    </inkml:context>
    <inkml:brush xml:id="br0">
      <inkml:brushProperty name="width" value="0.025" units="cm"/>
      <inkml:brushProperty name="height" value="0.025" units="cm"/>
      <inkml:brushProperty name="ignorePressure" value="1"/>
    </inkml:brush>
  </inkml:definitions>
  <inkml:trace contextRef="#ctx0" brushRef="#br0">32 0,'0'3,"0"5,0 4,0 3,0 2,0 3,0 0,0 0,-3 0,-1 0,-1 0,2 0,0-1,2 1,-3-4,-1-1,1-3</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2.637"/>
    </inkml:context>
    <inkml:brush xml:id="br0">
      <inkml:brushProperty name="width" value="0.025" units="cm"/>
      <inkml:brushProperty name="height" value="0.025" units="cm"/>
      <inkml:brushProperty name="ignorePressure" value="1"/>
    </inkml:brush>
  </inkml:definitions>
  <inkml:trace contextRef="#ctx0" brushRef="#br0">1 0,'3'7,"1"5,1 4,-2 3,-4-2,-2-1,0 0,0 2,0-4</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452"/>
    </inkml:context>
    <inkml:brush xml:id="br0">
      <inkml:brushProperty name="width" value="0.025" units="cm"/>
      <inkml:brushProperty name="height" value="0.025" units="cm"/>
      <inkml:brushProperty name="ignorePressure" value="1"/>
    </inkml:brush>
  </inkml:definitions>
  <inkml:trace contextRef="#ctx0" brushRef="#br0">0 0,'4'0,"4"0,7 0,1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4.788"/>
    </inkml:context>
    <inkml:brush xml:id="br0">
      <inkml:brushProperty name="width" value="0.025" units="cm"/>
      <inkml:brushProperty name="height" value="0.025" units="cm"/>
      <inkml:brushProperty name="ignorePressure" value="1"/>
    </inkml:brush>
  </inkml:definitions>
  <inkml:trace contextRef="#ctx0" brushRef="#br0">0 1,'7'0,"8"0,6 0,2 0,0 0,0 0,-1 0,0 0,-2 0,0 0,-4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6.638"/>
    </inkml:context>
    <inkml:brush xml:id="br0">
      <inkml:brushProperty name="width" value="0.025" units="cm"/>
      <inkml:brushProperty name="height" value="0.025" units="cm"/>
      <inkml:brushProperty name="ignorePressure" value="1"/>
    </inkml:brush>
  </inkml:definitions>
  <inkml:trace contextRef="#ctx0" brushRef="#br0">0 59,'0'-4,"0"-3,4-2,4 2,4 1,3 2,2-2,2 1,1 0,1 2,-5 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8.614"/>
    </inkml:context>
    <inkml:brush xml:id="br0">
      <inkml:brushProperty name="width" value="0.025" units="cm"/>
      <inkml:brushProperty name="height" value="0.025" units="cm"/>
      <inkml:brushProperty name="ignorePressure" value="1"/>
    </inkml:brush>
  </inkml:definitions>
  <inkml:trace contextRef="#ctx0" brushRef="#br0">398 0,'-182'165,"62"-61,85-77,28-23,0 1,1 0,-1 0,1 1,0 0,0 0,-6 8,12-13,0-1,-1 1,1 0,-1 0,1-1,0 1,0 0,-1 0,1 0,0 0,0-1,0 1,0 0,0 0,0 0,0 0,0 0,0-1,0 1,1 0,-1 0,0 0,1-1,-1 1,0 0,1 0,-1-1,2 2,23 14,36-1,87-5,-30-3,79 1,-179-8</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39.232"/>
    </inkml:context>
    <inkml:brush xml:id="br0">
      <inkml:brushProperty name="width" value="0.025" units="cm"/>
      <inkml:brushProperty name="height" value="0.025" units="cm"/>
      <inkml:brushProperty name="ignorePressure" value="1"/>
    </inkml:brush>
  </inkml:definitions>
  <inkml:trace contextRef="#ctx0" brushRef="#br0">214 1,'-115'309,"59"-142,43-131,-14 59,25-81</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0.362"/>
    </inkml:context>
    <inkml:brush xml:id="br0">
      <inkml:brushProperty name="width" value="0.025" units="cm"/>
      <inkml:brushProperty name="height" value="0.025" units="cm"/>
      <inkml:brushProperty name="ignorePressure" value="1"/>
    </inkml:brush>
  </inkml:definitions>
  <inkml:trace contextRef="#ctx0" brushRef="#br0">1 235,'277'-20,"-77"2,712-37,199-11,259 31,-1114 25,3 0,263 11,-442-12,-6 1,-57 1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2.830"/>
    </inkml:context>
    <inkml:brush xml:id="br0">
      <inkml:brushProperty name="width" value="0.025" units="cm"/>
      <inkml:brushProperty name="height" value="0.025" units="cm"/>
      <inkml:brushProperty name="ignorePressure" value="1"/>
    </inkml:brush>
  </inkml:definitions>
  <inkml:trace contextRef="#ctx0" brushRef="#br0">131 1,'-8'2,"1"1,0 0,0 1,0-1,0 2,1-1,0 1,0-1,0 2,-7 7,8-7,0 0,0 0,0 0,1 1,0 0,1 0,-1 0,1 0,1 0,-1 1,1-1,0 1,0 11,1-16,1 1,0-1,0 0,0 0,1 0,-1 0,1 0,-1 0,1 0,0 0,0 0,1 0,-1 0,0 0,1-1,0 1,0 0,0-1,0 0,0 1,0-1,0 0,1 0,-1 0,1 0,0-1,-1 1,1-1,0 0,0 1,0-1,0-1,0 1,0 0,6 0,-3 0,0-1,-1 0,1 0,0 0,0-1,0 0,-1 0,1 0,0-1,-1 1,1-1,-1-1,0 1,8-6,-11 7,0-1,1 1,-1-1,-1 0,1 0,0 0,0 0,-1 0,1 0,-1 0,0 0,1-1,-1 1,0-1,0 1,-1-1,1 1,-1-1,1 1,-1-1,0 0,0 1,0-1,0 1,0-1,0 0,-1 1,1-1,-1 1,0-1,0 1,0-1,0 1,-2-3,1 2,0 0,0 0,-1 0,1 0,-1 0,1 1,-1-1,0 1,0 0,0 0,0 0,-1 0,1 1,-1-1,1 1,-1 0,1 0,-1 0,-5-1,-8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8.773"/>
    </inkml:context>
    <inkml:brush xml:id="br0">
      <inkml:brushProperty name="width" value="0.025" units="cm"/>
      <inkml:brushProperty name="height" value="0.025" units="cm"/>
      <inkml:brushProperty name="ignorePressure" value="1"/>
    </inkml:brush>
  </inkml:definitions>
  <inkml:trace contextRef="#ctx0" brushRef="#br0">35 1,'4'2,"1"1,-1-1,0 0,1-1,0 1,-1-1,7 1,-3 0,0 0,0 0,-1 1,1 0,9 5,-16-7,0 0,0-1,0 1,0 0,0 0,0 0,-1 0,1 0,0 0,-1 0,1 0,0 0,-1 0,1 0,-1 0,0 0,1 0,-1 0,0 1,0-1,0 0,1 0,-1 0,0 1,-1-1,1 0,0 0,0 0,0 1,-1-1,1 0,-1 0,1 0,-1 0,1 0,-1 0,0 0,1 0,-1 0,-1 1,-1 1,0 1,0-1,-1 0,1 0,-1-1,1 1,-1-1,0 1,-6 1,6-2,1 0,-1 0,0 0,1 0,-1 1,1 0,-6 5,48 8,-38-16,1 1,0 0,-1 0,1 0,-1 0,0 0,1 0,-1 0,0 0,0 0,1 1,-1-1,0 0,0 1,-1-1,1 1,0 0,0-1,-1 1,1-1,-1 1,1 0,-1 0,0-1,0 1,1 0,-1-1,0 1,-1 0,1 0,0-1,0 1,-1 0,1-1,-1 1,0 0,1-1,-1 1,0-1,0 1,0-1,0 1,0-1,0 0,-3 2,0 1,-1 0,1 0,-1-1,0 0,0 0,-1 0,1-1,-1 1,1-1,-1-1,0 1,-8 0,-5 0,1-2</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3.681"/>
    </inkml:context>
    <inkml:brush xml:id="br0">
      <inkml:brushProperty name="width" value="0.025" units="cm"/>
      <inkml:brushProperty name="height" value="0.025" units="cm"/>
      <inkml:brushProperty name="ignorePressure" value="1"/>
    </inkml:brush>
  </inkml:definitions>
  <inkml:trace contextRef="#ctx0" brushRef="#br0">8 0,'-3'0,"-2"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4.560"/>
    </inkml:context>
    <inkml:brush xml:id="br0">
      <inkml:brushProperty name="width" value="0.025" units="cm"/>
      <inkml:brushProperty name="height" value="0.025" units="cm"/>
      <inkml:brushProperty name="ignorePressure" value="1"/>
    </inkml:brush>
  </inkml:definitions>
  <inkml:trace contextRef="#ctx0" brushRef="#br0">131 2,'0'-1,"1"1,-1 0,0 0,0 0,1 0,-1 0,0 0,1 0,-1 0,0 0,1 0,-1 0,0 0,1 0,-1 0,0 0,0 0,1 0,-1 0,0 0,1 0,-1 0,0 1,0-1,1 0,-1 0,0 0,0 0,1 1,-1-1,0 0,0 0,0 1,1-1,-1 0,0 0,0 1,0-1,0 0,0 0,0 1,1-1,-1 0,0 1,0-1,0 1,-12 12,-22 10,27-19,-1 0,1 1,0-1,1 2,-1-1,1 1,-7 7,13-11,-1-1,0 0,0 1,1-1,-1 0,1 1,-1-1,1 1,-1-1,1 0,0 1,0-1,0 1,0-1,0 1,0-1,0 1,1 2,0-2,0 1,0-1,0 1,1-1,0 0,-1 0,1 0,0 1,0-2,0 1,0 0,0 0,4 2,17 10,25 18,-45-31,-1 1,0 0,0 0,1 0,-1 0,-1 1,1-1,0 1,-1-1,1 1,-1-1,1 1,-1 0,1 4,-2-5,0 0,-1 0,1 0,-1 0,1 0,-1 0,0 0,1-1,-1 1,0 0,0 0,0-1,-1 1,1 0,0-1,-1 1,1-1,-1 0,1 1,-1-1,0 0,1 0,-1 0,0 0,0 0,0-1,0 1,0 0,0-1,0 0,-2 1,-9 2,0 0,-1 0,-15 0,6-2,2-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5.377"/>
    </inkml:context>
    <inkml:brush xml:id="br0">
      <inkml:brushProperty name="width" value="0.025" units="cm"/>
      <inkml:brushProperty name="height" value="0.025" units="cm"/>
      <inkml:brushProperty name="ignorePressure" value="1"/>
    </inkml:brush>
  </inkml:definitions>
  <inkml:trace contextRef="#ctx0" brushRef="#br0">0 21,'10'0,"7"0,3 0,-1-3,-1-1,0-1,0 2,1 0,3 2,1 0,-3 1</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6.829"/>
    </inkml:context>
    <inkml:brush xml:id="br0">
      <inkml:brushProperty name="width" value="0.025" units="cm"/>
      <inkml:brushProperty name="height" value="0.025" units="cm"/>
      <inkml:brushProperty name="ignorePressure" value="1"/>
    </inkml:brush>
  </inkml:definitions>
  <inkml:trace contextRef="#ctx0" brushRef="#br0">78 1,'-3'6,"-2"6,1 5,1 1,-3 2,0 1,1 0,1-1,-2-3,1-1,0-1,2 1,-3 1,0 1,2 1,0 0,2-3</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244"/>
    </inkml:context>
    <inkml:brush xml:id="br0">
      <inkml:brushProperty name="width" value="0.025" units="cm"/>
      <inkml:brushProperty name="height" value="0.025" units="cm"/>
      <inkml:brushProperty name="ignorePressure" value="1"/>
    </inkml:brush>
  </inkml:definitions>
  <inkml:trace contextRef="#ctx0" brushRef="#br0">1 1,'6'0,"6"0,5 0,1 0,2 0,1 0,-1 0,1 0,-1 0,0 0,0 0,0 0,-4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7.987"/>
    </inkml:context>
    <inkml:brush xml:id="br0">
      <inkml:brushProperty name="width" value="0.025" units="cm"/>
      <inkml:brushProperty name="height" value="0.025" units="cm"/>
      <inkml:brushProperty name="ignorePressure" value="1"/>
    </inkml:brush>
  </inkml:definitions>
  <inkml:trace contextRef="#ctx0" brushRef="#br0">58 29,'-6'7,"0"0,1 0,-1 1,1 0,1 0,0 0,0 0,0 1,1-1,1 1,-1 0,2 0,-1 0,1 1,0 10,1-16,0 0,0 0,0 0,1 0,-1 0,1 0,0 0,0 0,1-1,-1 1,1 0,0-1,0 1,0-1,0 0,1 0,-1 1,1-2,0 1,-1 0,2 0,-1-1,0 0,0 0,1 1,-1-2,1 1,0 0,-1-1,1 0,0 0,0 0,0 0,0-1,0 1,4-1,-2 0,0 1,1-1,-1-1,0 1,0-1,1 0,-1 0,0-1,0 0,0 0,-1-1,1 1,0-1,-1 0,7-6,-8 6,0-1,-1 0,1 0,-1 0,0-1,0 1,-1-1,1 1,-1-1,0 0,0 0,-1 0,0 0,0-1,0 1,0 0,-1 0,0-8,1 6,-1 0,-1 0,0 0,0 1,0-1,0 0,-1 0,0 1,-1-1,0 1,0-1,0 1,-1 0,1 0,-1 1,-1-1,1 1,-1 0,-11-9,1 3</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8.325"/>
    </inkml:context>
    <inkml:brush xml:id="br0">
      <inkml:brushProperty name="width" value="0.025" units="cm"/>
      <inkml:brushProperty name="height" value="0.025" units="cm"/>
      <inkml:brushProperty name="ignorePressure" value="1"/>
    </inkml:brush>
  </inkml:definitions>
  <inkml:trace contextRef="#ctx0" brushRef="#br0">1 1,'0'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49.107"/>
    </inkml:context>
    <inkml:brush xml:id="br0">
      <inkml:brushProperty name="width" value="0.025" units="cm"/>
      <inkml:brushProperty name="height" value="0.025" units="cm"/>
      <inkml:brushProperty name="ignorePressure" value="1"/>
    </inkml:brush>
  </inkml:definitions>
  <inkml:trace contextRef="#ctx0" brushRef="#br0">26 29,'2'-3,"0"1,1-1,0 1,-1 0,1 0,0 0,0 0,0 1,0-1,0 1,0-1,1 1,-1 0,0 0,1 1,-1-1,1 1,-1 0,0 0,1 0,-1 0,1 0,-1 1,1-1,-1 1,0 0,1 0,-1 1,0-1,0 0,0 1,0 0,0 0,0 0,-1 0,1 0,0 1,-1-1,0 1,0-1,0 1,0 0,0 0,0 0,-1 0,1 0,-1 1,0-1,0 0,0 1,0-1,-1 0,0 1,1-1,-1 1,0-1,-1 1,1-1,0 0,-1 1,0-1,0 0,0 1,0-1,-3 4,-1 2,0 0,-1 0,0-1,-1 0,1 0,-2 0,1-1,-1 0,0 0,-10 5,7-4,0 1,0 0,1 0,-14 18,24-27,0 1,-1-1,1 1,-1 0,1-1,0 1,-1-1,1 1,0 0,0-1,-1 1,1 0,0-1,0 1,0 0,0-1,0 1,0 0,0 0,0-1,0 1,0 0,1-1,-1 1,0 0,0-1,1 1,-1 0,0-1,1 2,21 11,32-1,-41-11,1-1,-1-1,0 0,1 0,13-5,38-3,-48 9</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153"/>
    </inkml:context>
    <inkml:brush xml:id="br0">
      <inkml:brushProperty name="width" value="0.025" units="cm"/>
      <inkml:brushProperty name="height" value="0.025" units="cm"/>
      <inkml:brushProperty name="ignorePressure" value="1"/>
    </inkml:brush>
  </inkml:definitions>
  <inkml:trace contextRef="#ctx0" brushRef="#br0">250 1,'22'8,"-8"0,-37 3,-26 4,32-12,0 2,1 0,0 1,0 0,0 2,1 0,0 0,-27 22,41-30,0 1,1 0,-1-1,1 1,-1 0,1 0,-1-1,1 1,0 0,-1 0,1 0,0 0,0 0,-1-1,1 1,0 0,0 0,0 0,0 0,0 0,0 0,1 0,-1 0,0 0,0-1,1 1,-1 0,0 0,1 0,-1 0,1-1,-1 1,1 0,-1 0,1-1,0 1,-1 0,1-1,0 1,-1-1,1 1,0-1,0 1,0-1,-1 0,1 1,1-1,55 27,-38-20,-15-5,0 0,0 1,0-1,0 1,-1 0,1 0,-1 0,0 0,0 1,0-1,0 1,2 4,-4-7,-1 1,1-1,-1 1,0 0,0-1,0 1,0 0,0-1,0 1,0 0,0-1,0 1,-1 0,1-1,-1 1,0-1,1 1,-1-1,0 1,0-1,0 1,0-1,0 0,0 0,0 1,0-1,0 0,-1 0,1 0,0 0,-1 0,1-1,-1 1,1 0,-1-1,-1 1,-8 4,1 0,-1-1,0 0,-1-1,1 0,0-1,-1-1,0 1,-20-2,15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660"/>
    </inkml:context>
    <inkml:brush xml:id="br0">
      <inkml:brushProperty name="width" value="0.025" units="cm"/>
      <inkml:brushProperty name="height" value="0.025" units="cm"/>
      <inkml:brushProperty name="ignorePressure" value="1"/>
    </inkml:brush>
  </inkml:definitions>
  <inkml:trace contextRef="#ctx0" brushRef="#br0">56 1,'0'3,"-3"5,-2 4,1 3,1 2,1 2,-3-2,0-1,0 0,2 1,0 0,-1 1,-1 1,0 0,2-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09.737"/>
    </inkml:context>
    <inkml:brush xml:id="br0">
      <inkml:brushProperty name="width" value="0.025" units="cm"/>
      <inkml:brushProperty name="height" value="0.025" units="cm"/>
      <inkml:brushProperty name="ignorePressure" value="1"/>
    </inkml:brush>
  </inkml:definitions>
  <inkml:trace contextRef="#ctx0" brushRef="#br0">56 5,'-4'2,"0"1,0 0,0 0,0 0,1 1,0-1,-1 1,1 0,0-1,1 2,-1-1,1 0,0 0,0 1,0-1,1 1,-2 7,2-10,1 0,-1 0,1 0,0 0,0 1,0-1,0 0,0 0,1 0,-1 0,1 0,-1 0,1 0,0 0,-1 0,1 0,0 0,0 0,1 0,-1-1,0 1,1 0,-1-1,1 1,-1-1,1 0,0 1,-1-1,1 0,0 0,0 0,0 0,0-1,0 1,0 0,0-1,0 1,0-1,0 0,0 0,3 0,0 0,0 0,1-1,-1 0,0 0,0 0,0-1,0 1,0-1,0-1,0 1,-1-1,1 1,-1-1,1-1,4-4,-6 6,-1 1,0-1,0 0,0 0,0 0,0 0,-1-1,1 1,-1 0,1-1,-1 1,0-1,0 1,0-1,0 0,0 1,-1-1,1 0,-1 1,0-1,0 0,0 0,0 0,0 1,-1-1,1 0,-1 0,1 1,-1-1,-2-3,0 3,1 1,-1-1,0 1,-1 0,1 0,0 0,-1 0,1 0,-1 1,1 0,-1 0,0 0,0 0,1 0,-1 1,0 0,0-1,0 1,0 1,-3 0,6-1,-16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0.990"/>
    </inkml:context>
    <inkml:brush xml:id="br0">
      <inkml:brushProperty name="width" value="0.025" units="cm"/>
      <inkml:brushProperty name="height" value="0.025" units="cm"/>
      <inkml:brushProperty name="ignorePressure" value="1"/>
    </inkml:brush>
  </inkml:definitions>
  <inkml:trace contextRef="#ctx0" brushRef="#br0">0 36,'10'0,"7"0,3 0,2 0,0-3,1-1,-2-1,0 2,-1 0,0 2,0 0,-1 1,0 0,0 0,1-3,-1-2,0 1,-2 1</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8.852"/>
    </inkml:context>
    <inkml:brush xml:id="br0">
      <inkml:brushProperty name="width" value="0.025" units="cm"/>
      <inkml:brushProperty name="height" value="0.025" units="cm"/>
      <inkml:brushProperty name="ignorePressure" value="1"/>
    </inkml:brush>
  </inkml:definitions>
  <inkml:trace contextRef="#ctx0" brushRef="#br0">77 23,'-3'0,"0"0,0 0,0 0,0 0,0 1,0-1,0 1,0 0,0 0,0 0,1 0,-1 1,0-1,1 1,-1-1,1 1,-1 0,1 0,0 0,0 0,0 0,0 1,0-1,1 1,-4 4,4-2,-1 0,1-1,0 1,0 0,0 0,1 0,0 0,0 0,0 0,0 0,1-1,0 1,0 0,3 8,-3-8,1 0,0 0,1-1,-1 1,1-1,0 1,0-1,0 0,0 0,1 0,0-1,-1 1,1-1,6 4,-7-5,0-1,0 0,1 1,-1-1,0 0,1-1,-1 1,0-1,1 1,-1-1,1 0,-1 0,1 0,-1-1,0 1,1-1,-1 0,0 0,1 0,-1 0,0-1,0 1,5-4,-4 2,-1 1,1 0,-1-1,0 1,0-1,0 0,-1 0,1 0,0 0,-1-1,0 1,0-1,0 0,0 1,-1-1,0 0,1 0,-1 0,-1 0,1 0,0 0,-1 0,0 0,0 0,0 0,-1 0,1 0,-1 0,0 0,0 0,-3-7,2 5,-1 1,1 0,-1 0,0 0,0 1,0-1,-1 1,0-1,0 1,0 1,0-1,-1 0,1 1,-1 0,0 0,0 0,0 1,0 0,-1 0,1 0,-1 0,-8-1,-3 2</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201"/>
    </inkml:context>
    <inkml:brush xml:id="br0">
      <inkml:brushProperty name="width" value="0.025" units="cm"/>
      <inkml:brushProperty name="height" value="0.025" units="cm"/>
      <inkml:brushProperty name="ignorePressure" value="1"/>
    </inkml:brush>
  </inkml:definitions>
  <inkml:trace contextRef="#ctx0" brushRef="#br0">1 0,'0'4,"0"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3:59.729"/>
    </inkml:context>
    <inkml:brush xml:id="br0">
      <inkml:brushProperty name="width" value="0.025" units="cm"/>
      <inkml:brushProperty name="height" value="0.025" units="cm"/>
      <inkml:brushProperty name="ignorePressure" value="1"/>
    </inkml:brush>
  </inkml:definitions>
  <inkml:trace contextRef="#ctx0" brushRef="#br0">21 0,'-3'7,"-2"5,1 3,0 4,2 1,0 0,2 1,-1 0,1-1,0 0,1 0,-1-1,0 1,0-4</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0.449"/>
    </inkml:context>
    <inkml:brush xml:id="br0">
      <inkml:brushProperty name="width" value="0.025" units="cm"/>
      <inkml:brushProperty name="height" value="0.025" units="cm"/>
      <inkml:brushProperty name="ignorePressure" value="1"/>
    </inkml:brush>
  </inkml:definitions>
  <inkml:trace contextRef="#ctx0" brushRef="#br0">7 1,'3'0,"0"0,0 0,0 0,-1 0,1 0,0 1,0-1,0 1,-1 0,1 0,0 0,-1 0,1 0,-1 0,1 1,-1 0,1-1,-1 1,0 0,0 0,0 0,3 4,-4-3,0-1,0 1,-1 1,1-1,-1 0,1 0,-1 0,0 0,0 0,0 0,-1 0,1 0,-1 0,1 1,-1-2,0 1,0 0,-1 0,1 0,-3 4,-22 29,22-32,0 1,0 0,1 0,-1 0,1 0,0 0,0 1,1-1,0 1,-2 6,4-11,0 0,1 0,-1 0,0 1,1-1,-1 0,1 0,-1 0,1 0,0 0,-1 0,1 0,0 0,0 0,0-1,-1 1,1 0,0 0,0-1,0 1,0 0,0-1,0 1,1-1,-1 0,0 1,0-1,0 0,0 0,1 1,-1-1,0 0,0 0,0 0,0 0,2-1,45-2,33-14,-63 15</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182"/>
    </inkml:context>
    <inkml:brush xml:id="br0">
      <inkml:brushProperty name="width" value="0.025" units="cm"/>
      <inkml:brushProperty name="height" value="0.025" units="cm"/>
      <inkml:brushProperty name="ignorePressure" value="1"/>
    </inkml:brush>
  </inkml:definitions>
  <inkml:trace contextRef="#ctx0" brushRef="#br0">121 7,'5'-1,"-10"-2,-17 0,19 4,-49 10,49-11,0 1,0 0,0 0,0 0,0 1,0-1,0 1,0-1,1 1,-1 0,1 0,-1 0,-2 4,5-5,0 0,-1 0,1 0,0 0,0 0,0 0,0 0,0 0,0 0,0 0,0 0,0 0,0 0,1 0,-1 0,0 0,1 0,-1 0,1 0,-1 0,1 0,-1 0,1-1,0 1,-1 0,1 0,0-1,0 1,0 0,0-1,-1 1,3 0,33 20,-31-18,10 4,-5-2,0 0,0 0,0 1,-1 0,15 13,-22-18,-1 1,1 0,0 0,-1 0,0 1,1-1,-1 0,0 0,0 1,0-1,0 0,-1 1,1-1,-1 1,1-1,-1 1,0-1,0 1,0 0,0-1,-1 1,1-1,-1 1,1-1,-1 0,0 1,0-1,0 1,0-1,0 0,-2 2,-1 2,0 0,0-1,0 0,-1 0,0 0,0 0,-1-1,1 0,-1 0,1 0,-13 5,3-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630"/>
    </inkml:context>
    <inkml:brush xml:id="br0">
      <inkml:brushProperty name="width" value="0.025" units="cm"/>
      <inkml:brushProperty name="height" value="0.025" units="cm"/>
      <inkml:brushProperty name="ignorePressure" value="1"/>
    </inkml:brush>
  </inkml:definitions>
  <inkml:trace contextRef="#ctx0" brushRef="#br0">21 0,'0'7,"0"5,-4 4,0 2,0 2,0 1,2 0,0-1,1 0,1 0,0 0,0 0,0-1,1-3</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01.945"/>
    </inkml:context>
    <inkml:brush xml:id="br0">
      <inkml:brushProperty name="width" value="0.025" units="cm"/>
      <inkml:brushProperty name="height" value="0.025" units="cm"/>
      <inkml:brushProperty name="ignorePressure" value="1"/>
    </inkml:brush>
  </inkml:definitions>
  <inkml:trace contextRef="#ctx0" brushRef="#br0">0 39,'7'0,"5"0,4-3,3-2,1 1,0 0,1 2,0-3,-1 0,0 0,0 2,-4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273"/>
    </inkml:context>
    <inkml:brush xml:id="br0">
      <inkml:brushProperty name="width" value="0.025" units="cm"/>
      <inkml:brushProperty name="height" value="0.025" units="cm"/>
      <inkml:brushProperty name="ignorePressure" value="1"/>
    </inkml:brush>
  </inkml:definitions>
  <inkml:trace contextRef="#ctx0" brushRef="#br0">53 37,'-2'1,"-1"-1,1 0,-1 1,1 0,0-1,-1 1,1 0,0 0,0 1,0-1,0 0,0 1,0-1,0 1,0 0,0-1,1 1,-1 0,1 0,-1 0,1 0,0 0,0 1,0-1,0 0,0 0,0 1,1-1,-1 1,1-1,0 0,0 1,0 3,-1 1,0-1,1 1,1-1,-1 1,1-1,0 1,0-1,1 0,-1 1,2-1,4 11,-3-13,0 1,0-1,1 0,-1 0,1 0,0-1,0 0,0 0,1 0,-1 0,1-1,0 0,-1 0,1 0,0-1,0 0,0 0,0-1,0 1,0-1,9-1,-9 1,0-1,0 1,-1-1,1 0,0-1,-1 1,1-1,-1 0,1 0,-1-1,0 0,0 0,0 0,-1 0,1-1,-1 1,1-1,-1-1,0 1,-1 0,1-1,4-7,-7 8,0 0,-1 0,1 0,0 0,-1 0,0 0,0 0,0 0,-1 1,1-1,-1 0,0 0,0 0,0 0,-1 1,1-1,-1 0,0 1,0 0,0-1,0 1,-1 0,1 0,-1 0,0 0,-4-3,-3-2,1-1,-1 2,-1 0,1 0,-1 0,0 2,-14-6,7 5</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0.609"/>
    </inkml:context>
    <inkml:brush xml:id="br0">
      <inkml:brushProperty name="width" value="0.025" units="cm"/>
      <inkml:brushProperty name="height" value="0.025" units="cm"/>
      <inkml:brushProperty name="ignorePressure" value="1"/>
    </inkml:brush>
  </inkml:definitions>
  <inkml:trace contextRef="#ctx0" brushRef="#br0">0 1,'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5:58:10.938"/>
    </inkml:context>
    <inkml:brush xml:id="br0">
      <inkml:brushProperty name="width" value="0.025" units="cm"/>
      <inkml:brushProperty name="height" value="0.025" units="cm"/>
      <inkml:brushProperty name="ignorePressure" value="1"/>
    </inkml:brush>
  </inkml:definitions>
  <inkml:trace contextRef="#ctx0" brushRef="#br0">102 0,'-46'61,"0"1,45-62,1 0,-1 1,0-1,1 1,-1-1,1 1,-1-1,1 1,-1-1,1 1,-1 0,1-1,0 1,-1 0,1-1,0 1,0 0,-1 0,1-1,0 1,0 0,0-1,0 1,0 0,0 0,0-1,0 1,0 0,0 0,0-1,1 1,-1 0,1 1,0-1,1 0,-1 0,1 0,0 0,-1 0,1 0,0-1,0 1,0-1,-1 1,1-1,0 1,2-1,76 1,-68-2,48 0,-43 1</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1.477"/>
    </inkml:context>
    <inkml:brush xml:id="br0">
      <inkml:brushProperty name="width" value="0.025" units="cm"/>
      <inkml:brushProperty name="height" value="0.025" units="cm"/>
      <inkml:brushProperty name="ignorePressure" value="1"/>
    </inkml:brush>
  </inkml:definitions>
  <inkml:trace contextRef="#ctx0" brushRef="#br0">54 0,'-5'7,"-1"-1,1 1,0-1,1 1,0 1,0-1,0 1,1-1,0 1,1 0,0 0,0 1,-1 10,2-13,1-1,-1 1,1-1,0 1,1-1,-1 1,1-1,0 0,0 1,1-1,0 0,0 0,0 1,0-2,1 1,0 0,0 0,0-1,1 0,-1 1,6 3,-7-6,0 0,1-1,0 1,-1-1,1 1,0-1,0 0,-1 0,1 0,0 0,0-1,0 1,0-1,0 0,0 0,0 0,1 0,-1 0,0-1,0 1,0-1,-1 0,1 0,0 0,0 0,0 0,-1-1,1 1,0-1,-1 0,3-2,-1 1,-1 0,0 0,0-1,0 1,-1-1,1 1,-1-1,0 0,0 0,0 0,0 0,-1 0,0 0,0-1,0 1,0 0,0-1,-1 1,0-1,0 1,-1-5,-1 0,0 1,-1 0,0 0,-1 0,0 1,0-1,0 1,-1 0,0 0,-1 1,1-1,-1 1,-1 0,1 1,-1-1,0 1,0 1,-11-6,6 5</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2.124"/>
    </inkml:context>
    <inkml:brush xml:id="br0">
      <inkml:brushProperty name="width" value="0.025" units="cm"/>
      <inkml:brushProperty name="height" value="0.025" units="cm"/>
      <inkml:brushProperty name="ignorePressure" value="1"/>
    </inkml:brush>
  </inkml:definitions>
  <inkml:trace contextRef="#ctx0" brushRef="#br0">16 2,'2'0,"0"-1,0 1,-1 0,1 0,0 0,0 0,0 0,-1 0,1 1,0-1,0 0,-1 1,1 0,0-1,0 1,-1 0,1 0,-1 0,1 0,-1 0,1 0,-1 0,0 1,0-1,1 0,-1 1,0-1,0 1,0-1,-1 1,1 0,0-1,0 1,-1 0,1-1,-1 1,0 0,1 0,-1 0,0-1,0 1,0 0,0 0,-1 0,1-1,0 1,-1 0,1 0,-1-1,-1 4,-3 8,0-1,0 0,-2-1,1 1,-14 16,6-3,14-24,0-1,0 1,-1 0,1-1,0 1,0 0,0-1,0 1,0 0,0-1,0 1,1 0,-1-1,0 1,0-1,0 1,1 0,-1-1,0 1,1-1,-1 1,1 0,2 1,-1-1,1 0,0 1,0-1,-1 0,1-1,0 1,0 0,0-1,0 0,0 0,0 0,6 0,9 0,0-1,0-1,29-6,-29 4</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4.702"/>
    </inkml:context>
    <inkml:brush xml:id="br0">
      <inkml:brushProperty name="width" value="0.025" units="cm"/>
      <inkml:brushProperty name="height" value="0.025" units="cm"/>
      <inkml:brushProperty name="ignorePressure" value="1"/>
    </inkml:brush>
  </inkml:definitions>
  <inkml:trace contextRef="#ctx0" brushRef="#br0">1 1,'6'0,"7"0,3 0,2 0,2 0,1 0,0 0,-1 0,0 0,4 0,0 0,-1 0,-3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5.898"/>
    </inkml:context>
    <inkml:brush xml:id="br0">
      <inkml:brushProperty name="width" value="0.025" units="cm"/>
      <inkml:brushProperty name="height" value="0.025" units="cm"/>
      <inkml:brushProperty name="ignorePressure" value="1"/>
    </inkml:brush>
  </inkml:definitions>
  <inkml:trace contextRef="#ctx0" brushRef="#br0">1 15,'10'0,"9"-3,6-1,1 0,-4 1</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03T09:44:17.881"/>
    </inkml:context>
    <inkml:brush xml:id="br0">
      <inkml:brushProperty name="width" value="0.025" units="cm"/>
      <inkml:brushProperty name="height" value="0.025" units="cm"/>
      <inkml:brushProperty name="ignorePressure" value="1"/>
    </inkml:brush>
  </inkml:definitions>
  <inkml:trace contextRef="#ctx0" brushRef="#br0">0 0,'4'0,"3"0,5 0,3 0,3 0,1 0,1 0,0 0,0 0,0 0,0 0,0 0,0 0,-1 0,1 0,-4 0</inkml:trace>
</inkml:ink>
</file>

<file path=ppt/ink/ink95.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11:45.708"/>
    </inkml:context>
    <inkml:brush xml:id="br0">
      <inkml:brushProperty name="width" value="0.05292" units="cm"/>
      <inkml:brushProperty name="height" value="0.05292" units="cm"/>
      <inkml:brushProperty name="color" value="#0070C0"/>
    </inkml:brush>
  </inkml:definitions>
  <inkml:trace contextRef="#ctx0" brushRef="#br0">7805 4485 0,'0'-14'0,"0"1"31,-26 26 1,-1 1-17,27-1-15,-13-13 0,0 13 16,-40 40-1,26-26-15,1-1 0,0-13 0,-1 14 0,1-1 16,-1 1-16,-13-1 0,14 0 16,-14 1-16,1-1 0,-1 1 15,0-1-15,1 14 0,-54 13 16,53-27-16,-13 14 0,14-13 16,-14-1-16,0 14 0,0-14 0,0 14 15,0-14-15,0 1 0,-13 12 0,13-12 0,0-1 16,0 1-16,-13-1 15,13 1-15,0-1 0,-13-13 0,13 14 16,0-1-16,0-12 0,0 12 0,1-13 16,12 14-16,0-14 0,-13 13 15,14-12-15,12-1 0,-13 13 0,1-12 16,12-1-16,1 0 0,-1 0 0,1-13 16,13 13-16,-1-13 0,1 14 15,0-14-15,0 13 0,0-13 0,-1 13 16</inkml:trace>
  <inkml:trace contextRef="#ctx0" brushRef="#br0" timeOffset="1523.19">15981 4683 0,'13'27'31,"14"12"-15,-14-26-16,26 40 15,-12-26-15,-1-1 0,1 14 0,12 0 16,81 92-1,-81-92-15,14 13 0,106 66 16,-106-80-16,0 14 0,0-26 16,132 92-1,-119-80-15,0-12 0,-13 13 0,66 13 16,-66-27-16,13 0 16,93 41-1,-106-41-15,0-13 0,0 1 0,-14-1 16,14 0-16,-13 0 0,0 0 0,13 1 15,-14-14-15,1 13 0,39 13 16,-52-26-16,-14 14 16,0-14-16,27 13 0,-27 0 15,0-13-15,1 0 16,12 13-16,-13 0 31</inkml:trace>
  <inkml:trace contextRef="#ctx0" brushRef="#br0" timeOffset="1928.24">18045 5728 0,'-14'-13'0,"41"66"15,-14-40 1,0 0-16,14 1 0,-14 12 0,13 1 16,1-14-16,52 53 15,-52-40-15,-14-12 0,40 38 16,-40-38-16,-13-1 16,13-13-16,1 40 15,-28-40-15,14 13 0,-26 13 16,-1-26-16,1 14 15,-1-1-15,-12 0 0,-93 0 16,79 0-16,0-13 16,13 0-16,-66 14 0,80-14 15,-14 0-15</inkml:trace>
  <inkml:trace contextRef="#ctx0" brushRef="#br0" timeOffset="12157.08">8639 3056 0,'0'-13'16,"0"39"0,-14-13-1,14 14-15,0 39 16,-13-40-16,13-12 0,0 12 15,-13 40 1,13-52-16,0-1 0,0 0 0,0 13 0</inkml:trace>
  <inkml:trace contextRef="#ctx0" brushRef="#br0" timeOffset="12584.36">8506 3307 0,'14'66'16,"-14"-26"-1,13-27-15,-13 1 16,0-1-16,13-13 0,-13 13 0,13-13 16,0 13-16,1-13 15,25-13 1,-25 0-16,-14 0 16,13 13-16,0-14 0</inkml:trace>
  <inkml:trace contextRef="#ctx0" brushRef="#br0" timeOffset="13727.42">8639 2659 0,'0'-13'0,"0"39"31,13 1-15,-13-14-16,0 0 0,0 0 16,13 14-1,-13-14-15,0 0 16,13-39 31,-13-1-47,0 14 15,14 0-15,-14 0 16,13 0 0,0-1-16,13 14 15,-12 14 1,-1-1-1,-13 0 1,13 0 0,-13 0-16,13-26 47,-13 0-47,14-13 15,-14 12-15,0 1 16,13 13-16,-13-13 0,13 0 31,0 13-31,1 13 0,-1-13 0,0 13 16,0 14-1,0-14 1,-13 0-16,14-13 0,-14 13 16,13 0-1,0-13-15</inkml:trace>
  <inkml:trace contextRef="#ctx0" brushRef="#br0" timeOffset="14053.75">9075 2606 0,'-13'-13'0,"0"39"15,13-12 1,0-1-16,0 0 15,13-13-15,-13 13 0,0 1 16,13-14-16,0 13 0,14-13 16,-14 0-1,0-13 1,1 13-16,-14-14 0,0 1 16,0 0-16,0 0 0,0-1 15,-14 1-15,14 0 16,-13 13-16,0-13 0,0-1 15,-1 14-15,1 0 0,0 0 16,-13 0 0,12 0-16,14 14 0,-26-14 15</inkml:trace>
  <inkml:trace contextRef="#ctx0" brushRef="#br0" timeOffset="14685.15">9353 2342 0,'13'0'0,"-13"-14"15,0 41 1,0-1 0,0-13-16,0 14 0,0-14 15,0 14-15,0-1 0,0-13 0,-13 14 16,13-14-16,0 13 0,0-12 15,0-1-15,0 13 0,0-12 0,0-1 16,0 0-16,0 0 0,13-13 16,-13 14-16,-13-28 47,-13 1-16,12 13-31,1 13 15,0 1-15,0-14 16,13 13-16,-14 0 0,14 0 16,0 0-16,0 1 15,27-14 1,-14 0-16,0 0 16,1 0-16,12-14 0,-13 1 0,27 0 15,-14 0-15,1-14 0,-1 14 16,40-66-16,-52 52 15,-1 14-15,0 0 0,-13-14 16,13 27-16,-13-13 0,0 0 0,0 0 16,-13 39 15,0-26-31,13 13 0,-13 27 16,-1-27-16,14 0 15,0 1-15,0-1 16,14 0-16,-1 0 0,0 1 15,0-14-15,1 0 0,-1 0 16,0 0-16,0 0 0,14 0 16,-14 0-16,0-14 0,0 14 0,14 0 15,-14-13-15,0 13 0,1 0 0</inkml:trace>
  <inkml:trace contextRef="#ctx0" brushRef="#br0" timeOffset="18399.91">8295 3347 0,'-14'26'63,"1"41"-48,13-54-15,0 13 16,0 1-16,0-14 0,-13 66 16,13-65-16,0 25 15,-13-26-15,13 1 16,0-1-16,0 0 0,0 0 0,0 1 15,0-1 1</inkml:trace>
  <inkml:trace contextRef="#ctx0" brushRef="#br0" timeOffset="18932.23">8189 3638 0,'0'40'31,"13"-14"-15,-13-13-16,0 1 15,0 25 1,0-25-16,0-1 16,13 0-1,1-13 1,-1-13-1,0 13 1,13-27-16,-12 14 16,-1 13-16,0-26 15,0 26-15,1-14 0</inkml:trace>
  <inkml:trace contextRef="#ctx0" brushRef="#br0" timeOffset="19947.63">7964 3003 0,'0'26'47,"0"1"-31,0-14 0,0 0-1,0 1-15,0-1 16,0-40 15,13 14-15,-13 0-16,0 0 15,13-1-15,1 1 16,-1 13 15,0 13-31,0-13 16,-13 14-16,0-1 15,14-13-15,-14 13 16,13 0-16,0-39 31,-13 13-15,13-1 0,-13 1-16,0 0 0,13 13 0,-13-13 15,14 13-15,-1-13 16,13 26-1,-26 0 1,14 0 0,-14 14-16,13-27 15,-13 13-15</inkml:trace>
  <inkml:trace contextRef="#ctx0" brushRef="#br0" timeOffset="20254.64">8268 2977 0,'0'-53'15,"-13"79"17,13-13-17,0 1-15,0-1 0,0 0 16,0 0 0,0 0-1,0 1-15,13-14 16,0 0-16,1 0 15</inkml:trace>
  <inkml:trace contextRef="#ctx0" brushRef="#br0" timeOffset="20790.04">8427 2738 0,'0'-26'0,"-13"52"31,13-12-31,0 39 16,0-40-16,0 13 0,-13-12 15,26 12-15,-13-13 0,0 27 16,0-27-16,0 0 0,0 1 16,13-1-16,-39-26 62,12 13-46,1 13-16,0 0 15,0 0 1,13 0-16,-14 1 16,14-1-16,0 0 15,14-13 1,-14 13-16,13-13 0,13-26 15,-12 26 1,12-27 0,-26 14-16,13 0 0,0 13 0,-13-13 15,14 0-15,-1-1 32,-13 28-17,0-1 1,0 0-16,0 0 15,0 0-15,0 1 16,13-1 0</inkml:trace>
  <inkml:trace contextRef="#ctx0" brushRef="#br0" timeOffset="20940.28">8546 2818 0,'-13'0'15,"0"13"1</inkml:trace>
  <inkml:trace contextRef="#ctx0" brushRef="#br0" timeOffset="22584.1">7924 3612 0,'0'39'0,"0"-26"0,14 1 15,-14 12-15,0 1 0,0-14 16,0 13-16,0 1 0,0-1 16,0 1-16,0-1 0,13 40 15,-13-52-15,0-1 16,0 26-16,0-25 16</inkml:trace>
  <inkml:trace contextRef="#ctx0" brushRef="#br0" timeOffset="22937.77">7858 3916 0,'0'-13'0,"13"39"16,1-13-1,-14 1-15,13-1 0,-13 0 16,13 0-16,0 27 16,-13-27-16,14 14 15,-1-14-15,-13 0 0,13-13 0,-13 13 16,13-13-1,0 0 1,1-13-16,-1 0 0,0 0 0,0-1 16,-13 1-16,14 0 0,12-40 15,-26 40-15,13 0 16</inkml:trace>
  <inkml:trace contextRef="#ctx0" brushRef="#br0" timeOffset="23744.19">7276 3321 0,'0'39'0,"0"-26"0,13 27 16,-13-13 0,0-14-16,0 0 15,13 0-15,1-39 47,-14 13-31,0-1-16,13 1 15,-13 0-15,13 13 0,0 0 32,1 13-17,-1 0-15,-13 1 16,13-1 0,-13 0-16,13-39 31,1 12-16,-14 1 1,13 0 0,-13 0-16,13 13 15,0 13-15,0 0 16,1 0 0,-14 1-16,13-1 15,-13 0 1,13-13-16</inkml:trace>
  <inkml:trace contextRef="#ctx0" brushRef="#br0" timeOffset="24037.53">7580 3413 0,'0'-13'15,"0"0"-15,0-1 16,0 1-16,0 0 16,-26 26 31,26 0-32,0 1-15,0-1 0,0 0 31,26 0-15,-12-26 0</inkml:trace>
  <inkml:trace contextRef="#ctx0" brushRef="#br0" timeOffset="24504.23">7713 3307 0,'0'-13'0,"-27"26"31,27 1-15,0-1-1,0 0-15,-13 0 16,26 0-1,0-26 32,1 0-31,-1 13 0,0 0-1,0 0 1,1 0-1,-1 0 17,0 0-32,0 0 15,-13-13-15,27 13 16,-27-13-16,13 13 16,0 0-16,14-14 15,-27 1-15,13 13 16,0-13-16</inkml:trace>
  <inkml:trace contextRef="#ctx0" brushRef="#br0" timeOffset="26079.37">12052 3664 0,'-13'27'15,"13"-14"1,0 0-16</inkml:trace>
  <inkml:trace contextRef="#ctx0" brushRef="#br0" timeOffset="26288.13">12025 4022 0,'0'13'0,"-13"13"15,13-12-15,0-1 16,0 0-16,-13 40 16</inkml:trace>
  <inkml:trace contextRef="#ctx0" brushRef="#br0" timeOffset="26457.12">11999 4392 0,'0'13'0,"0"1"16,0 12-1,-13 14 1,13-27-16,0 0 0,0 14 16</inkml:trace>
  <inkml:trace contextRef="#ctx0" brushRef="#br0" timeOffset="26608.39">11986 4776 0,'0'26'0,"0"-13"16,0 1 0,-14-1-16,14 0 0,-13 14 15,13-14 1,0 0-16</inkml:trace>
  <inkml:trace contextRef="#ctx0" brushRef="#br0" timeOffset="26750.99">11986 5120 0,'0'0'0,"0"13"16,0 0-16,0 0 15,0 14-15,0-14 16,-14 0-16,14 1 0,0-1 15</inkml:trace>
  <inkml:trace contextRef="#ctx0" brushRef="#br0" timeOffset="26933.62">12025 5490 0,'0'66'16,"0"-39"-16,-13 12 15,13-12-15,0-1 0,0 1 16,0-1-16,-13 1 0,13-1 0,0 1 16,-13-1-16,13 1 0,-14 65 15,14-65-15</inkml:trace>
  <inkml:trace contextRef="#ctx0" brushRef="#br0" timeOffset="27580.5">11986 5146 0,'39'0'16,"-25"0"-16,-1 0 0,0 0 15,66-13-15,-52 13 16,-1-13-16,1 13 0,-1-14 0,1 14 16,-1 0-16,1-13 0,39 0 15,-53 13-15,0 0 16,0 0-16,1 0 0,-1-13 15,0 13-15,0 0 16,1 0 0</inkml:trace>
  <inkml:trace contextRef="#ctx0" brushRef="#br0" timeOffset="28020.49">12422 4948 0,'13'13'31,"1"-13"-31,12 26 16,-13-26-16,1 0 15,25 14 1,-26-14-16,14 0 0,-14 13 15,0-13-15,14 0 16,-14 13-16,0-13 16,1 13-1,-28 1-15,1 12 16,13-13-16,-13 0 16,0 1-16,13-1 0,-14 0 0,-12 14 15,13-14-15,-1 0 16,14 0-16,-13-13 15,13 14-15,-13-14 0,13 13 0</inkml:trace>
  <inkml:trace contextRef="#ctx0" brushRef="#br0" timeOffset="28627.98">12303 5583 0,'13'-14'0,"1"1"15,-1 13 1,-13-13-16,13 13 15,-39 13 32,12 0-31,1-13-16,13 14 16,13-14-1,1 13 1,-1-13-1,0 0-15,0 0 0,-13 13 0,13-13 16,1 0 0,-14 13-1,0 1-15,-14 12 16,1-26-16,0 13 16,0 1-16,-14-1 15,27 0-15,-13-13 0,13 13 0</inkml:trace>
  <inkml:trace contextRef="#ctx0" brushRef="#br0" timeOffset="28897.93">12515 5556 0,'-13'40'16,"13"-27"-16,0 0 15,0 1-15,13-1 16,0-13-16,0 0 16,0-13-16,1 13 0,-1-14 15,0 1-15,0-13 16,1-1 0,-28 14-1,1 0 1,0 0-16,0 13 0,-27 13 15,27-13-15,-14 0 16,14 0-16,-13 13 0</inkml:trace>
  <inkml:trace contextRef="#ctx0" brushRef="#br0" timeOffset="29401.46">11800 5424 0,'-26'0'0,"13"0"0,-27 0 16,27 13-16,0-13 16,-14 0-16,14 0 0,0 0 0,-14 0 0,14 13 15,0-13-15,0 0 0,-40 14 16,39-14 0,1 0-16,0 13 0,0-13 0,-1 0 15,-12 26 1,13-26-16,0 0 0,13 14 0,-27-1 15,14 0 1</inkml:trace>
  <inkml:trace contextRef="#ctx0" brushRef="#br0" timeOffset="29732.08">11443 5358 0,'-79'40'0,"66"-27"16,-1 0-16,1 13 0,-27 1 15,1 26 1,39-40-16,-27 27 15,27-27-15,0 13 16,0-12-16,27-1 16,-14 0-1,0-13-15,0 0 0,1 0 0,12 0 16,1 0 0,-14 0-16,0 0 0,0 0 0,1 0 15,12 0 1</inkml:trace>
  <inkml:trace contextRef="#ctx0" brushRef="#br0" timeOffset="30192.81">11523 5861 0,'13'-14'16,"-26"28"15,-1-14-31,1 13 0,0 0 16,-14 13-1,27-12 1,0-1-16,14 0 16,-1-13-1,0 0-15,0 0 0,-13 13 16,14-13-16,-1 0 0,0 0 16,0 0-16,1 0 15,-14 14 1,-14-1-16,-12 0 15,26 0-15,-13-13 16,-1 0-16,1 13 0,0-13 16,0 0-16,-1 0 15,14-13 1</inkml:trace>
  <inkml:trace contextRef="#ctx0" brushRef="#br0" timeOffset="30473.24">11602 5887 0,'13'26'16,"-13"-12"-16,13 12 15,1-26-15,-14 13 16,13-13-16,0 0 16,14-13-1,-14 13-15,0-13 0,0 0 16,-13-1-16,14 14 0,-14-26 15,0 0 1,-14 12-16,1-12 16,0 26-16,0 0 0,-1-13 15,-12 26 1,13-13-16,-1 0 0,1 13 16</inkml:trace>
  <inkml:trace contextRef="#ctx0" brushRef="#br0" timeOffset="30656.33">11933 5636 0,'13'0'0,"0"0"16,-13 13 0,-13 13-1,13-12-15,0-1 16,0 0-16,-13 13 0,13-12 0,-14-1 0,14 13 15,-13-12-15,13-1 0,-13 0 0,13 0 16,-13 1 0</inkml:trace>
  <inkml:trace contextRef="#ctx0" brushRef="#br0" timeOffset="30798.35">11827 5702 0,'0'-13'16</inkml:trace>
  <inkml:trace contextRef="#ctx0" brushRef="#br0" timeOffset="30943.24">11972 5834 0,'14'0'0,"-14"-13"47,13 13-31</inkml:trace>
  <inkml:trace contextRef="#ctx0" brushRef="#br0" timeOffset="31376.56">12766 5464 0,'-13'13'0,"0"-13"0,-1 26 16,1-12-16,0-1 16,0 0-16,0 0 0,13 0 15,-14 1-15,1-1 0,13 0 16,-13 0-16,13 1 0,-13-1 15</inkml:trace>
  <inkml:trace contextRef="#ctx0" brushRef="#br0" timeOffset="31524.6">12687 5503 0,'0'-13'0,"0"53"16</inkml:trace>
  <inkml:trace contextRef="#ctx0" brushRef="#br0" timeOffset="31645.68">12832 5649 0,'14'0'0,"-14"13"15</inkml:trace>
  <inkml:trace contextRef="#ctx0" brushRef="#br0" timeOffset="39732.19">15227 3731 0,'0'26'32,"0"1"-17,0-14-15,0 0 0,0 13 16</inkml:trace>
  <inkml:trace contextRef="#ctx0" brushRef="#br0" timeOffset="39889.05">15214 4101 0,'-14'13'0,"14"1"0,0 12 15,-13-13-15,13 0 16</inkml:trace>
  <inkml:trace contextRef="#ctx0" brushRef="#br0" timeOffset="40038.1">15174 4458 0,'0'27'16,"-13"-14"-16</inkml:trace>
  <inkml:trace contextRef="#ctx0" brushRef="#br0" timeOffset="41209.51">15386 3757 0,'-14'79'0</inkml:trace>
  <inkml:trace contextRef="#ctx0" brushRef="#br0" timeOffset="42633.15">15491 3373 0</inkml:trace>
  <inkml:trace contextRef="#ctx0" brushRef="#br0" timeOffset="43394.06">16007 3717 0,'0'40'15,"0"-27"-15,0 1 0,-13 12 0,13-13 16,0 14-16,0-1 0,0-13 0,0 14 15,0-1-15,0-12 0,-13 38 16</inkml:trace>
  <inkml:trace contextRef="#ctx0" brushRef="#br0" timeOffset="43712.04">16007 4207 0,'0'26'16,"0"-12"-1,0-1-15,0 0 16,-13 27 0,13-27-16,0 0 0,0 14 0,0 26 15,0-40 1,0 13-16,0-13 0,0 40 16,13-39-16,-13-1 0,0 0 15,0 0-15,0 14 0,0-14 16,0 0-16,0 40 15,0-26-15,0-14 0,0 26 16,-13-12-16,13-1 16,0 1-16,0-14 0,0 93 15,0-80-15,0 27 16,0-26-16,0-14 16,13 13-16,-13-12 0,0 12 0</inkml:trace>
  <inkml:trace contextRef="#ctx0" brushRef="#br0" timeOffset="46023.29">15544 3426 0,'0'14'0,"0"-1"0,0 0 0,-13 53 16,13-53-16,0 14 15,0 79 1,-13-80-16,13 1 0</inkml:trace>
  <inkml:trace contextRef="#ctx0" brushRef="#br0" timeOffset="46196.77">15558 4048 0,'0'27'15,"0"-54"-15,0 67 0,0-27 0,-14 27 16,14-27 0,0 0-16,0 0 0,0 1 15,-13-1-15,13 0 0,0 0 0,0 1 16,0-1-16,0 0 0</inkml:trace>
  <inkml:trace contextRef="#ctx0" brushRef="#br0" timeOffset="46324.52">15558 4445 0,'0'106'0,"-14"-93"0,14 53 16,-13-13 0,13-26-1,0-14-15,0 13 0,0-13 0,0 1 0,0-1 16,0 0-16,0 0 0</inkml:trace>
  <inkml:trace contextRef="#ctx0" brushRef="#br0" timeOffset="47045.16">15293 3228 0,'13'13'0,"-13"0"0,0 1 0,0-1 16,0 0-16,0 0 0,13 27 16,-13-14-16,0-12 15,0 12-15,0-13 0,0 14 0,0 12 16,0-25-16,0-1 15,0 27 1,0-27-16,0 0 0,0 0 16</inkml:trace>
  <inkml:trace contextRef="#ctx0" brushRef="#br0" timeOffset="47353.23">15253 3532 0,'-13'27'0,"13"-1"15,13 1 1,-13-14-1,13 0 1,1-13 0,-1 0-1,0-26 1,0 26-16,-13-14 16,14 1-16,-1-27 15,0 14-15</inkml:trace>
  <inkml:trace contextRef="#ctx0" brushRef="#br0" timeOffset="48072.45">14975 2977 0,'0'26'0,"-13"14"15,13-27-15,0 0 0,13 0 32,1-26 30,-1 0-31,0 26 1,-13 0-17,13-13-15,-13 14 16,14-28 15,-1 1-15,0 0-1,-13 0 1,13 13 0,0-14-1,1 14 1,-1 0 0</inkml:trace>
  <inkml:trace contextRef="#ctx0" brushRef="#br0" timeOffset="48314.4">15147 3029 0,'14'-13'0,"-14"26"16,0 1-16,13-14 31,0 13-31,0-13 16,1 0-16,-1-13 16,-13-1 15,0 1-31,-13 13 15,-14 0 1,14 0-16,0 0 16,-1 0-16,1 0 15</inkml:trace>
  <inkml:trace contextRef="#ctx0" brushRef="#br0" timeOffset="48749.46">15386 2765 0,'0'-13'16,"0"66"15,0-40-31,0 0 0,0 0 0,0 1 16,0-1-16,0 13 0,0-13 15,0 1-15,0-1 0,0 0 16,0 0-16,0 1 15,0-1-15,0 0 0,-14-13 16,1 13 0,13 0-16,-13-13 15,13 14-15,-13-14 0,-1 13 16,14 0 0,-13 0-16,26-13 15,-13 14-15,27-14 16,-14-14-16,0 14 15,1-13-15,-1 13 0,0-13 0,0 0 16,0 13-16,1-14 0,-1 1 16,0 0-1,0 13-15,1 13 32,-1 0-1,0-13-16,0 0-15</inkml:trace>
  <inkml:trace contextRef="#ctx0" brushRef="#br0" timeOffset="-109240.02">3797 10967 0,'13'0'78,"27"0"-78,13 0 16,13 0-16,13 0 15,1 0-15,25 0 16,147 0 0,-94 0-16,-25 0 15,25 0-15,28 0 16,-54 0-16,146 0 16,-159 0-1,0 0-15,145 0 16,-144 0-1,-28 0 1,14 0-16,-13 0 0,145 13 31,-119 0-31,-13 1 0,-40-14 16,13 26-16,14-13 16,-27 1-1,0-14-15,0 0 16,-13 0-16,-13 0 15,-27 0-15</inkml:trace>
</inkml:ink>
</file>

<file path=ppt/ink/ink96.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12:49.097"/>
    </inkml:context>
    <inkml:brush xml:id="br0">
      <inkml:brushProperty name="width" value="0.05292" units="cm"/>
      <inkml:brushProperty name="height" value="0.05292" units="cm"/>
      <inkml:brushProperty name="color" value="#0070C0"/>
    </inkml:brush>
  </inkml:definitions>
  <inkml:trace contextRef="#ctx0" brushRef="#br0">11734 3797 0,'66'0'141,"186"0"-110,-93 0-31,-1 0 15,27 0-15,-26 0 16,0 0-16,53 0 16,-54 0-16,67-13 15,-26-27-15,-27 40 16,-14 0-16,-12 0 16,13 0-1,-40 0-15,0 0 0,13 0 16,80-13-1,-106 13 1,-40 0-16,-13 0 16,-14 0-16,-12 0 0</inkml:trace>
  <inkml:trace contextRef="#ctx0" brushRef="#br0" timeOffset="5191.79">6641 4842 0,'13'0'156,"14"13"-141,12-13-15,-12 0 0,26 0 16,-14 0 0,1 0-1,-27 0-15,40 0 16,-26 0-16,-14 0 16,13 0 15</inkml:trace>
  <inkml:trace contextRef="#ctx0" brushRef="#br0" timeOffset="6334.64">7858 4829 0,'27'0'109,"52"0"-93,0 0 0,-13 0-16,-13 0 15,27 0-15,-27 0 16,-27 0-16,-13 0 15,1 0-15</inkml:trace>
  <inkml:trace contextRef="#ctx0" brushRef="#br0" timeOffset="7950.11">8903 4842 0,'0'13'141,"13"-13"-110,40 13-15,-13-13-16,13 14 15,13-1 1,14-13-16,12 0 0,-26 0 15,0 0-15,27 0 16,0 0-16,-40 0 16,-1 0-16,-38 0 15,12 0 79</inkml:trace>
  <inkml:trace contextRef="#ctx0" brushRef="#br0" timeOffset="14452.01">14975 4842 0,'14'0'0,"-1"0"0,13 0 16,-12 0-16,-1 0 16,13-13-16,-13 13 0,14 0 0,52 0 15,-52 0-15,-1 0 16,1 0-16,-1 0 0,1 0 16,-1 0-16,1 0 0,-1 0 15,27 0-15,-40 0 0,14 0 0,-14 0 16,13 0-16,1 0 15,-14 0-15,0 0 0,0 0 16,1 0-16,-1 0 16,0 0 15</inkml:trace>
  <inkml:trace contextRef="#ctx0" brushRef="#br0" timeOffset="15005.19">16206 4882 0,'26'0'16,"14"13"0,-27-13-16,0 0 0,1 0 15,12 0-15,0 0 16,-12 0-16,-1 0 16,0 0-16,0 0 15,1 0-15,-1 0 16,0 0-1,0 13-15,1-13 16</inkml:trace>
  <inkml:trace contextRef="#ctx0" brushRef="#br0" timeOffset="15706">17264 4895 0,'-13'0'15,"39"0"1,-12 0-16,12-13 0,-13 13 16,14 0-16,12 0 0,14 0 0,0 0 15,13 0-15,14 0 0,-1 0 16,0 0-16,14 0 0,0 0 0,-1 13 15,1-13-15,-14 0 0,14 0 0,-14 0 16,1 0-16,-1 0 0,-26 0 16,0 0-16,0 0 0,66 13 15,-66-13-15,-40-13 16,0 26-16,0-13 0,1 0 16,-1 0-16,0 0 0,0 0 0,1 0 15,-1 0 1,0 0-16,0 0 15,0 0 1,-13-13 0,14 13 15,-1 0 0</inkml:trace>
  <inkml:trace contextRef="#ctx0" brushRef="#br0" timeOffset="19588.23">7355 4154 0,'-79'-26'0,"66"12"16,0 14-16,-1 0 0,1-13 15,0 13-15,-14 0 0,14 0 0,-40 0 16,27 0-16,-1 0 16,1 0-16,-14 0 0,1 13 15,-1-13-15,0 0 0,0 14 0,14-14 0,-14 13 16,14 0-16,-14-13 0,14 13 16,-1 0-16,1-13 0,-14 14 15,14-1-15,-1 0 0,1 0 0,13 1 16,-14-1-16,14 13 0,-14 1 15,14-14-15,-13 13 0,12-12 0,1 25 16,0-25-16,13 12 0,-13 0 0,13 1 16,-13-1-16,13 1 0,0-1 15,0 1-15,0-1 0,0 14 0,13 0 16,-13-1-16,13 1 0,0 0 0,-13-14 16,27 14-16,-14-1 15,0-12-15,14 13 0,-14-14 0,13 14 16,1-14-16,-1 1 0,1-1 0,12 1 15,1-1-15,-13 1 0,12-14 16,1 13-16,13-13 0,0 14 0,13-14 16,-26 0-16,26 1 0,0-1 0,-26-13 15,12 13-15,1 0 0,0-13 16,0 0-16,-13 14 0,13-14 0,-14 0 16,41 0-16,-40 0 15,-1 0-15,14 0 0,0-14 0,-13 14 16,-1 0-16,-12 0 0,26-13 0,-13 13 15,-1 0-15,1-13 16,-14 0-16,1 13 0,12-14 0,-12 1 0,13 0 16,-14 0-16,1 13 0,-14-14 0,13 1 15,1 0-15,-1-13 16,1 12-16,-14 1 0,13-13 16,1 12-16,-14-12 0,0 13 0,0-1 15,14 1-15,-14-13 0,0 13 16,1-1-16,-1 1 0,0-13 15,0 12-15,0 1 0,1-13 0,-1 12 0,0 1 16,0-13-16,-13 13 0,14-14 16,-14 14-16,13 0 0,-13-14 15,0 1-15,0 12 0,13 1 16,-13-13-16,0 13 0,0-1 16,0 1-16,-13 0 0,13-14 0,0 14 15,-13-26-15,13 12 16,-14-13-16,1 14 0,0-14 0,0 14 15,-14-54-15,14 54 0,0-14 16,0 14-16,-14-14 0,14 14 16,-14-40-16,14 39 15,0 1-15,-13-1 0,12 14 0,1-14 0,-13 14 16,12 0-16,1 0 0,-13 0 16,12-1-16,-25 14 0,-1 0 15,0-13-15,-13 26 0</inkml:trace>
  <inkml:trace contextRef="#ctx0" brushRef="#br0" timeOffset="20369.68">1548 5662 0,'145'-40'0,"-105"40"0,13-13 15,13 0-15,0 0 0,0-1 0,14 1 16,-14 0-16,13 0 0,1 0 16,-1-1-16,-13 1 0,0 0 0,0 0 15,-13 13-15,0 0 0,-13-14 0,0 14 16,-14 0-16,27-13 15,-40 13-15</inkml:trace>
  <inkml:trace contextRef="#ctx0" brushRef="#br0" timeOffset="20679.16">1839 5768 0,'40'0'0,"-14"0"16,146-13-16,-66-1 16,-53 1-16,0 0 0,39 0 15,1 0-15,-40 13 16,-14-14-16,14 14 0,-26-13 15,-14 13-15,0 0 16,1 0-16,-1 0 0,0 0 0,0 0 16,0-13-16,-13 26 15,0 0 1</inkml:trace>
  <inkml:trace contextRef="#ctx0" brushRef="#br0" timeOffset="21990.63">7064 6509 0,'14'13'16,"-1"-13"-16,0 13 0,0-13 16,1 0-16,-1 0 0,0 0 0,13 0 15,1 0-15,-1 0 0,27-13 16,-26 13-16,-1-13 0,14 0 16,-14-1-16,14 1 0,-14 0 0,1 0 15,-14-1-15,14 1 0,-14 0 16,13-14-16,1 14 0,-14-13 0,13-1 0,-12 14 15,-1-13-15,0 12 0,0-12 16,1-14-16,-14 27 16,13 0-16,-13-14 0,0 14 0,0-13 15,0-14-15,0 13 16,0 1-16,-13-27 16,-14 27-16,14-1 0,13 1 0,-27-1 0,14 1 15,0 13-15,0-1 0,-14-12 16,1 13-16,-1-1 0,-12 1 0,12 0 15,-12 0-15,12 13 0,1 0 0,-14 0 16,13 0-16,-12 0 0,-1 13 16,0 0-16,1 0 0,-1 1 15,14 12-15,-14 1 0,-26 39 0,39-27 16,1-12-16,-1 13 0,1-1 16,-14 41-16,27-54 15,0 14-15,0-1 0,-1-12 0,14-1 16,0 1-16,0-1 0,0 1 0,0-14 15,0 13-15</inkml:trace>
  <inkml:trace contextRef="#ctx0" brushRef="#br0" timeOffset="22555.87">5371 7064 0,'53'-13'31,"-40"13"-31,0-13 0,1 13 16,-1 0-16,13 0 0,-12 0 16,-1 0-16,0-13 15,13 13-15,-12 0 0,-1 0 0,0-14 16</inkml:trace>
  <inkml:trace contextRef="#ctx0" brushRef="#br0" timeOffset="22901.75">5794 6853 0,'-13'53'16,"13"13"-16,0-53 15,0 13-15,0-12 0,0 12 16,0 1-16,0-14 0,0 0 0,0 0 16,0 1-16</inkml:trace>
  <inkml:trace contextRef="#ctx0" brushRef="#br0" timeOffset="23067.33">5980 7104 0,'0'-26'0,"13"26"32</inkml:trace>
  <inkml:trace contextRef="#ctx0" brushRef="#br0" timeOffset="23399.7">6284 6800 0,'13'0'31,"-53"26"-31,27-26 16,13 13-16,0 1 16,0-1-16,13 0 15,1 0-15,-14 1 16,13-14-16,0 13 0,0 0 16,1-13-16,-1 13 15,0 1-15,-13-1 16,-13 0-16,0-13 15,-1 13-15,-25 14 0,12-14 16,-13 0-16,14 0 0,-14-13 16,-13 14-16</inkml:trace>
  <inkml:trace contextRef="#ctx0" brushRef="#br0" timeOffset="23780.97">3969 7620 0,'53'-26'16,"-40"26"-1,0 0-15,14-14 0,12 1 16,-25 13-16,25-13 16,-12 0-16,-14 13 0,0-14 15</inkml:trace>
  <inkml:trace contextRef="#ctx0" brushRef="#br0" timeOffset="24094.84">4445 7329 0,'13'0'0,"14"0"16,-67 0-16,93 13 16,-53 0-16,13-13 15,-13 14-15,0-1 0,0 0 0,0 0 16,0 1-16,0-1 0,13 13 15,-13-13-15,0 1 16,14-1-16,-1 0 16,0-13-16,0 0 15,1-13-15,12 13 16,-13-13-16,0 13 0,-13-14 16,27 14-16,-14-13 15,0 13-15,-13-13 0,14 13 0</inkml:trace>
  <inkml:trace contextRef="#ctx0" brushRef="#br0" timeOffset="24270.49">4829 7355 0,'0'-13'16</inkml:trace>
  <inkml:trace contextRef="#ctx0" brushRef="#br0" timeOffset="24736.57">3096 8070 0,'79'-40'15,"-66"40"-15,0 0 0,1-13 0,12 0 16,-13 13-16,14-27 15</inkml:trace>
  <inkml:trace contextRef="#ctx0" brushRef="#br0" timeOffset="25000.05">3545 7832 0,'14'-14'15,"12"14"1,-13 0 0,1 14-1,-1-14-15,-26 26 47</inkml:trace>
  <inkml:trace contextRef="#ctx0" brushRef="#br0" timeOffset="27426.61">8202 6535 0,'13'0'0,"1"0"0,-1 0 16,0 0-16,0 0 0,14 0 15,-1 0-15,54-13 16,25 13-16,14-13 0,-66 0 15,13 13-15,14-14 16,52 1-16,27 0 16,-27 0-16,-79-1 0,13 14 15,40-13-15,-53 13 16,13 0-16,-26-13 0,13 13 0,39-13 16,-52 13-16,13 0 15,0-14-15,-40 14 16,14 0-16,-1 0 15,-13 0-15,0 0 16,1 0-16,-41-13 47</inkml:trace>
  <inkml:trace contextRef="#ctx0" brushRef="#br0" timeOffset="27950.01">8678 6720 0,'66'0'0,"-26"-13"16,0 13-16,172-39 15,-146 25-15,66-12 16,-66 26-16,-13-13 0,0-1 16,-13 14-16,52-13 0,-65 0 15,-1 13-15,1 0 0,12-13 16,-25 13-16,-1 0 0,13-14 15,-13 14-15,1 0 16,-1 0 0,0-13-1,-39 13 126</inkml:trace>
  <inkml:trace contextRef="#ctx0" brushRef="#br0" timeOffset="29704.77">15491 8665 0,'14'-13'0,"-14"0"0,13-1 16,0 1-16,0 0 15,40-40-15,-13 40 0,26-27 16,-26 14-16,-1 12 16,14-12-16,66-14 0,-66 27 15,80-27-15,12 14 16,-66 13-16,93-14 15,14 1-15,-80 13 0,92-1 16,-105 14-16,-1 0 0,93 0 16,1 14-1,-107-1-15,93 0 0,-13 13 16,-14 1 0,-13 13-16,-65-27 0,52 27 15,-27-1 1,-39-26-16,40 27 15,-67-27-15,1 1 0,-14-14 16,0 13-16,14-13 0,-27 13 16,13-13-16,0 0 15,-39 0 17,12-13-32,1 13 15</inkml:trace>
  <inkml:trace contextRef="#ctx0" brushRef="#br0" timeOffset="30072.8">18534 8268 0,'0'13'0,"13"1"16,1-1-16,-1 0 0,0 0 15,13 14-15,14 13 16,13-1 0,-13 14-16,-27-53 15,0 27-15,0-14 16,1 0-16,-1 0 0,-26 14 15,13-1-15,-27 1 16,1-1-16,-1-13 0,1 14 16,-14-1-16,0-13 0,1 14 0,12-14 15,-12 0-15,12 14 0,1-14 16,12-13-16,1 13 0,0-13 0,0 14 16,0-14-16</inkml:trace>
  <inkml:trace contextRef="#ctx0" brushRef="#br0" timeOffset="32159.8">21722 6548 0,'40'0'16,"-14"-13"-16,-12 13 0,12 0 0,14 0 0,-14 0 16,80-13-16,-66 13 15,13 0-15,0 0 0,52 0 16,-52 0-16,0 0 0,27 13 16,-1-13-16,-53 0 15,1 0-15,13 0 0,-14 0 16,1 0-16,12 0 15,-26 0-15,27 0 0,-27 0 0,1 0 16,-28 13 15</inkml:trace>
  <inkml:trace contextRef="#ctx0" brushRef="#br0" timeOffset="32456.8">21815 6839 0,'93'-13'16,"-67"13"-16,0 0 15,14 0-15,-13 0 0,25 0 0,-12 0 0,53 0 16,-40 0-16,0 0 15,-14 0-15,14 0 0,-13 13 0,-14-13 16,1 0-16,-1 14 0,1-14 16,26 0-16,-40 13 0,0-13 15,27 0-15,-27 0 16,0 0-16,0 0 0,1-13 16,-1 13-16,-13-14 15,26-12-15</inkml:trace>
</inkml:ink>
</file>

<file path=ppt/ink/ink97.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21:21.816"/>
    </inkml:context>
    <inkml:brush xml:id="br0">
      <inkml:brushProperty name="width" value="0.05292" units="cm"/>
      <inkml:brushProperty name="height" value="0.05292" units="cm"/>
      <inkml:brushProperty name="color" value="#0070C0"/>
    </inkml:brush>
  </inkml:definitions>
  <inkml:trace contextRef="#ctx0" brushRef="#br0">10372 11245 0,'106'79'31,"-93"-66"-15</inkml:trace>
  <inkml:trace contextRef="#ctx0" brushRef="#br0" timeOffset="8612.45">1442 1296 0,'26'-13'31,"54"13"-15,-27 0-16,13 0 0,0 0 0,199 0 15,-186 0-15,27 0 16,-14 0-16,173 0 15,-186 0-15,1-13 16,79 26-16,-120-13 16,1 0-16,-27 0 0,14 0 0,25 0 15,-38 0 1,-1 0 0,0 0-16,0 0 0,1 0 15</inkml:trace>
  <inkml:trace contextRef="#ctx0" brushRef="#br0" timeOffset="9587.12">7276 595 0,'-225'14'16,"199"-14"-16,-1 13 0,-26 0 15,40 0-15,0-13 0,0 13 16,-1 1-16,14-1 0,0 0 16,0 0-16,14 1 0,-1-1 0,0 13 0,14-12 15,12 12-15,-12-13 0,12 0 0,1 14 16,0-14-16,-14 0 16,14 1-16,-14-1 0,-12 0 0,12 0 0,-13-13 15,-13 13-15,13-13 0,-13 14 16,-13-1-16,-26 13 15,25-12-15,-12-14 16,-1 13-16,1-13 0,-40 26 16,39-26-1,14 0-15,0 0 0,0 0 0,-14 0 16</inkml:trace>
  <inkml:trace contextRef="#ctx0" brushRef="#br0" timeOffset="9812.17">7554 582 0,'13'-13'16,"0"39"0,-13 1-16,-13-1 0,13 1 15,-13 12-15,13-12 0,-13 13 0,13-1 16,-14-12-16,14-1 0,-13 1 15,13-1-15,0 0 0,-13-26 16,13 40-16,0-27 0,0 1 0,13-1 16,-13 0-1</inkml:trace>
  <inkml:trace contextRef="#ctx0" brushRef="#br0" timeOffset="10099.89">7924 794 0,'-145'26'15,"105"-13"-15,-39 14 16,65-27-16,1 13 0,-13 14 16,13-14-1,-1 0-15,14 0 0,0 0 16,14-13-16,12 14 15,14-14 1,-27 0-16,0 0 0,14 0 16,-1 0-16,27-14 0,-27 14 15,1 0-15,39 0 16</inkml:trace>
  <inkml:trace contextRef="#ctx0" brushRef="#br0" timeOffset="10952.55">8149 1019 0,'13'-14'0,"-13"1"16,14 13 0,-14-13-1,0 0 32,0-1-31,-14 14-1,1-13 17,0 13-32,0 13 15,-1-13-15,14 14 0,-13-1 16,13 0-1,-13 0-15,13 1 0,0-1 16,13 13 0,0-26-16,1 0 15,-1 0-15,0 0 0,27-26 16,-27 13-16,0-1 16,-13 1-16,14 13 15,-1-13-15,-13 0 0,13 13 0,-13-14 16,13 14-1,0 14 1,1-1 15,-14 0-31,13-13 16,0 0 0,0-13-16,1 13 0,-1-13 15,0 13-15,0-14 16,1 14-16,-1 0 15,0 0 1,0 0 0,0 14-16,1-14 15,-1 0 1,0 0-16,14-14 16,-14 14-1,0-13-15,0 0 16,0 0-1,1 0 1,-14-1-16,13 14 0,0 0 31,0 0-31</inkml:trace>
  <inkml:trace contextRef="#ctx0" brushRef="#br0" timeOffset="11437.12">8797 847 0,'-13'13'16,"13"13"15,0 1-15,0-14-1,0 0-15,27-39 31,-27 13-15,13 13 0,0-14-16,0 14 15,1 14 1,-1-14 0,0 13-16,0-13 15,0 13-15,1-13 16,-1 0-16,13-13 15,-12 13-15,-1-13 16,0 13 0,0 0-1</inkml:trace>
  <inkml:trace contextRef="#ctx0" brushRef="#br0" timeOffset="11915.52">9062 900 0,'13'-14'15,"14"-25"1,-27 25-16,13-12 31,-40 39 0,27 0-15,0 1 0,0 12-1,14-26-15,-1 13 16,0-13-16,14-13 0,-14 13 16,0-13-16,0 13 0,1-13 15,-1 13-15,0-14 0,0 14 0,0-13 16,1 13-16,-14-13 15,13 13-15,0 0 16,14 13 0,-14 0-16,0 1 15,0-14-15,0 13 16,1-13 0,-14 13-1,-14 0-15,1 1 16</inkml:trace>
  <inkml:trace contextRef="#ctx0" brushRef="#br0" timeOffset="12032.47">9538 873 0,'13'0'0,"1"0"0,-28-26 46,1 26-30</inkml:trace>
  <inkml:trace contextRef="#ctx0" brushRef="#br0" timeOffset="15997.26">6390 5913 0,'26'-26'47,"14"-14"-31,-27 14-16,14-1 0,-1-12 15,14-1-15,-1 0 0,1-13 0,0 14 16,-1-1-16,41-39 15,-41 52-15,-12 1 0,13-1 0,13-26 16,-40 53-16,0-13 16,0 0-16,-13 0 15,13 13-15,-13-14 16,-26 28 15</inkml:trace>
  <inkml:trace contextRef="#ctx0" brushRef="#br0" timeOffset="16500.18">6456 5861 0,'-13'39'0,"13"1"16,0-27-16,0 0 0,26 14 16,-26-14-16,13-13 15,1 0-15,12 0 0,-13 0 0,14 0 16</inkml:trace>
  <inkml:trace contextRef="#ctx0" brushRef="#br0" timeOffset="17671.66">6456 9287 0,'-13'53'0,"13"-40"0,0 0 16,0 0-16,0 1 15,0-1-15,0 0 0,0 0 0,0 1 16,0 12 0</inkml:trace>
  <inkml:trace contextRef="#ctx0" brushRef="#br0" timeOffset="17942.29">6310 9419 0,'14'27'0,"-14"-14"0,13-13 15,-13 13-15,26 0 0,-26 1 16,13-14-16,1 13 0,-1-13 15,0 0-15,14-13 0,-14 13 16,0-14-16,14 1 0,-1-13 0,0 12 16,-12-12-16,25-1 15</inkml:trace>
  <inkml:trace contextRef="#ctx0" brushRef="#br0" timeOffset="19228.11">14010 5980 0,'0'13'32,"0"40"-17,0-40-15,0 80 16,0-67-16,0 14 0,-14-1 0,14 1 15,0-13-15,-13-1 0,13 0 16,0 1-16,-13-1 0,13-12 16,0 12-16,0-13 0,0 1 0,0-1 15,0 0-15</inkml:trace>
  <inkml:trace contextRef="#ctx0" brushRef="#br0" timeOffset="19560.83">14010 6006 0,'53'-93'0,"-40"93"16,0 0-16,0 0 0,1 0 0,12 14 16,-13-1-1,0 0-15,-13 0 0,14 14 0,-14-14 0,0 0 16,0 14-16,0-1 0,0 1 0,-14-14 16,1 13-16,-26 27 15,25-26-15,1-14 0,0 0 16,0 0-16,-1 1 0,-12-1 15,13 0-15</inkml:trace>
  <inkml:trace contextRef="#ctx0" brushRef="#br0" timeOffset="19910.4">14195 6416 0,'26'-26'0,"-12"26"0,-1-53 16,0 40-16,0-1 15,-13 1-15,14 0 0,-14 0 16,0-1-16,13 14 0,-13-13 31,-13 0-31,-14 39 16,14 1-1,13-14 1,0 0-16,0 1 0,0 12 16,13-13-1,0 0 1,14-13-16,-14 0 15,0 0-15,14 0 16</inkml:trace>
  <inkml:trace contextRef="#ctx0" brushRef="#br0" timeOffset="20284.59">14645 6218 0,'-27'0'16,"14"0"-16,0 0 0,13 13 16,-13-13-16,-1 13 0,1 0 15,0 1-15,13-1 0,-27 13 16,27-12-16,0-1 16,0 0-16,14 0 15,25-39 16,-25 13-31,-1 13 0,-13-14 16,13 1-16,0 0 16,0 0-1,-13 39 1,0 1 0,0-1-1,0-13-15,0 14 16,0-14-16,14-13 0,-14 13 15,13-13 1</inkml:trace>
  <inkml:trace contextRef="#ctx0" brushRef="#br0" timeOffset="20790.18">14909 5874 0,'-13'-13'0,"0"39"15,13-13 1,-13 14-16,13-14 0,-14 13 16,-12 67-1,26-53-15,-13-14 0,-14 40 16,27-39-16,0-14 0,-13 0 15,13 0-15,-13 27 16,13-27-16,0 1 16,13-54 15,0-13-15,0 26-16,1 14 0,-1 0 15,0 0-15,0 0 0,27-14 16,-27 27-1,0 0-15,14 13 16,-14 1-16,-13-1 16,0 13-1,-13-13-15,13 1 0,-27 12 16,14-26-16,13 13 0,-26 1 0,13-1 16,-1-13-16,14 13 15,-13-13-15,0 0 0,0 13 0,-1-26 16,14 0-1,14 0 1</inkml:trace>
  <inkml:trace contextRef="#ctx0" brushRef="#br0" timeOffset="21416.53">14896 6257 0,'13'14'47,"0"12"-47,1-26 16,-1 13-16,-13 1 16,13-1-16,0 13 15,1-26-15,-14 13 16,13 1-1,0-1-15,14-13 16</inkml:trace>
  <inkml:trace contextRef="#ctx0" brushRef="#br0" timeOffset="21746.15">15214 6324 0,'39'-67'15,"-39"41"1,0 13-16,0-1 16,-26 14-1,13 14 1,13-1-16,-14-13 0,14 13 15,-13 0-15,13 1 0,-13-1 16,13 0 0,0 0-16,0 1 0,13-14 15,-13 13-15,13-13 0,1 0 0,-1 13 16,0-13-16,0 0 0,0 0 16,1 0-16,-1 0 0,0-13 15,0 13-15,1 0 0,-1 0 0</inkml:trace>
  <inkml:trace contextRef="#ctx0" brushRef="#br0" timeOffset="22216.51">15531 6191 0,'-66'27'0,"53"-27"15,13 13-15,-14-13 0,14 13 16,-26 27 0,26-27-16,0 0 0,0 1 15,13-1 1,0-13-16,14 0 16,-14-13-1,0-1-15,1 1 0,12-13 0,-13-1 16,27-79-1,-27 67-15,0-1 0,14-66 16,-27 80-16,0 12 0,0 1 16,0-13-16,13-1 15,-26 14-15,0 26 16,-1 1 0,14 12-16,-39 53 15,39-39-15,0-14 0,0 1 16,-13 13-16,13-14 0,13 1 15,-13-14-15,13 53 16,0-26-16,-13-27 16,13-13-16,14 13 15,-14 0-15,0-26 16,1 13-16,-1 0 0,0 0 16</inkml:trace>
  <inkml:trace contextRef="#ctx0" brushRef="#br0" timeOffset="23158.78">15796 6125 0,'-14'13'0,"14"1"16,0-1-16,-13 0 0,13 13 16,0-12-1,0 12 1,-13-13-16,13 1 16,13-28 15,14 1-16,-27 0-15,13 13 0,0-13 0,0-1 16,14 14 0,-14-13-16,0 26 0,0-13 15,-13 14 1,14-1 0,-14 0-16,0 0 0,13-13 0,-13 14 0,0-1 15,0 0 1,13-13-1,0 13-15,1-26 16,-1 13 0,0 0-16,-13-13 0,27 13 0,-14-13 15,0 13-15,0-14 0,0 1 0,1 0 16,12-14-16,-13 14 16,1-13-1,-1 13-15,-13-1 16,-13 28 31,-1-1-47,14 0 15,0 13 1,0-12 0,14-14-16,-14 13 15,13-13-15,0 0 16,0 0-16,0-13 0,1 13 15,-1 0-15,0-14 16,0 14-16,1 0 16,-1 14-1,0-1 1,-13 0 0,13 0-1,1-13 1,-1 0-1,13-13-15,-13 0 16,1 13-16,-1 0 0,0-13 0,0 13 16,1 0-16,-14 13 0,13-13 15,0 0-15,-13 13 0,13-13 0,-13 13 16,0 14 0,0-14-1,-13 0 1,0-13-16,0 0 0,-1 0 15,1 0 1</inkml:trace>
  <inkml:trace contextRef="#ctx0" brushRef="#br0" timeOffset="24317.53">15108 7011 0,'-27'-79'15,"14"66"-15,0 0 16,13-1-16,-13 41 15,13-14-15,0 0 16,-14 14-16,14 12 0,0 14 0,0-13 16,14 79-16,-1-66 15,-13 13-15,13-13 0,0 0 0,-13 0 16,13-13-16,-13-1 0,14 1 0,-14-14 16,0-12-16,0 25 0,0-25 15,0-1-15,-27 0 16,14-13-16,0 0 15,-14 0-15,1-13 16,13 0-16,-1-1 16,1 14-1,13-13-15,0 0 0,13 0 16,-13-1-16,40-25 16,-27 12-1,14 1-15,-14-1 0,13 1 0,-12-1 0,12-12 16,-13-1-16,1 0 15,-1 1-15,0-1 0,0 0 0,1 14 0,-1-1 16,-13 1-16,13 13 0,-13 0 0,0-1 16,13 1-1,-13 0-15,0 39 16,0-12 0,0-1-16,0 13 15,0-13-15,0 40 0,0-26 0,0-14 16,0 13-16,0 1 0,13-14 0,-13 14 15,0-14-15,14 27 16,-14-27-16,13-13 0,-13 13 0,13 0 16,0-13-16,1 13 15</inkml:trace>
  <inkml:trace contextRef="#ctx0" brushRef="#br0" timeOffset="24800">15544 7263 0,'-13'0'0,"-13"13"16,12 0 0,1 0-16,13 1 0,-13-1 15,13 0 1,0 0-16,0 1 0,13-14 31,0 0-15,1-14-16,-1 1 0,0 0 15,-13 0 1,13 13 0,1 26-1,-14-13-15,0 14 16,13-14-1,0 0-15,0-13 0,0 14 16,1-14-16,-1-14 16</inkml:trace>
  <inkml:trace contextRef="#ctx0" brushRef="#br0" timeOffset="25009.46">15809 7210 0,'26'-119'0,"-26"92"15,0 14-15,14 13 0,-14-26 16,0 12-16,0 54 31,0 13-15,0-40-16,0 14 0,0-14 15,13 53 1,-13-39-16,0-14 0,0 0 0,13 40 16,0-40-1,-13 0 1</inkml:trace>
  <inkml:trace contextRef="#ctx0" brushRef="#br0" timeOffset="25280.59">15677 7276 0,'13'-13'15,"26"-14"1,-25 27 0,-1-13-16,40 0 15,-40 0-15,0 13 0,40-14 16,-40 14-16,1 0 16,-1-13-16,0 13 15,0 0-15,14 0 16,-14 0-1</inkml:trace>
  <inkml:trace contextRef="#ctx0" brushRef="#br0" timeOffset="25664.29">16179 7170 0,'-13'13'16,"13"14"-1,0-14-15,0 0 0,0 1 16,-13-1-16,13 0 0,0 0 0,0 0 0,0 1 16,0-1-16,0 0 15,26-26 16,-13-14-15,1 14-16,-1 0 16,0 13-1,0 0 1,1 0-16,-1 13 0,0-13 0,0 13 16,1-13-16,-1 0 15,0 14 1,0-14-16,0 0 15,14-14 1,-14 14-16</inkml:trace>
  <inkml:trace contextRef="#ctx0" brushRef="#br0" timeOffset="26241.25">16444 7316 0,'40'-53'0,"-1"26"16,-39 1-1,13 13-15,1-1 0,-1 1 16,-13 0-16,13 0 0,-26 39 47,13-13-32,0 1-15,0-1 16,0 0-16,13-13 16,-13 13-16,27-13 15,-27-13-15,13 13 0,40-13 16,-40 13-1,0 0-15,0-13 0,1 13 16,-1 0-16,0 0 16,14 13-1,-14 0 1,0-13-16,0 0 31,1 0-15,-1 0-1,-13 13 17,13 1-32,-26-1 31,13 0-31</inkml:trace>
  <inkml:trace contextRef="#ctx0" brushRef="#br0" timeOffset="27192.79">17529 7064 0,'-27'14'31,"27"-1"-31,-13 0 0,13 0 16,0 1-16,-13-1 15,13 0-15,0 0 0,13-13 16,0 13-1,0-26-15,14-13 16,-14 13-16,-13-1 0,13-12 16,1-14-16,-1 27 15,-13 0-15,0-1 0,13 1 0,-13 0 16,0 0-16,13 13 0,0 13 31,-13 53-15,0-39-16,0-1 15,0 14-15,0-1 0,-13 1 16,13 0-16,-13-1 0,13 1 0,-13 0 16,0-14-16,13 1 0,-14-14 0,14 0 15,0 0-15,-13 1 0,13-1 0,0-40 32,13 14-32,1-13 15,52-54 1,-40 54-16,1 13 0,-1-14 0,1 14 15,-14 0-15,0 0 0,13-1 16,-12 1-16,12 0 0,-13 13 0,1-13 16,12-1-16,-13 14 15,1-13-15</inkml:trace>
  <inkml:trace contextRef="#ctx0" brushRef="#br0" timeOffset="28596.45">18547 6919 0,'-13'0'0,"0"13"15,0 14 1,13-14-1,0 13 1,0-13-16,13 1 0,0-14 16,0 0-1,14-14 1,-14 14-16,0-13 0,0 0 0,14-13 16,-14 26-16,0-14 15,1 14-15,-1-13 0,0 13 16,0 0-16,0 13 15,1 1-15,-14-1 16,0 13-16,13-13 0,-13 14 0,0-1 0,0 1 16,0 26-16,-13-27 0,13 1 15,0-1-15,-14-13 16,1 14-16,13-1 0,-13-13 0,0 1 0,13-1 16,-13-13-16,13 13 0,-14-13 15,1-13-15,13-14 16,0 14-1,0 0-15,0 0 0,13-14 16,1 14-16,-14 0 0,13 0 16,-13-1-16,13 14 0,-13-13 0,13 0 15,0 0-15,1 13 0,-1-27 16,0 14-16,0 0 0,1 13 16</inkml:trace>
  <inkml:trace contextRef="#ctx0" brushRef="#br0" timeOffset="29965.49">19050 6866 0,'0'-13'15,"-26"26"1,12 13-16,1-12 16,0-1-16,13 0 15,-13 14-15,13-14 0,0 0 0,-14 0 16,14 0-16,14 1 15,-14-1-15,13 0 16,0 0-16,0-13 0,27-13 16,-14-13-1,-12-14 1,-1 0 0,-13 27-1,-13 0 1,13 0-16,-14 13 0,1-14 15,0 14-15,0 0 16,0 14-16,-1-14 16,14 13-16,-13-13 15,13 13-15,0 0 0,0 1 16,0 12 0,13-26-16,1 13 15,12-13 1,-13-13-16,0 13 15,1 0-15,-1-13 0,0 13 0,0-13 16,1-1-16,-1 14 0,0-13 16,0 0-16,1 13 15,-1-27 1,0 27 0,0-13-16,-13 26 46,0 1-30,0-1 0,0 0-16,13 0 15,-13 1 1,0-1 0,14-13-16,12-13 31,-13 13-16,1-14 1,-1 1 15,0 26 32,-13 1-48,13-1 1,-13 0 15,14-13-15,-1 0 15,0-13-15,0 0-1,0 13 17,-13-14-1,14 28 31,-1-14 32,0 0-78,0 13-1,1-13 1,-14 13 0,13-13-16,0 13 15,0 0 17,-13-26-1,13-13-16,-13 13-15,14-1 0,-14 1 16,26-27-16,-13 27 16,-13 0-16,14 0 0,-1 13 15,13-14-15,-12 1 0,-1 13 0,0 0 16,0 0-16,0-13 0</inkml:trace>
  <inkml:trace contextRef="#ctx0" brushRef="#br0" timeOffset="30874.3">20386 6522 0,'27'-40'0,"-27"27"0,0 53 32,-14 26-17,1-40-15,13 1 16,-13 65 0,13-65-16,-13 39 15,13-53-15,0 0 0,0 1 0,0-1 16,0 0-16,13 0 15,-26-26 17,-14-27-17,27 27-15,-13 13 0,0-13 16,0 0-16,-14 13 0,14-13 16,0 13-16,-1 0 0,-12 13 0,13-13 15,-1 13-15,-12-13 0,13 13 16,0 0-16,-1-13 0,1 14 0,0-1 15,13 0-15,-13-13 0,13 13 0,0 1 16,0-1-16,0 0 16,0 0-16,13-13 15,0 14-15,0-14 0,1 0 0,-1 0 16,13 0-16,-13 0 0,14 0 16,-1-14-16,1 14 0,-1 0 0,1 0 15,-1-13-15,-13 13 0,14 0 0</inkml:trace>
  <inkml:trace contextRef="#ctx0" brushRef="#br0" timeOffset="31619.48">20704 6800 0,'0'-27'15,"-14"14"1,-12 26 0,13-13-1,0 14-15,-1-1 0,1-13 0,13 13 16,-13-13-16,0 13 0,-1 0 15,14 1-15,0-1 32,14-13-17,-1 0-15,0 0 0,0 0 16,14 13 0,-14 0-16,0-13 15,0 14 1,1-14-16,-1 0 15,0 0-15,-13-14 0,13 14 16,1-13-16,-1 0 0,0 0 16,27-53-1,-27 39-15,0-13 0,14 14 0,-14-14 0,0 14 16,0-14-16,-13 14 16,14 12-16,-1 1 0,-13 0 0,0 0 0,0 0 15,13 13-15,-13-14 16,-13 41-1,13-1-15,-13-13 16,13 1-16,0 12 0,0-13 0,-14 27 16,14-13-16,0-14 15,0 13-15,14-13 0,-14 14 0,0-14 16,0 0-16,13 1 0,-13-1 0,13 0 16,-13 0-16,0 0 15,13-13-15</inkml:trace>
  <inkml:trace contextRef="#ctx0" brushRef="#br0" timeOffset="32097.45">20849 6734 0,'27'-27'0,"-14"27"0,0 0 16,0-13-16,40 13 16,-40 0-1,1 0-15,12-13 0,-13 13 0,1 0 0,-1 0 16,13 0-16,-12 0 16,-1 0-16,0-13 0,0 13 15,0 0-15,1 0 16,-41 13 15,14-13-15,0 13-16,13 0 0,-13-13 15,-1 13 1,28 1 0,25-14-1,-26 0-15,14 13 16,-14-13-16,0 0 0,-13 13 15,14-13-15,-1 13 0,0 1 16,0-1-16,0-13 16,14 13-1,-14-13-15,0 0 0,1-13 0,12 13 16,1-13-16,12-14 0,-12 1 0,26-14 16</inkml:trace>
  <inkml:trace contextRef="#ctx0" brushRef="#br0" timeOffset="55248.59">6562 5596 0,'0'-13'0,"-14"26"15,1 13 1,13-12-16,0-1 16,-13 0-16,13 14 0,0-14 0,0 0 15,-13 0-15,13 0 16,0 14-16,0-14 0,0 0 0,0 1 15,0-1-15,0 0 0,0 0 16,0 1-16,13-1 16,0 0-16,0-13 15,1 0-15,-1 0 0,0 0 16,0 0-16,1 0 0,25 0 16,-25 0-16,-1-13 15,26 13-15,-25 0 0</inkml:trace>
  <inkml:trace contextRef="#ctx0" brushRef="#br0" timeOffset="56051.54">9446 7607 0,'26'0'16,"-13"0"-16,14 0 0,-1-13 0,67 13 15,-14-14-15,-13 1 0,0 0 16,14 13-16,-1-13 16,1-1-16,12 1 0,-12 0 0,12 0 0,-12-1 15,-1 1-15,0 0 0,54-13 16,-80 26-16,-1-14 16,1 14-16,-26-13 0,-1 13 0,1 0 15,-1 0-15,-13-13 0,1 13 0,12 0 16,-13 0-16,1 0 15</inkml:trace>
  <inkml:trace contextRef="#ctx0" brushRef="#br0" timeOffset="56348.52">10186 7607 0,'93'-13'15,"-53"13"-15,13-14 0,0 14 16,-14-13-16,14 13 0,0-13 16,0 13-16,0-13 0,0 13 0,39-14 15,-39 14-15,-13-13 0,0 13 0,13 0 16,-27 0-1,-13 0-15,14 0 0,-14-13 0,13 26 16,-12-13-16,-1 0 16,-26 13 15,-1 1-31,1-14 0</inkml:trace>
  <inkml:trace contextRef="#ctx0" brushRef="#br0" timeOffset="57805.68">9895 10226 0,'27'0'16,"-14"0"-16,14 0 15,-14 0-15,13 0 0,14 0 0,0 0 16,13 0-16,-1 0 0,1 0 16,0 0-16,53 0 0,-13 0 15,-54 0-15,-12 0 0,13 0 16,-1 0-16,-12 0 15,-14 0-15,0 0 0,0 0 0,1 0 16</inkml:trace>
  <inkml:trace contextRef="#ctx0" brushRef="#br0" timeOffset="58032.57">10134 10385 0,'26'13'0,"-13"-13"16,0 0-16,40 0 16,14 0-16,-41 0 15,27-13-15,0 13 0,53 0 16,-67 0-16,14 0 0,-13 0 0,0 0 16,13 0-16,-27 0 15,0 0-15,1-13 0,-14 13 0,0 0 16,1 0-16,-1 0 0</inkml:trace>
  <inkml:trace contextRef="#ctx0" brushRef="#br0" timeOffset="58868.66">1561 10279 0,'93'-26'15,"-1"12"1,27-12-16,-53 13 0,67-14 16,-67 14-1,-13 13-15,0-13 0,0 13 0,0-13 0,66 13 16,-80 0 0,1 0-16,0 0 15,-27 0-15</inkml:trace>
  <inkml:trace contextRef="#ctx0" brushRef="#br0" timeOffset="59073.4">2037 10425 0,'185'-27'15,"-145"27"-15,79-13 16,-53 0-16,67-14 0,12 14 16,14-13-16,-80 12 15</inkml:trace>
  <inkml:trace contextRef="#ctx0" brushRef="#br0" timeOffset="59808.85">12105 10306 0,'53'13'0,"-27"-13"16,1 0-16,92 0 0,-40 0 15,0-13-15,1 13 0,65 0 16,14-14-16,-93 14 16,0 0-16,-13 0 0,66-13 15,-79 13-15,26 0 0,-39 0 16,-1 0-16,-13 0 0,0 0 15,14-13-15,-14 13 16,-13-13-16,0-1 16,0 1-16</inkml:trace>
  <inkml:trace contextRef="#ctx0" brushRef="#br0" timeOffset="60071.36">13110 9988 0,'79'13'0,"-52"-13"15,13 13-15,-1 1 0,1-1 0,0 13 0,-1-12 16,1-1-16,39 27 16,14 26-16,-80-53 15,14 13-15,-14 1 16,-13 13-16,-13 12 15,-14-25-15,1 13 0,-1-14 0,-12 1 16,-14-1-16,-13 14 16,26-14-16,0-13 0,-26 1 15</inkml:trace>
  <inkml:trace contextRef="#ctx0" brushRef="#br0" timeOffset="61172.92">14579 9591 0,'13'27'15,"-26"-1"-15,13-13 0,0 1 16,0-1-16,-14 0 0,14 27 15,-13-1-15,13-12 16,0-14-16,-13 0 16,13 0-16,0 1 0,0 12 15,13-26-15,-13 13 0,13 14 16,1-14-16,-1-13 16,0 13-16,0-13 0,0 0 0,14 0 15,-14 0-15,0 0 0,27 0 16,-13 0-16,-14-13 0,13 13 15,1-13-15,-14 13 16,0-13-16,0 13 0</inkml:trace>
  <inkml:trace contextRef="#ctx0" brushRef="#br0" timeOffset="61368.54">14658 9803 0,'132'-27'16,"-119"14"-16,1 13 0,12-13 15</inkml:trace>
  <inkml:trace contextRef="#ctx0" brushRef="#br0" timeOffset="61581.79">14605 9591 0,'26'-26'0,"-12"26"15,12-14-15,-13 14 16,14 0-16,-14-13 16,0 13-16,14 0 0,-14 0 15,13 13-15,-12-13 16</inkml:trace>
  <inkml:trace contextRef="#ctx0" brushRef="#br0" timeOffset="62209.66">15240 9644 0,'-40'-13'0,"27"13"0,-13 13 15,26 0 1,-27 1-16,27-1 16,-13 13-16,0 1 15,13-14-15,0 0 0,13 0 16,-13 1-1,13-14-15,14 0 16,-27-14-16,13 14 0,0-26 16,0 26-16,-13-13 15,14-1-15,-1 1 16,-13 0-16,0 0 16,13 13-1,0 13-15,0-13 16,-13 13-16,14 0 15,-1 1-15,-13-1 16,13-13-16,-13 13 16,13-13-16,1 13 15,-1-13-15</inkml:trace>
  <inkml:trace contextRef="#ctx0" brushRef="#br0" timeOffset="62524.62">15438 9697 0,'0'26'16,"0"-12"-16,0-1 15,0 0-15,-13 0 31,26-39 1,-13 13-17,14-1-15,-14-12 16,13 26-16,0-13 16,-13 0-16,13-1 0,-13 1 0,27-13 15,-14-1-15,0 14 16,1 0-16,-14-1 0,13 1 15</inkml:trace>
  <inkml:trace contextRef="#ctx0" brushRef="#br0" timeOffset="62748.55">15756 9247 0,'0'-13'31,"13"53"-15,-13-14-1,0-13-15,0 14 0,0-1 16,0 27-16,-13-225 0,26 371 16,-13-173-16,0 27 0,0-27 15,0 1-15,-13-1 0,13 1 16,0-14-16,0 27 0,0-27 16,0 0-16,0 0 0,13 1 15</inkml:trace>
  <inkml:trace contextRef="#ctx0" brushRef="#br0" timeOffset="62937">16034 9499 0,'-13'39'16,"13"-26"-1,-14 14-15,14-14 16,0 0-16,0 1 0,-13-1 15,13 0-15,0 14 0,-13-1 16,13-13-16,0 0 31</inkml:trace>
  <inkml:trace contextRef="#ctx0" brushRef="#br0" timeOffset="63098.52">15994 9353 0</inkml:trace>
  <inkml:trace contextRef="#ctx0" brushRef="#br0" timeOffset="63633.58">16259 9578 0,'0'-27'15,"0"14"-15,0 0 0,13 13 16,-26-13-16,13 0 16,0-1-16,-14 41 31,1-27-31,13 13 0,0 0 15,0 0 1,0 1-16,13-1 16,14 0-1,-14-13-15,0 0 16,1 0-16,12 13 16,-13-13-16,0 0 15,-13 14-15,14-14 0,-1 0 16,-13 13-1,13-13 1,0-13-16,1-1 16,12-12-16,1-14 15,12 14-15,-12-1 16,-1-12 0,-13 25-16,40-39 15,0-39 1</inkml:trace>
  <inkml:trace contextRef="#ctx0" brushRef="#br0" timeOffset="76445.08">19090 9049 0,'13'26'31,"-13"-13"-31,0 14 0,0 26 16,0 13-16,0 0 0,13 13 16,-13 1-16,13 26 0,-13 13 0,0 0 0,0 119 15,-13-119-15,13 13 16,0-13-16,0 14 0,0-14 16,-13 0-16,13 0 0,0 0 0,13 0 15,-13-26-15,0 79 0,0-80 16,13-12-16,-13-1 0,14-13 15,-14 13-15,0-26 0,13 13 0,-13-26 16,13 40-16,-13-54 0,0 0 16,0-12-16,0-1 0</inkml:trace>
  <inkml:trace contextRef="#ctx0" brushRef="#br0" timeOffset="77025.25">18402 11549 0,'53'13'0,"-14"-26"16,-12 13-16,13-13 0,-1 13 0,14-13 16,13-1-16,80 1 15,-54 0-15,1 0 0,0 13 0,26-14 16,145 1-16,-131 0 0,158 0 15,-133 13 1,1-13-16,-13 13 0,12-14 0,1 14 16,0-13-16,13 13 0,-13-13 0,-1 13 15,1-13-15,0 13 0,0-14 16,-14 14-16,106 0 0,-39-13 16,-106 13-16,79 0 15,-105 0-15,52 0 16,-79 13-16,13-13 0,-53 0 15,0 0-15</inkml:trace>
  <inkml:trace contextRef="#ctx0" brushRef="#br0" timeOffset="77772.83">20783 12091 0,'40'-13'15,"-27"13"-15,27-13 0,26 13 0,13-13 16,-39 13-1,52-13-15,-52 13 16,13 0-16,0-14 0,-13 14 0,52 0 16,1-13-16,-40 0 15,-27 13-15,1 0 16,26-13-16,-40 13 16,13 0-16,-12 0 15,-1 0-15,0 0 31</inkml:trace>
  <inkml:trace contextRef="#ctx0" brushRef="#br0" timeOffset="78140.89">21616 11853 0,'14'14'16,"-1"-14"-16,13 13 15,14-13-15,0 13 16,-14 0-16,1-13 15,52 27-15,-39-14 16,26 27-16,-40-14 16,-26-13-1,14 53-15,-41 14 16,-26-1-16,27-39 0,-14 0 16,0-1-16,14 1 15,-67 26-15,54-53 16,25 1-16</inkml:trace>
  <inkml:trace contextRef="#ctx0" brushRef="#br0" timeOffset="79178.64">19090 9234 0,'0'-13'15,"0"-14"-15,0 14 0,13-66 32,-13 52-32,-13-65 0,13 52 15,-27-119 1,14 27-16,13 66 16,-13 13-1,13 13-15,0 14 16,0 12-16,13 14 15,0-13 1</inkml:trace>
  <inkml:trace contextRef="#ctx0" brushRef="#br0" timeOffset="81929.24">19090 11324 0,'13'0'16,"0"0"-16,0 0 16,14-13-1,13 13 1,-14-13-16,-13-1 16,14 14-16,12-13 15,1 0-15,0-13 16,26-1-16,-26 14 15,-1-14 1,14 14-16,-13 0 0,-14 0 16,-12-1-16,12 1 15,14 0-15,-1-13 16,1 12-16,0-12 16,-14 13-16,1-14 15,12 14-15,-12 0 16,-1-14-16,27 1 15,-40 13 1,14-1-16,-14 1 0,0 13 16,40-40-16,-40 27 15,14 0-15,13 0 16,-27 0-16,27-14 0,-1 14 16,14-27-16,-26 27 15,-1 0 1,14-1-16,-14-12 15,-13 26-15,27-13 0,-27 0 16,40-27 0,-39 40-16,38-27 15,-12 1-15,-27 13 16,27 0-16,0-1 16,13-12-16,-14 13 15,-12-1 1,39-12-1,0-1 1,-39 27-16,25-13 16,1 0-1,-26 13-15,12-13 0,1 13 16,13 0 0,0-13-1,-40 13-15,53 13 16,-26-13-1,-27 0-15,67 13 16,-67-13 0,53 13-16,-39-13 15,25 13-15,-25-13 0,39 14 16,-39-1-16,12 0 16,27 0-1,-39 1-15,26-1 16,26 13-1,-13-12 1,-39-1-16,65 13 16,-78-26-1,25 13-15,41 14 16,52 13 15,-66-14-15,-40-26-1,80 40 1,-92-40-16,52 26 16,-40-13-1,133 40 1,-93-26 0,-53-14-1,106 27 1,-13 13-1,-79-40 1,145 53 0,-119-66-1,-1 13 1,-25-26 0,-14 13-16,27 0 15,-27 0-15,13 0 16,-26 13-1,14-13 1</inkml:trace>
  <inkml:trace contextRef="#ctx0" brushRef="#br0" timeOffset="86288.81">19473 11430 0,'27'0'110,"-1"-13"-95,-13 13 16,14-13-31,-1-1 16,-12 14 0,-14-13-16,13 13 0,0 0 15,0-13-15,14-14 16,-14 14 0,0 0-1,0 13-15,-13-13 0,14 13 16,-1-14-16,-13 1 0,13 13 15,-13-13-15,13 13 16,-13-13-16,14 0 0,-1-1 16,0 1-16,-13 0 0,27 0 15,-14-1 1,-13 1-16,13 0 0,0 0 16,0 13-16,-13-14 15,14 1-15,-14 0 16,13 0-16,0 0 0,-13-1 15,13 14-15,1-13 16,-14 0-16,0 0 0,13 13 0,-13-14 16,13 1-16,0 0 15,-13 0-15,13 0 0,-13-1 16,14 14-16,-1-26 16,0 13-16,0-14 15,-13 14-15,14-14 16,-1 14-16,-13 0 15,13 0-15,0 0 16,-13-1-16,14 1 0,-14 0 16,13 0-16,-13-1 15,13 1-15,0-13 0,0 12 16,-13 1-16,14 0 16,-14 0-1,13 0-15,0-14 16,0 14-16,-13 0 15,14-1-15,-14 1 16,13 0-16,0 0 0,0 0 16,-13-1-16,14 1 15,-1 0-15,0 0 16,-13-14-16,13 27 0,0-26 16,1 12-1,-14 1-15,13 13 0,-13-13 0,13 0 16,0 0-16,1-14 15,12 1-15,-13-1 16,14 1 0,-27 12-16,13-12 15,0 13-15,0 0 0,1-1 16,-1-12-16,13-1 16,-12 14-16,-1 0 15,0-14-15,0 27 16,1-39-16,-1 26 15,13-14 1,-13 14-16,1 0 16,-1-14-1,0 1-15,0 26 16,-13-14-16,14 1 0,-1 0 16,0 0-1,0 13-15,0-13 0,1-14 16,-1 27-1,-13-13-15,13 13 0,-13-13 0,27-1 16,-14 1 0,0 0-16,0 13 15,1-13-15,-1 13 16,0-13-16,0 13 16,0-14-16,14 14 15,-14-13 1,14 13-16,-14 0 15,13 0-15,1 0 16,-14 0-16,13 0 16,-12 0-16,12 0 15,-13 0-15,14 0 16,-14 13 0,0-13-16,14 0 15,-1 0-15,-13 14 16,14-14-16,-1 13 15,-12-13-15,-1 0 16,0 13-16,0-13 0,0 13 16,14-13-16,-1 13 15,1 1 1,-14-1-16,14-13 16,-27 13-16,13-13 0,0 0 15,13 13 1,-12 1-16,12-1 15,-13 0 1,1-13-16,-14 13 16,13-13-16,0 13 15,0 1-15,27-1 16,-27 0 0,0-13-1,1 13-15,-1 1 16,0-14-16,-13 13 0,13-13 15,1 13 1,-1 0-16,0-13 0,-13 14 16,13-14-16,1 13 15,-1 0-15,-13 0 16,13-13-16,-13 13 16,13 1-16,-13-1 15,13 0-15,-13 0 16,14 1-1,-14-1-15,13 0 16,-13 0-16,13 1 16,-13-1-16,13 0 15,-13 0-15,14 0 16,-14 1 0,13-1-1,0 13-15,0-12 16,-13-1-16,13 0 15,1 14 1,-1-14-16,0 13 16,-13-13-16,13 14 15,1-14-15,-1 0 0,0 14 16,14 13-16,-14-14 16,0-13-16,0 14 15,-13-14-15,13 0 16,1 14-16,-1-14 0,0 13 15,14 14 1,-14-14-16,27 27 16,-40-39-1,13-1-15,0 0 0,0 0 16,0 0-16,-13 1 16,14-1-16,-1 0 0,13 27 15,-26-27 1,14 0-1,-1 14-15,0-1 16,0-13 0,0 1-16,-13-1 15,14 0-15,-1 0 16,0 1-16,0 12 16,1-13-16,-1 0 15,0 14-15,0-14 16,1 0-16,-14 1 15,13-1-15,0 0 0,-13 0 16,13 1-16,0 12 16,27 0-16,-13 1 15,26-1 1,-14-12-16,-12-1 16,26-13-1,-27 0 1,1-27-16,-14 1 15,0-1 1,-13 1-16</inkml:trace>
  <inkml:trace contextRef="#ctx0" brushRef="#br0" timeOffset="88556.38">20254 11404 0,'13'0'16,"0"0"-1,1 0-15,-1-14 32,0 14-32,0 0 0,0-13 0,1 0 15,12 0-15,-13-1 16,1 1-16,-1 0 0,0 0 15,0-1-15,1 1 0,-1-13 16,26-27-16,-39 26 16,14 14-16,-1 0 0,0-27 15,0 27-15,1-27 0,-14 27 16,13-13-16,-13-1 0,13-12 16,0-14-16,1 13 15,-14 13-15,26-39 16,-13 0-16,0 53 15,-13-14-15,14 1 0,-1 0 0,-13 12 16,13-12-16,-13 13 0,13-27 16,1 27-16,-14-14 0,0 14 0,13 0 15,-13-40-15,13 13 16,-13 14-16,13-14 0,-13 14 16,13-27-16,1 13 15,-14 14-15,13 12 0,-13-12 16,0 13-16,13-27 0,-13 0 15,0 14-15,13-1 16,-13 1-16,0-1 0,14 14 16,-14-13-16,0-1 0,0 1 0,13 13 15,-13-14-15,0 14 0,0 0 16,0-14-16,13 1 0,-13-1 16,0 14-16,0 0 0,0-14 15,13-12-15,-13-1 16,0 14-16,0 12 0,14-12 15,-14-14-15,0 14 16,13-14-16,0 27 0,-13-14 0,0 14 16,13-13-16,-13 12 15,13-25-15,1 12 0,-1 1 16,0-14-16,0-13 16,-13 27-16,14 13 0,-1-14 15,-13 1-15,13-14 0,0-13 16,1 40-16,-14-14 0,13 1 15,-13-1-15,13 1 0,13-40 16,1 0 0,-27 39-16,26-13 0,-12 1 15,-1 26-15,0-14 16,0 14-16,-13 0 0,13-1 16,14-12-16,-27 13 0,26 0 15,-26-1-15,14 14 0,-1-13 16,0 13-16,0-13 15,1 13 1,-1 0-16,0 0 16,0 0-16,-13 13 0,13-13 15,1 27-15,-1 12 16,-13-26-16,13 1 16,-13 39-1,13-14-15,-13 1 0,14-27 16,-14 14-16,0 12 15,0-25-15,0 12 0,0-13 0,13 14 16,-13 12-16,0 14 16,0-26-16,0-1 15,0 1-15,0-1 0,0 1 0,0 26 16,0-27-16,0 14 16,0-14-16,0 14 15,0-14-15,0 14 0,0 13 16,13-27-16,-13 14 15,0-14-15,0 41 16,0-41-16,0 14 16,0-1-16,0 14 15,0-39-15,13 12 16,-13-13-16,0 14 0,0-1 0,0-13 16,14 40-16,-14-26 0,0-14 15,13 40-15,-13-40 16,13 40-16,-13-40 0,13 40 15,-13-26-15,13 12 16,-13-25-16,0 25 16,14-12-16,-14-14 0,0 27 15,0-14-15,0-13 0,0 27 16,13-13-16,-13-14 16,0 53-16,0-53 15,0 27-15,13-27 0,-13 40 16,13-40-1,-13 14-15,0-14 0,0 0 0,14 14 0,-14-14 16,13 40 0,-13-40-16,0 0 0,13 0 0,-13 1 15,13 12-15,-13 1 16,14-1-16,-14 14 16,13-14-1,-13-13-15,13 14 0,0-1 16,-13-12-1,13 12-15,1-13 0,-14 0 16,13 1-16,0-1 16,-13 0-16,27 14 0,-27-14 15,13 0-15,-13 0 0,13 14 16,0-14-16,1 0 16,-1 0-16,-13 1 0,13 12 15,13 14-15,-12-27 16,-14 0-16,13 0 15,0 1-15,0 12 16,1-13-16,-1 1 16,-13-1-16,13-13 0,0 13 15,0 0 1,1-13-16,12 0 16,1 0-16,-14-13 0,0 13 15,0 0-15,14-13 16,-1 13-16,-26-13 0,27 13 15,-14-14 1</inkml:trace>
  <inkml:trace contextRef="#ctx0" brushRef="#br0" timeOffset="101161.63">22556 7488 0,'0'-14'0,"-27"41"31,14-1-31,-13 14 15,-41 39-15,1 14 16,40-53-16,-1 13 16,-39 26-16,13 0 0,40-52 15,0-1-15,0 1 0,-1-14 0,-12 40 16,26-40 0,-13-13-16,13 13 0,0 1 15</inkml:trace>
  <inkml:trace contextRef="#ctx0" brushRef="#br0" timeOffset="101596.6">22013 8057 0,'-13'66'0,"0"-27"16,13-12-16,0-14 0,0 0 16,0 14-16,13-14 0,-13 0 0,0 0 15,13 14-15,1-27 16,-14 13-16,13-13 0,26 13 15,-12-13-15,-14 0 0,27-13 16,13 13-16,-27-13 0,1 13 16,12-13-16,-12 13 0,-14 0 15,14 0-15,-14-14 0,0 14 16,0 0-16</inkml:trace>
  <inkml:trace contextRef="#ctx0" brushRef="#br0" timeOffset="110433.33">21339 8414 0,'-14'26'46,"14"-13"-46,-13 1 0,0 12 16,13 1-16,0-14 0,-13 13 16,-1 1-16,14-1 0</inkml:trace>
  <inkml:trace contextRef="#ctx0" brushRef="#br0" timeOffset="110615.77">21193 8956 0,'-26'40'0,"26"-14"16,-14-12-16,14-1 16,-13 0-16,13 0 0,0 14 15</inkml:trace>
  <inkml:trace contextRef="#ctx0" brushRef="#br0" timeOffset="110786.41">21101 9379 0,'-14'0'0,"14"14"16,14-28-16,-28 41 0,14-14 15,-13 0-15,13 1 16,0-1-16,0 0 15,-13 0-15,13 1 0</inkml:trace>
  <inkml:trace contextRef="#ctx0" brushRef="#br0" timeOffset="110940.84">21074 9631 0,'0'13'16,"0"0"15,0 1-15,0-1-1</inkml:trace>
  <inkml:trace contextRef="#ctx0" brushRef="#br0" timeOffset="111358.5">21140 9895 0,'13'27'15</inkml:trace>
  <inkml:trace contextRef="#ctx0" brushRef="#br0" timeOffset="111552.5">21114 10319 0,'-13'13'0,"13"0"16</inkml:trace>
  <inkml:trace contextRef="#ctx0" brushRef="#br0" timeOffset="111710.77">21127 10610 0,'0'13'0</inkml:trace>
  <inkml:trace contextRef="#ctx0" brushRef="#br0" timeOffset="112042.29">21180 11258 0,'0'13'0</inkml:trace>
  <inkml:trace contextRef="#ctx0" brushRef="#br0" timeOffset="112178.43">21153 11430 0</inkml:trace>
  <inkml:trace contextRef="#ctx0" brushRef="#br0" timeOffset="112836.74">21167 10954 0,'-14'-40'0,"14"27"0,-13 13 0,13-13 16,-13-1-16,13 1 0,0 0 15,-13 13-15,13-13 16,0-1-16</inkml:trace>
  <inkml:trace contextRef="#ctx0" brushRef="#br0" timeOffset="112960.59">21167 10742 0,'-14'-13'15,"28"26"-15</inkml:trace>
  <inkml:trace contextRef="#ctx0" brushRef="#br0" timeOffset="117396.17">22357 12621 0,'0'13'16,"0"0"-1,14-39 16,-1 12-31,0-25 16,-13-1-16,13-39 16,0-27-1,-13 79-15,14 1 16,-14-14-16,0 27 0,0 0 16,0 0-16,0-1 0,0 1 15,0 53 16,0-27-31,-14 0 0,28 27 16,-14-14-16,13 1 16,-13-14-16,13 27 15,0-40-15,1 13 0,-1-13 16,13-13 0,-13-1-16,1 1 0,-1 0 0,0-13 15,14-1-15,-14 1 0,-13 12 16,26-25-16,-26 26 0,14 13 15,-14-14-15,0 1 0,13 13 16,-13 27 0,0-14-16,13-13 15,-13 26-15,0-13 0,0 1 0,0-1 16,0 0-16,0 0 0,0 1 0,0-1 16,13 0-16,-13 0 0,0 0 15,0 1-15,13-14 16,1 0-16,-1 0 0</inkml:trace>
  <inkml:trace contextRef="#ctx0" brushRef="#br0" timeOffset="117689.46">22913 12211 0,'40'0'0,"-27"-14"0,0 14 16,0 0 0</inkml:trace>
  <inkml:trace contextRef="#ctx0" brushRef="#br0" timeOffset="117808.5">22966 12316 0,'40'-26'16,"-14"13"-16,-92 52 0,145-78 16,-66 25-16,1 1 0</inkml:trace>
  <inkml:trace contextRef="#ctx0" brushRef="#br0" timeOffset="119813.16">22767 13203 0,'0'-14'16,"-13"41"-16,0-14 0,13 0 15,-13-13-15,13 14 0,-14-1 16,-12 13-16,-14 1 16,27-14-16,-13 0 0,-1-13 0,14 13 15,-14-13-15,1 14 0,13-14 16,-14 0-16,14 0 0,0-14 0,-14 14 16,14-13-16,0 0 0,0 0 15,0 0-15,13-1 0,0 1 0,0 0 16,0 0-16,0-1 0,0 1 15,13 0-15,0-14 0,0 14 16,0 0-16,14 0 0,26-14 16,-40 14-16,13 0 0,1 0 0,-1-1 15,1 14-15,-1-13 0,1 13 16,-1-13-16,27 0 0,-26 13 16,-1-13-16,1 13 0,-14 0 15,13-14-15,-13 14 0,14 0 16,-14 0-16,0 0 0,1-13 0,-1 13 15,0 0-15,0 0 16,1 0-16,-1 0 16</inkml:trace>
  <inkml:trace contextRef="#ctx0" brushRef="#br0" timeOffset="120151.29">23098 13229 0,'13'0'31,"14"-13"-31,-27 0 0,40-1 16,-14 14 0,-13-13-16,0 13 0,27-13 15,-27 26 1,1-13-1</inkml:trace>
  <inkml:trace contextRef="#ctx0" brushRef="#br0" timeOffset="120360.04">23191 13375 0,'13'-14'31,"0"14"-31,-13-13 16,13 13-16,1-13 0,12 0 15,-13 0-15,14-1 0,12-12 16,-12 13-16,-1-1 16,54-12-16,-54 26 0</inkml:trace>
  <inkml:trace contextRef="#ctx0" brushRef="#br0" timeOffset="123509.35">19262 11284 0,'0'-13'16,"-14"26"0,-12-13-16,-40 0 15,39 0 1,-12 0-16,12 0 0,-52 0 0,26 14 15,-93-14 1,93 0-16,1 13 0,-1-13 16,0 0-16,13 0 0,-13 0 0,0 13 15,0-13-15,-39 0 16,52 0-16,0 13 0,1-13 0,12 0 16,-12 0-16,12 0 0,1 0 15,-14 0-15,13 14 0,1-14 0,0 0 16,12 0-16,-12 0 0,13 0 15,-27 13-15,27-13 0,-1 0 16,1 0-16,0 0 0,0 0 16,0 13-16,-1-13 31,1 0-31,0 0 31,0 0-15,13 13 15,-14-13 47,41-26 313</inkml:trace>
  <inkml:trace contextRef="#ctx0" brushRef="#br0" timeOffset="124484.41">19764 11232 0,'-26'0'0,"13"-14"15,-1 14 1,1-13-16,0 13 0,0 0 16,0-13-16,-1 13 0,-25-27 0,12 27 15,1-26-15,-14 13 16,14-1-16,-14 1 0,-13-13 0,0-1 16,-66-26-16,66 27 15,0 0-15,-13-1 0,13 1 0,-13-1 16,13 1-16,-13-1 0,13 14 0,0-13 15,-13 12-15,13 1 0,13 0 0,-13 0 16,14-1-16,-14 1 0,13 13 16,0-13-16,14 13 0,-1-13 0,1 13 15,0 0-15,12 0 0,1-14 16,0 14-16,26-13 16,14 13-16</inkml:trace>
  <inkml:trace contextRef="#ctx0" brushRef="#br0" timeOffset="125565.3">20770 9657 0,'-66'-26'0,"52"26"0,1 0 16,0-13-16,0 13 0,-14-14 16,14 14-16,-13 0 0,-1-13 0,1 0 15,-1 13-15,-12-13 0,12-1 16,-39-12-16,26 13 0,14 0 16,-14-1-16,0 1 0,14-13 0,-14 12 15,1 1-15,-14 0 0,0 0 16,0-14-16,0 14 0,-13 0 0,0 0 15,13-1-15,-13-12 0,-54-1 16,54 14-16,0 0 0,-53-13 16,53 12-16,0 1 0,0-13 15,0 12-15,13 14 16,-53-26-16,53 13 0,0 13 16,0-14-16,0 1 0,0 13 0,0-13 15,0 0-15,14 13 0,-14-13 16,13 13-16,0-14 0,14 14 0,-40-13 15,53 0-15,-14 13 16,1 0-16,12-13 0,1 13 0,0 0 16,0 0-16,0 0 0,-1-14 0,1 14 15,0 0 1,0 0-16,-1 0 16,1 14-1,13-1 1,0 0-1,13-13 17,-13 13-17</inkml:trace>
  <inkml:trace contextRef="#ctx0" brushRef="#br0" timeOffset="127609.04">22741 13203 0,'13'0'62,"0"0"-46,-13-14-1,14 14 1,-1-13-16,-13-13 31,0-1-31,0 14 16,0-13-1,0 12-15,0 1 16,0 0 0,0 0-1</inkml:trace>
  <inkml:trace contextRef="#ctx0" brushRef="#br0" timeOffset="128017.72">22767 13044 0,'40'-26'15,"-13"26"-15,-14 0 0,13-14 16,-13 14-16,14 0 0,-14 0 16,40-13-1,-40 13-15,1 0 0,-1-13 0,0 13 0,0 0 16,0 0-16,1 0 16,-1 0-1,-13-13-15,13 13 16,-13-14-1</inkml:trace>
  <inkml:trace contextRef="#ctx0" brushRef="#br0" timeOffset="130620.37">23865 11642 0,'-53'-14'15,"40"28"1,-13-14-16,13 13 0,-1-13 0,1 13 15,0-13-15,0 13 0,-1-13 16,1 14-16,0-1 0,13 0 16,0 0-16,0 1 15,13-1-15,-13 0 0,27 0 16,-14 0 0,0 1-16,0-14 0,1 13 0,-1 0 15,0 0-15,-13 1 0,13-14 16,-13 13-16,0 0 15,0 0-15,-13 0 0,0 1 16,0-14-16,-1 13 16,-25 0-16,25-13 0,1 0 15,-13 0-15,-1 0 0,14 0 16,0 0 0,0-13-16</inkml:trace>
  <inkml:trace contextRef="#ctx0" brushRef="#br0" timeOffset="131477.29">24011 11708 0,'-40'13'15,"40"0"-15,-13-13 0,13 14 16,-13-14-16,13 13 0,-13 0 15,-1 13-15,14-12 16,-13-1-16,13 0 16,0 0-16,13 1 31,1-28-15,-1 14-16,0-13 0,0 0 31,0 0-31,-13-1 15,14 1 1,-14 0 0,13 26 46,-13 0-46,13 1 31,0-28-16,1 14-15,-14 14-1,13-14 1,0 13-1,-13 0 1,0 0-16,13 1 31,1-28 1,-1 14-17,0-13 1,0 13-1,0 13-15,1-13 32,-1 0-32,0 0 31,0-13-15</inkml:trace>
  <inkml:trace contextRef="#ctx0" brushRef="#br0" timeOffset="131941.45">24368 11536 0,'-13'0'0,"0"13"16,13 0-1,-14 1-15,14-1 0,0 13 16,-13-13-16,13 14 0,0-14 16,0 14-16,0-1 0,-13 1 0,13 12 15,0-26-15,0 14 0,0 13 16,0-27 0,0 0-16,0 0 0,0 0 0,0 1 15,0-1 1,13-13-1,0 0 1,-13 13 0,14-13 15,-14 13-15,0 1-16,-14-14 15,1 13-15,-13 0 16,13-13-1,-1 13-15,1-26 16,0 0 0,13 0-16,0-1 15</inkml:trace>
  <inkml:trace contextRef="#ctx0" brushRef="#br0" timeOffset="132310.19">24606 11443 0,'0'27'15,"0"-14"-15,-13 13 0,13-12 16,0-1-16,0 0 0,-13 0 15,13 1-15,0 25 0,0-26 16,0 1-16,13-1 16,-13 0-16,13-13 15,0 0 1,1-13 0,-1 26-1,0 0 1,-13 1-1,13-1 1,1-13 0</inkml:trace>
  <inkml:trace contextRef="#ctx0" brushRef="#br0" timeOffset="-5554.88">6773 6390 0,'14'0'62,"12"-14"-46,0 14-16,-12 0 0,12 0 15,40-13-15,-26 0 16,13 13-16,-13-13 0,-1 13 0,-12 0 16,-1-13-16,1 13 0,-1 0 0,1 0 15,25-14 1,-38 14-16,-1 0 0,0 0 0,0 0 15,1 0-15,-1-13 16</inkml:trace>
  <inkml:trace contextRef="#ctx0" brushRef="#br0" timeOffset="-5147.74">7236 6099 0,'27'13'16,"-14"-13"0,0 13-16,14 0 0,-14-13 0,0 14 0,14-1 15,-14-13-15,13 13 16,-12 0-16,12-13 0,-13 13 0,0 1 16,1-14-16,-1 13 0,0-13 0,0 13 15,-13 0-15,14-13 0,-14 14 16,0-1-16,0 0 0,0 0 15,-14 1-15,1-1 0,13 13 16,-13-13-16,0 1 0,-1-1 0,1 0 16,0 0-16,0 1 0,0-1 15</inkml:trace>
  <inkml:trace contextRef="#ctx0" brushRef="#br0" timeOffset="-4383.28">7885 5980 0,'13'13'31,"0"-13"-31,0 13 15,14 0-15,-14-13 16,0 0-16,0 13 0,1-13 16,12 14-16,-13-14 0,1 0 15,-1 13-15,0-13 16,-13 13-16,13-13 0,-13 13 16,0 1-16,0-1 0,0 0 15,-13 0-15,13 1 16,-13-14-16,-14 26 0,14-13 15,0 0-15,-14 14 16,1-1-16,13-12 16,0-1-16,-1-13 0,14 13 15,-13-13-15,0 13 0,39-26 47</inkml:trace>
  <inkml:trace contextRef="#ctx0" brushRef="#br0" timeOffset="-3699.69">8215 5927 0,'14'0'15,"12"13"1,-13 0 0,-13 0-1,-13 1-15,13-1 0,0 0 16,-13 0-16,13 0 15,0 1-15,13-14 16,-13 13-16,13-13 16,-13 13-16,13-13 0,-13 13 15,14-13 1,-14 14-16,0-1 16,-14 0-16,1 0 15,0 1-15,-13-1 0,12-13 16,1 13-16,0 0 15,0-13-15,-1 13 16</inkml:trace>
  <inkml:trace contextRef="#ctx0" brushRef="#br0" timeOffset="-3479.48">8520 5993 0,'-14'26'0,"1"-13"15,0 1-15,0-1 16,-1 0-16,1 14 0,0-14 0,0 0 16,0 0-16,-1 1 0,-12 25 15,13-39 1,13 13-16</inkml:trace>
  <inkml:trace contextRef="#ctx0" brushRef="#br0" timeOffset="-3300.13">8639 6046 0,'-40'66'0,"40"-53"0,-13 0 0,-1 1 15,-25 38-15,-14 1 16,26-13-16,14-13 16,0-14-16,0 0 0,0 0 15</inkml:trace>
  <inkml:trace contextRef="#ctx0" brushRef="#br0" timeOffset="-538.78">6694 8281 0,'13'-13'0,"0"13"15,1 0 1,12 13-1,1-13-15,-14 0 0,13 14 0,1-14 0,12 0 16,1 0-16,79 0 16,-66 0-16,13 0 0,-13 0 0,13 0 15,-13 0-15,13 0 0,0 0 16,-13-14-16,14 14 0,-15 0 16,1 0-16,0 0 0,0 0 0,27 0 15,-41 0-15,-12 0 16,-1 0-16,-13 0 15,1 0-15,-1 0 0</inkml:trace>
  <inkml:trace contextRef="#ctx0" brushRef="#br0" timeOffset="-95.24">7911 8109 0,'13'14'31,"1"-1"-31,-1-13 16,0 13-16,27 14 0,-27-27 15,13 13-15,-12 0 0,-1 0 0,0 1 16,0-1-16,0 0 0,1 0 16,-1-13-16,-13 13 0,13 1 0,-13-1 15,0 0-15,0 0 0,0 1 0,-13-1 16,13 0-16,-13 0 16,-14 1-16,14-1 0,-27 13 15,27-13-15,0 1 0,0-1 0,-1-13 16,14 13-16,-13 0 15</inkml:trace>
  <inkml:trace contextRef="#ctx0" brushRef="#br0" timeOffset="660.43">8943 8109 0,'66'0'16,"-53"14"-16,1-14 0,-1 13 15,-13 0-15,-13 14 16,13-14 0,0 0-1,13 0 1,0-13-1,0 14-15,0-14 16,1 13-16,-1-13 0,0 13 0,0 0 16,-13 0-1,0 1-15,0-1 0,0 0 16,-13 0-16,0 1 0,-14-1 16,14-13-16,-13 13 0,13 0 15,-40 1-15,26-1 0,14-13 16,-14 0-16,14 13 0,0-13 0,0 0 0,0 13 15,-1-13-15</inkml:trace>
  <inkml:trace contextRef="#ctx0" brushRef="#br0" timeOffset="2901.99">3241 10821 0,'-26'0'63,"12"0"-48,1 0-15,0 0 0,0 0 16,0 0-16,-14 0 0,14 0 16,-40 0-16,0 0 15,27 0-15,-14 14 0,0-14 0,1 13 16,-1-13-16,0 0 0,-39 13 15,13-13-15,39 0 16,-26 13-16,40-13 0,-13 0 16,-1 0-16,14 0 15,-14 0-15,14 0 0,0 0 0,-14 0 16,14 0-16,0 0 0,0 0 16,0 0-16,-1 0 15,1 14 1</inkml:trace>
  <inkml:trace contextRef="#ctx0" brushRef="#br0" timeOffset="3568.94">2355 10716 0,'-27'26'31,"14"-13"-16,13 1-15,-13-1 16,0 0-16,-1 13 16,14-12-16,-13-1 15,13 0-15,-13 14 16,13-14-16,0 13 16,13-26-16,-13 14 0,0-1 15,13 0-15,1 0 16,-14 0-16,13 1 0,13-1 15,1 0-15,-14-13 16,13 0-16,1 13 16,-14-13-16,0 0 15</inkml:trace>
  <inkml:trace contextRef="#ctx0" brushRef="#br0" timeOffset="6517.32">1283 10954 0,'-13'0'31,"53"0"16,-14-13-31,-13 13-16,1 0 16,-14-14-16,13 14 0,0 0 15,0 14 1</inkml:trace>
  <inkml:trace contextRef="#ctx0" brushRef="#br0" timeOffset="6700.17">1283 11086 0,'13'0'0,"1"0"15,-1 0-15,13-13 0,14 13 32,-27-13-32,1 13 0,-1 0 15,0-14-15</inkml:trace>
  <inkml:trace contextRef="#ctx0" brushRef="#br0" timeOffset="7139.34">1588 10835 0,'26'-14'16,"-13"14"-16,14 14 16,-27-1-1,0 13 1,26-12 15,-13-1-31,1-13 16,-1 0-16,0 0 0,-13 13 0,13-13 15,0 0-15,1 13 16,-14 1 0,-14-1-16,1-13 0,0 13 0,0 0 15,-14 0-15,14 1 0,-13-1 16,12 0-16,-25 0 0,26-13 16,-14 0-16,27 14 0,0-41 31,13 14-31</inkml:trace>
  <inkml:trace contextRef="#ctx0" brushRef="#br0" timeOffset="8149.28">8678 8136 0,'14'0'16,"-14"-13"0,-14 39 30,1-26-46,0 13 0,0 14 16,-1-14-16,1 0 0,0 1 0,0 12 16,-1-13-16,1 0 0,0 1 15,0-1-15,13 0 0,0 0 16,13 1-16,0-14 16,0 0-16,14 0 0,13-14 15,-1 1-15,14 0 0,0 0 0,0-1 16,66-25-16,-66 26 0</inkml:trace>
  <inkml:trace contextRef="#ctx0" brushRef="#br0" timeOffset="27324.45">9644 7594 0,'40'0'16,"-27"0"-1,0 0-15,0 0 0,40 0 16,-26 0-16,-1 0 15,1 0-15,-1-14 0,14 14 16,-14 0-16,27 0 16,-40 0-16,14-13 0,-14 13 15</inkml:trace>
  <inkml:trace contextRef="#ctx0" brushRef="#br0" timeOffset="27552.8">9842 7673 0,'53'-13'16,"-39"13"-16,-1-14 0,0 14 16,14 0-16,-1-13 0,-13 13 0,0 0 15,14 0-15,-14-13 0,0 13 0,1 0 16,-1 0-16,0 0 0,0 0 15,1 0-15,-1 0 0,0 0 16</inkml:trace>
  <inkml:trace contextRef="#ctx0" brushRef="#br0" timeOffset="38501.65">4498 11298 0,'-27'-14'15,"1"28"-15,13-14 16,0 13-16,-14-13 16,-13 13-16,-13 14 15,-13 12-15,0-12 16,40-1-16,-14-13 0,14 14 16,-1-14-16,-13 14 0,27-27 15,13 13-15</inkml:trace>
  <inkml:trace contextRef="#ctx0" brushRef="#br0" timeOffset="39372.44">8348 11284 0,'26'0'16,"-13"0"-16,1 14 16,12-1-16,0-13 0,-12 0 15,-1 13-15,13-13 0,-12 0 16,25 13-16,1 1 16,-27-14-16,0 13 15,1 0-15</inkml:trace>
  <inkml:trace contextRef="#ctx0" brushRef="#br0" timeOffset="39854.14">8281 11271 0,'-13'106'16,"13"-66"-16,0-27 16,0 13-16</inkml:trace>
  <inkml:trace contextRef="#ctx0" brushRef="#br0" timeOffset="40344.23">8321 11417 0,'-13'26'15,"13"1"-15,0-14 16,0 0-16</inkml:trace>
  <inkml:trace contextRef="#ctx0" brushRef="#br0" timeOffset="40580.31">8414 11549 0,'13'0'47</inkml:trace>
  <inkml:trace contextRef="#ctx0" brushRef="#br0" timeOffset="40714.13">8480 11589 0,'13'0'0,"-26"13"15</inkml:trace>
  <inkml:trace contextRef="#ctx0" brushRef="#br0" timeOffset="40858.75">8612 11628 0,'53'0'31,"-40"0"-15,-13-13-1,-106 26 1,199-39 0</inkml:trace>
  <inkml:trace contextRef="#ctx0" brushRef="#br0" timeOffset="41076.96">8440 11496 0</inkml:trace>
  <inkml:trace contextRef="#ctx0" brushRef="#br0" timeOffset="41204.64">8453 11483 0,'0'0'16,"-13"-13"-1</inkml:trace>
  <inkml:trace contextRef="#ctx0" brushRef="#br0" timeOffset="41410.1">8440 11390 0,'13'0'31,"1"14"-31,12-14 16,-13 13-16,1 0 15,12 13-15,0-12 16,-12-1-16,-14 0 0,13 14 15</inkml:trace>
  <inkml:trace contextRef="#ctx0" brushRef="#br0" timeOffset="41581.35">8255 11642 0,'0'-27'16,"0"14"-1</inkml:trace>
  <inkml:trace contextRef="#ctx0" brushRef="#br0" timeOffset="41797.8">8506 11496 0,'14'0'15,"-28"0"-15</inkml:trace>
  <inkml:trace contextRef="#ctx0" brushRef="#br0" timeOffset="42519.59">4405 11298 0,'-26'0'0</inkml:trace>
  <inkml:trace contextRef="#ctx0" brushRef="#br0" timeOffset="43176.47">4075 11456 0,'0'0'15,"-14"0"1,28 14 0,-1 12-16,13-13 15,-12-13 1,25 14-16,1-1 16,-14-13-16,-12 0 15,12 13-15,14-13 16,-1-13-1,-25 13 1,-1 0-16,27-27 16,-14 14-16,0-13 15,-12-1 1,-1-26 0,-13 40-16,0 0 15,0 0-15,-13-14 16,-1 14-1,1 13-15,-13-13 0,13 13 16,-14 0 0,1 0-16,-1 0 0,1 0 15,12 0-15,-25 13 16,12 0-16,1 0 0,13 1 16,-27 12-16,27-13 0,0-13 0,13 14 15,-14 12-15,14-13 16,-13 14-16,13-1 15,0 1-15,0-1 16,0-13-16,13 1 16,-13-1-16,14 0 15,-14 0-15,13-13 16,0 0-16,0 13 16,14-13-16,-14 0 15,13-13-15,-12 0 16,-1 13-1,0-13-15,0 13 0,-13-13 0,13 13 16,-13-14-16,14 14 0</inkml:trace>
  <inkml:trace contextRef="#ctx0" brushRef="#br0" timeOffset="44111.3">8176 11232 0</inkml:trace>
  <inkml:trace contextRef="#ctx0" brushRef="#br0" timeOffset="44306.17">8215 11232 0,'-39'0'0,"25"0"15,14 13 1,-13-13 0</inkml:trace>
  <inkml:trace contextRef="#ctx0" brushRef="#br0" timeOffset="44469.91">8136 11218 0,'-27'27'16,"14"-27"-16,13 13 0,-13 0 16,13 0-16,-13-13 15,13 14-15,-13-1 16</inkml:trace>
  <inkml:trace contextRef="#ctx0" brushRef="#br0" timeOffset="44616.72">8096 11377 0,'0'13'15,"0"1"-15,13-1 16,1 0 0</inkml:trace>
  <inkml:trace contextRef="#ctx0" brushRef="#br0" timeOffset="45212.55">7766 10888 0,'0'39'16,"0"27"0,0-52-16,0 12 0,0 1 15,0 39-15,0-40 0,0 1 16</inkml:trace>
  <inkml:trace contextRef="#ctx0" brushRef="#br0" timeOffset="45470.31">7977 11404 0</inkml:trace>
  <inkml:trace contextRef="#ctx0" brushRef="#br0" timeOffset="45964.15">7898 11139 0,'-13'13'0,"-1"0"16,14 1-16,-13-1 15,13 13-15,0 1 16,0-14-16,0 0 16,0 0-16,13 14 0,-13-14 15,14 0-15,-14 1 0,13-1 16,0 0-16,-13 0 0,13 1 0,1-1 16,-1-13-16,-13 13 0,13 0 0,0-13 15,14 13-15,-14-13 16,-13 14-16,13-14 0,0 0 0,27 0 15,-27 0-15,14 0 16,-14-14-16,0 14 16,0 0-16,1-13 0,-1 13 15,0-13-15,0 13 0,-13-13 0,14 0 16,-14-1 0,0 41 46,13-14-46,-13 0-16,13-13 0,0 0 15,0 0-15,-13 13 0</inkml:trace>
  <inkml:trace contextRef="#ctx0" brushRef="#br0" timeOffset="46684.32">4921 10848 0,'0'40'15,"0"-27"-15,0 13 0,-13 14 16,13-14-16,0 1 16,0-14-16</inkml:trace>
  <inkml:trace contextRef="#ctx0" brushRef="#br0" timeOffset="46819.14">4934 11536 0,'-13'53'0,"0"-40"16</inkml:trace>
  <inkml:trace contextRef="#ctx0" brushRef="#br0" timeOffset="47632.53">4313 11443 0,'0'159'0,"13"-146"15,0-13-15,0 13 16,40-13-16,-39 0 15,12-13-15,-13 0 0,53-27 16,-13-13-16,-39 27 16,12-14-16,-13 14 0,0-14 0,1-13 15,-1 27-15,-13 12 16,-13-25-16,13 26 16,-14-1-16,1 14 15,-13 14 1,-1 38-1,27-38-15,0-1 0,0 13 16,14-12-16,-1 25 16,0-39-16,0 14 0,0-1 0,1 0 15,12-13 1,1-13-16,-14 13 16,0-27-16,0 14 0,0-27 15,1 14-15,-14-1 16,0 14-16,0-13 15,-14 52 17,14-13-32,0 14 0,0-14 15,0 14-15,0-1 0,14 14 16,-1-14-16,-13-13 0,13 14 16,0-14-16,1 0 0,-1-13 15,0 14-15,0-1 0,1-13 16</inkml:trace>
  <inkml:trace contextRef="#ctx0" brushRef="#br0" timeOffset="47795.2">5080 11523 0,'0'0'0,"-26"13"0</inkml:trace>
  <inkml:trace contextRef="#ctx0" brushRef="#br0" timeOffset="51852.91">4908 12012 0,'13'0'15,"14"13"-15,-1-13 0,146 14 16,-106-1-16,14-13 15,-14 13-15,13-13 0,14 13 16,-1-13-16,1 13 0,13 1 0,13-14 0,13 13 16,0-13-16,-12 13 0,-15-13 15,28 13-15,-1-13 0,0 14 0,1-14 16,-28 0-16,1 0 0,0 13 16,0-13-16,0 0 0,0 0 0,-14 13 15,1-13-15,-1 0 0,-12 13 16,-14-13-16,0 14 0,-13-14 0,0 0 15,-27 13-15,1-13 0,-1 0 0,1 0 16,-14 0-16,0 0 16,0 0-16,-39-13 47</inkml:trace>
  <inkml:trace contextRef="#ctx0" brushRef="#br0" timeOffset="52284.94">8017 11972 0,'132'53'0,"-39"-13"16,-54-27-16,1 14 15,0-14-15,-14 0 0,14 0 0,0 1 16,-14-1-16,1 0 0,-1 0 16,-13 1-16,14-1 0,-27 0 0,13 0 15,0 0-15,-26 1 16,13 12-16,-13-13 0,-14 1 16,1-1-16,-14 13 0,14-13 0,-27 1 15,13 12-15,-13-13 0,-13 1 0,13-1 16,-13 0-16,13 0 0,-13-13 15,13 14-15,0-14 0,0 0 0</inkml:trace>
  <inkml:trace contextRef="#ctx0" brushRef="#br0" timeOffset="54044.86">5305 11933 0,'-93'-14'16,"67"14"-1,-40 0-15,26 14 0,0-14 0,1 13 16,-1-13-16,13 13 0,1-13 16,0 13-16,-1-13 0,1 14 0,-1-14 15,14 0-15,0 13 0,-14-13 16,1 13-16,13-13 0,13 13 15,-27 14 1,27-14-16,0 0 0,13 0 16,-13 14-16,14 13 0,25-1 15,-26-12-15,1-1 16,-1 1-16,27 12 0,-14 1 16,1-27-16,-14 14 15,0-14-15,27 13 0,-14-12 16,14 12-16,-27-13 15,14-13-15,-14 0 0,13 14 16</inkml:trace>
  <inkml:trace contextRef="#ctx0" brushRef="#br0" timeOffset="58493.16">6125 6165 0,'-13'13'0</inkml:trace>
  <inkml:trace contextRef="#ctx0" brushRef="#br0" timeOffset="58681.59">6085 6310 0,'0'27'0,"0"-14"16,0 0-16,0 0 0,0 1 16</inkml:trace>
  <inkml:trace contextRef="#ctx0" brushRef="#br0" timeOffset="59060.71">6099 7620 0,'0'79'16,"0"-52"-16,-14-1 0,14 1 16,0 52-1,0-66-15,0 1 16,0 12-16,0-13 0,0 1 0,0-1 15,0 0-15,0 0 0,0 0 16,0 1-16,0-1 0,0 0 16,0 0-16</inkml:trace>
  <inkml:trace contextRef="#ctx0" brushRef="#br0" timeOffset="59220.44">5927 8758 0,'-14'66'0</inkml:trace>
  <inkml:trace contextRef="#ctx0" brushRef="#br0" timeOffset="59971.08">6681 6747 0,'0'145'0</inkml:trace>
  <inkml:trace contextRef="#ctx0" brushRef="#br0" timeOffset="60155.06">6681 7792 0,'0'40'16,"0"-14"-16,0-13 0,-13 27 16,13-13-16,0-14 0,0 13 15,0-13-15,0 14 0,-14-1 0,14 27 16,0-13-16,0-14 0,0 1 15</inkml:trace>
  <inkml:trace contextRef="#ctx0" brushRef="#br0" timeOffset="60285.98">6654 8824 0,'0'40'0,"-13"-27"15,26-66-15,-26 119 0,13-53 0,0 0 0</inkml:trace>
  <inkml:trace contextRef="#ctx0" brushRef="#br0" timeOffset="60821.66">6615 9419 0,'0'119'0,"0"-92"0,-14-14 15,14 40-15,0-13 16,0-1-16,0-12 16,0-1-16,-13 1 0,26-14 0,-13 40 15,0-27-15,0 1 0,0-1 16,0 27-16,0-27 16,0 1-16,0-1 0,14-12 0,-14 12 15,0 1-15,0-14 0,0 66 16,13-52-1,-13-14-15,0 27 16,0-1-16,0-12 16,0-14-16,0 13 0,0-12 0,0 12 15,0 14-15,0-27 0,0 27 16,0-14-16,0 1 0,0 12 16,0-12-16,0-1 15,13 27-15,-13-26 16,0 12-16,0-12 0,0 12 15,13 1-15,-13-27 16,0 14-16,0-14 0,0 0 16,0 27-16,0-27 0,0 0 15,0 14-15,0-14 0,0 13 16,0-12-16,0 65 16,0-52-16,14 12 15,-14-12-15,0-1 0,0 27 16,0-13-16,0-14 15,0 14-15,0 0 16,0-27-16,-14 0 16</inkml:trace>
  <inkml:trace contextRef="#ctx0" brushRef="#br0" timeOffset="61534.13">6006 8321 0,'0'53'0,"-13"-40"16,13 14-16,0-14 0,-13 27 15,13-14-15,0 1 0</inkml:trace>
  <inkml:trace contextRef="#ctx0" brushRef="#br0" timeOffset="61712.6">5940 9049 0,'-27'106'0,"27"-80"16,-13 1-16,13-1 0,0-13 0,-13 14 16,13 26-16,0 26 15,0-53 1</inkml:trace>
  <inkml:trace contextRef="#ctx0" brushRef="#br0" timeOffset="62229.82">5900 9763 0,'0'27'0,"0"25"15,0-131 1,-13 172-16,13-67 0,0-13 0,0 1 0,0 12 16,0 1-16,-13-14 0,13 40 15,0-27-15,0 1 0,0-14 16,0 13-16,0 1 0,0-14 16,0 13-16,0-12 0,0 12 0,0-13 0,13 14 15,-13-14-15,0 14 16,0-14-16,0 0 0,0 0 0,13 14 15,-13-1-15,0-13 0,0 1 16,0-1-16,0 13 0,0-12 16,0 12-16,0-13 0,-13 40 15,13-26-15,0-1 0,0 0 0,0 1 16,-13 13-16,13-14 16,0 1-16,0-14 0,0 13 0,0-13 15,0 14-15,0-1 0,0-12 16,0-1-16,-13 0 0,13 14 15,0-14-15,0 0 0,0 0 0,0 14 16,0-1-16,0-13 16,0 1-16,0-1 15,0 26-15,0-25 0,-14-1 16,14 0-16,0 14 0,0-14 0,0 13 16,0-12-16,0-1 0,0 0 15,0 0-15,0 14 0,-13-14 16,13 27-16,0-27 15,0 0-15,0 0 0,-13 14 16,13-14-16,0 0 0,0 0 0,0 1 16,-13-1-16,13 0 0,0 0 0,0 1 15,-14-1-15,14 0 16,0 0-16,0 1 0,-13-14 0</inkml:trace>
  <inkml:trace contextRef="#ctx0" brushRef="#br0" timeOffset="63793.52">6072 6720 0,'-13'27'15,"13"-14"-15,0 0 0,0 1 16,0 12-16,-13 27 15,-1 0-15,14-27 0,0 1 16</inkml:trace>
  <inkml:trace contextRef="#ctx0" brushRef="#br0" timeOffset="63948.1">6006 7289 0,'-13'53'15,"13"-26"-15,0-14 16,0 0-16,-13 14 16,13-14-16,0 0 0,0 0 15</inkml:trace>
  <inkml:trace contextRef="#ctx0" brushRef="#br0" timeOffset="64452.16">6654 6972 0,'-13'79'0,"13"-26"0,0-40 16,0 14-16,-13 26 15,13-14-15</inkml:trace>
  <inkml:trace contextRef="#ctx0" brushRef="#br0" timeOffset="64605.49">6654 7686 0,'-13'40'16,"0"-40"-16</inkml:trace>
  <inkml:trace contextRef="#ctx0" brushRef="#br0" timeOffset="65110.59">6615 6443 0,'13'39'0,"-13"-25"16,0-1-16,0 0 0,0 13 16,0-12-16</inkml:trace>
  <inkml:trace contextRef="#ctx0" brushRef="#br0" timeOffset="65290.29">6654 6734 0,'0'13'0,"-13"0"16,13 0-1,-13 14 1</inkml:trace>
  <inkml:trace contextRef="#ctx0" brushRef="#br0" timeOffset="76889.37">7832 6403 0,'-14'0'0,"28"26"79,12-26-64,-13 14-15,1-14 0,-1 0 0,0 13 16,0-13-16,14 0 0,-14 0 15,13 13-15,-12-13 0,12 0 16,14 0-16,-14 0 16,1 13-16,-1-13 0,-13 0 0,14 0 0,-1 0 15,27 0-15,-26 0 16,-1 0-16,1 0 0,-1 0 16,1 0-16,-1-13 0,0 13 0,1 0 15,26 0-15,-40 0 16,13-13-16,14 13 0,-13 0 0,-1-13 15,14 13 1,-14-14-16,-13 14 0,14 0 0,-14-13 0,14 0 16,-14 13-16,0-13 0,14 13 0,12-27 15,-26 14 1,1 13-16,-1-13 0,0 0 0,14-14 16,-14 14-16,0 0 15,-13-1-15,13 1 0,-13 0 16,14 0-16,-14-14 15,0 14-15,0 0 0,0 0 16,0-1 0,0 1-16,0 0 0,0 0 15,-14-1-15,14 1 0,-13 0 16,13 0-16,-13-1 16,0 1-16,13 0 0,-14 0 15,1 13-15,0-27 0,0 14 16,-1 0-16,1 0 15,0-1-15,0 1 0,0 13 0,-14-13 16,-13-13-16,27 26 0,-13-14 16,12 1-16,-12 0 0,0 13 15,-1-13-15,14-1 0,-14 14 0,1-13 16,13 13-16,-14-13 0,1 13 16,13 0-16,-1-13 0,-12 13 0,13 0 15,-14-14-15,14 14 0,0 0 0,0 0 16,-14 0-16,1-13 15,12 13-15,1 0 0,0 0 16,0 0-16,-1 0 0,1 0 16,-13 0-16,13 0 0,-1 13 15,1-13-15,0 0 0,0 0 16,-1 0-16,1 14 0,0-14 16,0 0-16,-1 13 15,1-13-15,0 0 0,0 0 16,-14 13-16,14-13 15,13 13-15,-13-13 0,0 0 16,-1 14-16,1-14 0,13 13 16,-13-13-16,0 13 0,0 0 15,-1-13-15,1 14 0,0-1 16,0-13-16,-1 13 16,1 0-16,0 0 15,0-13-15,13 14 16,-14-1-16,1 0 15,13 0-15,-13 1 16,13-1 0,-13 0-16,13 0 15,-13-13-15,13 13 0,0 1 16,0-1-16,0 0 16,0 0-16,0 1 15,0-1-15,0 0 0,0 0 0,0 1 16,0-1-16,0 0 0,0 0 15,0 0-15,13 1 0,-13-1 0,0 0 16,0 0-16,13 1 0,-13-1 16,13 0-16,-13 0 0,13 1 15,1-1 1,-14 0-16,13-13 0,-13 13 16,13-13-16,-13 13 15,13-13-15,1 14 16,-1-1 15,0-13 0,-13 13 1,13-13 233</inkml:trace>
  <inkml:trace contextRef="#ctx0" brushRef="#br0" timeOffset="96926.08">4485 10319 0,'-80'39'16,"67"-25"-1,13-1 1,0 0 31,13 0-47,1-13 0,-1 0 15,0 14 1,0-14-16,0 0 0</inkml:trace>
  <inkml:trace contextRef="#ctx0" brushRef="#br0" timeOffset="97448.79">4471 10279 0,'-26'13'16,"26"1"-16,-13-14 0,0 13 16,13 0-16,-14-13 15,14 13-15,-13 0 0,13 1 16,0-1 0,0 0-16,13 0 15,1 1 1,-1-14-16,0 0 15,0 13-15,0-13 16,1 0 0,-1 0-16</inkml:trace>
  <inkml:trace contextRef="#ctx0" brushRef="#br0" timeOffset="98264.33">4405 10398 0,'53'0'31,"27"0"0,-41 0-31,-12-13 0,12 13 16,14 0-16,13 0 15,27-13-15,0-1 16,-1 14-16,-52-13 16,0 13-16,13 0 0,-14-13 0,14 13 15,27-13-15,52 0 16,-66-1-1,66 1 1,-79 13-16,-13-13 0,53 13 16,-41 0-16,41-13 15,-27 13-15,53 0 16,-79 0-16,53 0 16,-27-14-1,0 14-15,-40 0 16,14 0-16,26-13 0,-39 13 15,-1 0-15,40-13 16,-39 13-16,39 0 0,-27-13 0,-12 13 16,39 0-1,-39-14-15,65 14 0,-26-13 16,-39 13-16,-1 0 0,1 0 16,-1 0-16,27-13 15,-13 13-15,-1 0 16,1 0-16,-13 0 15,-1 0-15,27-13 16,-40 13-16,14 0 16,-14 0-16,0 0 15,0 0-15,14 0 16,-14 0-16,0-13 16,0 13-16,1 0 15,-1 0 1,0-14 62</inkml:trace>
  <inkml:trace contextRef="#ctx0" brushRef="#br0" timeOffset="98629.4">7594 10014 0,'13'14'47,"0"-1"-31,0 0-1,0-13-15,1 13 0,12 1 16,-13-1 0,14 0-16,-14 14 15,-13-14-15,0 26 16,0-25-16,-26 12 0,-27 54 16,-53 39-1,53-80-15</inkml:trace>
  <inkml:trace contextRef="#ctx0" brushRef="#br0" timeOffset="113241.19">10888 11192 0,'-27'0'15,"54"0"32,39 0-31,-40 0-16,27 0 0,93-13 16,-107-1-16,14 14 15,0 0-15,-13-13 0,13 13 0,-14-13 16,1 13-16,0-13 0,-14 13 15,1 0-15,12-14 0,-12 14 16,-14 0-16,0 0 0,1 0 16,-1 0-1,-40 14 1,14-14 0</inkml:trace>
  <inkml:trace contextRef="#ctx0" brushRef="#br0" timeOffset="113613.33">11152 11033 0,'-53'13'0,"40"1"16,0-1-16,-40 26 16,40-25-16,-1-1 0,1 13 15,0-12-15,0-1 0,0 13 0,-1-12 16,1 25-1,13-26-15,0 1 0,0-1 16,0 0-16,13 0 0,1 1 0,-1-1 16,0 0-16,0 0 0,14-13 15,-14 14-15,13-1 0,-12-13 0,12 0 16,-13 13-16,14-13 0,-14 0 0,13 13 16,-12-13-16,-1 0 0</inkml:trace>
  <inkml:trace contextRef="#ctx0" brushRef="#br0" timeOffset="114519.08">12303 11364 0,'0'66'0,"0"40"16,0-27-16,0-13 0,-13 14 16,13 12-16,0 146 0,0 14 15,-13-120-15,13 0 16,0 1-16,0-14 0,-14 13 0,14 0 16,0-13-16,0 0 0,0-39 0,0 12 15,0-12-15,14-1 0,-14-13 16,0 0-16,0-13 0</inkml:trace>
  <inkml:trace contextRef="#ctx0" brushRef="#br0" timeOffset="115030.2">11483 13467 0,'66'-13'31,"-39"13"-31,25 0 0,1 0 0,27 0 16,92 0-16,-80 0 15,14 0-15,26 0 0,14 0 16,145 0-16,-132 0 0,13-13 15,-14 13-15,28 0 0,-14 0 0,0 0 16,13 0-16,13 0 0,-12 0 16,12 0-16,14-13 0,-27 13 0,26 0 15,186-14-15,-198 1 16,-1 13-16,-13-13 0,-13 13 16,146 0-16,-173 0 0,67-13 15,-40 13-15,-66 0 16,-66 0-16,13 0 15</inkml:trace>
  <inkml:trace contextRef="#ctx0" brushRef="#br0" timeOffset="116016.69">12105 11509 0,'26'-39'0,"-13"-1"16,27-13-16,-27 40 15,1 0-15,-1-14 16,-13 14-16,13 13 0,13 13 16,-12 14-1,-14-1-15,13-13 0,0 40 16,-13-26-16,13-14 0,14 40 16,-1 0-16,-13-40 15,14 0-15,-1 14 16,1-14-16,13 0 0</inkml:trace>
  <inkml:trace contextRef="#ctx0" brushRef="#br0" timeOffset="116781.79">17251 13110 0,'-13'0'16,"26"27"-16,0-27 0,0 13 0,1 0 16,12 13-16,0-12 15,-12 12-15,12-13 0,-13 14 16,14-14-16,-14 14 0,0-14 0,0 26 16,-13-12-16,0 13 0,-13-14 15,-13 27-15,-40 40 16,13-54-16,13 1 0,-66 39 15,40-39-15,13 0 0</inkml:trace>
  <inkml:trace contextRef="#ctx0" brushRef="#br0" timeOffset="120024.46">15571 10464 0,'0'-13'0,"0"40"16,-13-14-16,13 0 15,0 13-15,0-12 0,-14 12 16,14 1-16,0-1 0,-13-13 0,13 14 16,0 12-16,0-25 15,-13 25-15,13-25 0,0-1 16,0 0-16</inkml:trace>
  <inkml:trace contextRef="#ctx0" brushRef="#br0" timeOffset="120664.2">15584 10451 0,'79'0'16,"-65"13"-16,-1 14 16,-13-1-16,0-13 15,0 1-15,-13 12 0,-1-13 16,-12 27-16,13-27 0,13 0 16,-14 1-16,1-1 0,13 0 15,-13 0-15,26 1 16,-13-1-16,13-13 15,1 13-15,-1 0 16,0-13-16,0 14 0,1-14 16,-1 13-16,-13 0 15,-13 0-15,-1 0 16,1-13-16,0 14 0,-27-1 16,27-13-16,0 13 0,-14-13 15,14 0-15,0 0 0,-27 0 16,27 0-16,0 0 15,-1 0-15</inkml:trace>
  <inkml:trace contextRef="#ctx0" brushRef="#br0" timeOffset="121122.55">15968 10583 0,'-67'27'16,"54"-14"-1,13 0-15,-13 0 0,0 1 0,13-1 16,-13 0-16,13 14 16,0-14-1,13 0-15,0-13 16,13-13-16,-12 13 0,-14-13 16,13-1-16,0 14 0,0-13 15,1 0-15,-14 0 16,13-1-16,0 1 15,-26 40 17,0-14-32,13 0 0,-14 0 15,14 1 1,0-1-16,0 0 0,0 0 16,14-13-16</inkml:trace>
  <inkml:trace contextRef="#ctx0" brushRef="#br0" timeOffset="121407.31">16219 10597 0,'-27'0'16,"27"13"-16,0 0 15,0 0-15,-13-13 0,13 27 16,0-14-16,0 13 16,0-12-16,0-1 15,0 0-15,-26 27 16,13-40-16,-1 13 16,1 0-16,-13-13 0,-1 13 15,14-13-15,0 0 16,0 0-1</inkml:trace>
  <inkml:trace contextRef="#ctx0" brushRef="#br0" timeOffset="121653.26">16351 10438 0,'13'-13'0,"1"-1"15,-28 41 1,14-1 0,-13 1-16,-13 26 15,-1 13-15,-12 0 16,12-26 0,27-14-16,-13-13 0,0 14 15,-1-1-15,1-13 16,13 1-16,0-1 15</inkml:trace>
  <inkml:trace contextRef="#ctx0" brushRef="#br0" timeOffset="121921.99">16444 10597 0,'-93'26'16,"80"-26"-16,0 13 0,13 0 15,-13-13-15,-1 14 0,14-1 16,0 0-16,0 0 16,14 1-16,-1-1 15,0-13-15,0 0 16,0 0-16,14 0 15,-1 0-15,-12 0 0,-1 0 16,0 0-16</inkml:trace>
  <inkml:trace contextRef="#ctx0" brushRef="#br0" timeOffset="122365.19">16523 10795 0,'27'-26'16,"-14"12"-16,13-12 15,-12 13-15,12-14 16,-26 14 0,27-14-16,-27 14 0,13-13 15,-159 211-15,305-397 0,-159 226 47,-13-1-47,13 0 16,0 0-16,13 0 15,13-13 1,-12 0-16,-1-13 16,13 0-16,14-40 15,-13 27-15,-14-1 0,13 1 0,14-27 16,-27 40-16,0-1 15,-13 41 1,-13-1 0,0 1-16,13-14 15,0 13 1,-13-12-16,13 25 0,-14-12 0,14-1 16,0-13-1</inkml:trace>
  <inkml:trace contextRef="#ctx0" brushRef="#br0" timeOffset="122541.25">16867 10583 0,'172'-79'15,"-145"79"-15,26-26 0,-40 26 16</inkml:trace>
  <inkml:trace contextRef="#ctx0" brushRef="#br0" timeOffset="123142.56">14605 10848 0,'93'-13'16,"-80"13"-16,13 0 0,14-27 15,-27 27 1,0-13-16</inkml:trace>
  <inkml:trace contextRef="#ctx0" brushRef="#br0" timeOffset="123361.15">14843 10716 0,'53'53'16,"-53"-40"-16,0 0 16,0 0-16,0 0 15,0 1-15,-13-14 16,13 13-16,0 0 0,-13 0 16</inkml:trace>
  <inkml:trace contextRef="#ctx0" brushRef="#br0" timeOffset="123674.38">14856 11192 0,'-13'0'0,"40"-13"31,-14 13-31,0 0 16,0-14-16,0 14 0,1 0 15,-1-13-15,0 13 0,0 0 16,-13-13-16,14 13 0</inkml:trace>
  <inkml:trace contextRef="#ctx0" brushRef="#br0" timeOffset="123861.56">15094 11033 0,'14'40'16,"-1"-27"-16,-13 0 15,0 0-15,0 1 16,0-1-16,0 0 0,0 0 16,0 1-16</inkml:trace>
  <inkml:trace contextRef="#ctx0" brushRef="#br0" timeOffset="131816.4">9962 11112 0,'-14'40'15,"14"-13"1,-13 12-16,13 1 0,-40 158 16,14-105-16,13 13 15,-14-13-15,1-1 0,-1 1 0,-12 65 16,25-91-16,1-1 15,0 53-15,0-66 0,13-14 16,0 1-16,-13 0 0,13-14 0,0 1 16,0-14-16,0 0 0</inkml:trace>
  <inkml:trace contextRef="#ctx0" brushRef="#br0" timeOffset="132598.32">9988 11126 0,'-40'13'16,"40"0"-16,-26 14 15,13-14-15,-1 0 0,-25 40 16,25-40 0,-12 27-16,13-27 0,0 0 15,13 1-15,-14-1 0,1-13 16,0 13-16,13 0 0,-13 1 15,26-41 17,0 14-32,-13 0 0,13-14 15,1 14-15,-1 0 0,-13-1 0,13 1 16,0 0-16,14-13 16,-14 12-16,0 1 0,27 0 0,-27 0 15,0-1-15,1 14 0,-1 0 16,0 0-16,0 0 15,0 0-15,1 0 0,-1 14 0,0-14 16,-13 13-16,13-13 16,1 13-16,-1 0 0,0 1 0,0 12 15,1 0-15,-1-12 0,0-1 16,0 13-16,0-12 0</inkml:trace>
  <inkml:trace contextRef="#ctx0" brushRef="#br0" timeOffset="165105.77">6879 6032 0,'331'-171'31,"-305"157"-31,1 1 0,-1 0 0,-13 0 16,14 13-16,-14-14 0,0 14 16,1-13-16,-1 13 0,0-13 15,0 13-15,-13-13 0,14 13 16</inkml:trace>
  <inkml:trace contextRef="#ctx0" brushRef="#br0" timeOffset="165533.36">6892 5861 0,'-13'52'16,"0"-25"-16,13-14 16,0 14-16,-13-14 0,13 13 15,0-13-15,0 1 0,0 12 16,0-13-16,0 1 0,13-14 16,-13 13-16,26 0 15,-12-13-15,-1 0 0,0 0 0,0 0 16,1-13-16,12 13 0,0 0 15,-12-13-15,-1 13 0</inkml:trace>
  <inkml:trace contextRef="#ctx0" brushRef="#br0" timeOffset="167343.31">2315 11364 0,'0'225'15,"0"-186"-15,0 14 0,0 0 0,0-13 16,0 13-16,-13-13 0,13-1 16,0 14-16,-13 13 0,13-39 15,0-1-15,0 1 0,0 12 16</inkml:trace>
  <inkml:trace contextRef="#ctx0" brushRef="#br0" timeOffset="167922.77">2262 11377 0,'-26'66'0,"12"-39"15,1-14-15,0 0 0,13 0 16,-26 1-16,26 12 15,-14-13-15,1 1 16,40-41 15,-14 14-15,0 13-16,0 0 0,14-13 16,12 13-16,-12 13 15,26 0-15,-27-13 0,1 27 16,-1-14-16,40 26 15,-39-25-15,12 12 0,28 1 16,-41-14-16</inkml:trace>
  <inkml:trace contextRef="#ctx0" brushRef="#br0" timeOffset="177900.69">17899 12991 0,'13'0'0,"14"0"16,12 13-1,-25-13-15,52 0 16,-53 14-16,14-14 16,-1 0-16,-13 0 0,0 0 0,14 0 15,-14 0-15,0 0 0,1 0 16,-1 0-16</inkml:trace>
  <inkml:trace contextRef="#ctx0" brushRef="#br0" timeOffset="178133.21">18243 12859 0,'26'13'0,"-12"-13"16,25 53-16,-25-40 16,-1 0-16,-13 1 15,13-1-15,-26 53 16,0-40-16,-1 1 0,1-1 0,-13 27 16,12-40-16,-12 14 15,26-14-15,-13 0 0</inkml:trace>
  <inkml:trace contextRef="#ctx0" brushRef="#br0" timeOffset="178501.53">19262 12753 0,'-14'119'15,"14"-66"1,-13-13-16,13-14 0,0 1 0,-13-1 16,13-13-16,-13 14 0,13-14 15,0 13-15,-13-12 0</inkml:trace>
  <inkml:trace contextRef="#ctx0" brushRef="#br0" timeOffset="178885.95">19301 12806 0,'80'-66'0,"-67"66"0,0 13 15,0-13-15,1 13 0,-14 14 16,0-14-16,0 0 0,-14 14 16,1-1-16,-13 0 0,-14 27 15,14-26-15,-1-14 0,1 14 16,12-14-16,1 0 0,0-13 15,0 13-15,0 0 0,-1 1 16,1-1 0,26 0-1,14 0-15,-14-13 16,0 0-16,0 14 0,1-14 0,-1 0 16,0 0-16,0 0 0,1 0 0,-1 0 15,13-14-15,1 1 16</inkml:trace>
  <inkml:trace contextRef="#ctx0" brushRef="#br0" timeOffset="179058.42">19566 13004 0,'40'27'16,"-40"-14"-16,13 0 0,-13 0 15,13 1-15,-13-1 16,0 0-16,0 0 0,-13 1 15,13 12 1</inkml:trace>
  <inkml:trace contextRef="#ctx0" brushRef="#br0" timeOffset="179186.32">19659 12991 0,'-14'-13'16</inkml:trace>
  <inkml:trace contextRef="#ctx0" brushRef="#br0" timeOffset="179389.63">19764 12991 0,'0'0'0,"14"13"16,-14 27 0,0-14-1,0-12-15,-14 25 16,1-25-16,13-1 0,-13 0 16,0-13-16,-1 13 0,1 0 0,13 1 15,-13-14-15,0 0 16,13 13-16</inkml:trace>
  <inkml:trace contextRef="#ctx0" brushRef="#br0" timeOffset="179613.38">20002 12753 0,'14'-13'0,"-14"39"31,0-13-31,0 1 0,-14 25 16,14-25-16,-13 12 0,13 0 16,-13 1-16,0-14 0,13 14 15,-13-1-15,-1-13 0,14 1 0,0-1 16,-13 0-16,13 0 0,13 0 16</inkml:trace>
  <inkml:trace contextRef="#ctx0" brushRef="#br0" timeOffset="179821.71">20122 12925 0,'-27'13'0,"14"-13"15,0 13-15,-1-13 0,1 14 0,0-1 16,0 0-16,13 0 0,-14-13 16,14 14-16,0 12 15,0-13-15,14-13 16,-1 13-16,0-13 0,-13 14 15,27-14-15,-14 0 0,0 0 0,0 0 16,14 0-16,-14 0 0,13 0 16,1 0-16,-14 0 0,0 0 15</inkml:trace>
  <inkml:trace contextRef="#ctx0" brushRef="#br0" timeOffset="182737.7">20717 4564 0,'0'27'31,"0"-1"-16,0-13-15,-13 27 0,13-14 16,-14-12-16,14 12 0,0 0 16,-13 1-16,13-14 0,-13 14 15,13-14-15,-13 13 0,13-12 0,0-1 0,-13 0 16,13 0-16,0 0 16</inkml:trace>
  <inkml:trace contextRef="#ctx0" brushRef="#br0" timeOffset="183076.92">20862 4683 0,'-26'13'31,"26"27"-15,0-27-16,0 0 15,13 27-15,0-27 16,1 1-16,-1-14 0,-13 13 0,13-13 16,0 0-16,1 0 0,-1 0 15,0-13-15,0-1 0,-13 1 16,13 0-16,-13 0 0,0-1 16,0-12-16,0 13 0,0 0 15,-13-1-15,13 1 0,-13-13 16,13 12-16,-13 14 0,13-13 15,-13 13-15,-1 0 0,1 0 16,0 0-16,13 13 0,-13-13 16,13 14-16</inkml:trace>
  <inkml:trace contextRef="#ctx0" brushRef="#br0" timeOffset="183466.19">21418 4723 0,'40'0'32,"-27"0"-32,66 13 15,-52-13 1,-1 0-16,1 0 0,-14 0 0,0 0 15,0 0-15,14 0 0,-14 0 16,0 0-16,1 0 16,-1 0-1</inkml:trace>
  <inkml:trace contextRef="#ctx0" brushRef="#br0" timeOffset="184741.95">22556 4934 0,'0'-105'16,"0"38"-1,13 15-15,-13 12 0,13-26 0,-13 13 16,13-13-16,-13 13 0,14-13 15,-1-1-15,-13 1 0,0 27 0,13-14 16,-13 13-16,0 0 0,13 14 16,-13-14-16,0 1 15,0 25-15,0 1 0,-13 13 16,13-13-16,-13 0 16,0 13-16,-1 0 0</inkml:trace>
  <inkml:trace contextRef="#ctx0" brushRef="#br0" timeOffset="184957.39">22609 3916 0,'-14'26'15,"1"-12"-15,0-1 0,0 0 0,-1 13 16,-38 41-16,25-41 15,1 14-15,-1-14 0,1 1 0,-1 12 16,-39 41-16,40-54 16,12-13-16,1 14 0,0-14 15,0 0-15</inkml:trace>
  <inkml:trace contextRef="#ctx0" brushRef="#br0" timeOffset="185141.33">22529 4008 0,'27'27'15,"-1"-1"-15,-13-12 0,1-1 16,12 0-16,1 0 0,-1 14 0,27-1 16,-13 1-16,-27-14 15,27 0-15,-14 0 0,-13-13 0,27 14 16</inkml:trace>
  <inkml:trace contextRef="#ctx0" brushRef="#br0" timeOffset="185853.61">23297 4538 0,'39'-14'16,"-26"14"-16,-52 14 31,26-14-31,-1 13 0,-12 0 15,13-13-15,-14 13 0,14 1 16,0-14-16,-14 26 0,27-13 16,0 0-1,14 1 1,-1-1-16,0-13 0,0 13 16,14 0-16,-1 1 15,-13-1-15,1 0 16,-1 0-16,-26 0 15,13 1-15,-14-14 0,1 13 16,-13 0-16,12 0 16,-25 1-16,26-14 15,-1 0-15,1 0 0,0 13 0,0-26 16</inkml:trace>
  <inkml:trace contextRef="#ctx0" brushRef="#br0" timeOffset="186154.62">23363 4683 0,'13'13'0,"-26"1"0,26-1 16,-13 0-16,13-13 15,0 13-15,1-13 16,-1 13-16,0-13 0,0 0 0,1 0 15,12-13-15,-13 0 16,0 0-16,-13 0 16,-13-1-1,13 1-15,-13 13 0,0 0 16,0-13-16,-1 0 16,-12 13-16,13 0 15,-1 0-15,1 0 0</inkml:trace>
  <inkml:trace contextRef="#ctx0" brushRef="#br0" timeOffset="186420.51">23548 4617 0,'13'0'16,"-13"13"0,0 0-1,-13-39-15,39 79 16,-26-40-16,14-13 15,-14 13-15,26-13 0,1 14 16,-14-14-16,13-14 16,-13 14-1,-13-13-15,0 0 0,0 0 16,-13 13 0,0-14-16,0 14 15,0 0-15,-1-13 0,1 13 0,0 13 16,0-13-16,-1 0 0,1 0 15,0 0 1</inkml:trace>
  <inkml:trace contextRef="#ctx0" brushRef="#br0" timeOffset="186812.83">23892 4551 0,'13'-13'16,"-26"39"-1,0-13 1,-1 1-16,14-1 16,-13 0-16,0 0 0,13 0 15,-13 1-15,13-1 0,0 0 16,0 0 0,0 1-16,26-14 15,-26 13-15,13-13 0,1 0 16,39-13-1,-40-1 1,0 14-16,0-13 0,0-13 16,1 12-16,-14 1 15,0 0-15,0 0 16,0 0-16,0-1 0,-106-12 0,212 39 16,-120-13-1,1-13-15,0 13 0,0 0 16,0 0-16,-14 0 15,14 0-15,0 0 16,-1 13-16,1-13 16</inkml:trace>
  <inkml:trace contextRef="#ctx0" brushRef="#br0" timeOffset="187048.45">24342 4485 0,'-14'13'0,"-12"13"0,0 14 15,12-27-15,-12 1 0,13-1 16,-1 13-16,1-13 15,0 1-15,-14 12 0,14-13 16,0 1-16</inkml:trace>
  <inkml:trace contextRef="#ctx0" brushRef="#br0" timeOffset="187217.7">24130 4617 0,'0'-13'15</inkml:trace>
  <inkml:trace contextRef="#ctx0" brushRef="#br0" timeOffset="187885.5">23455 4749 0,'344'-53'16,"-291"53"-1,-13-13-15,39 0 16,-39 0-16,-27 13 0,0 0 15,14 0 1,-93 0-16,26 0 0,93 0 0,-146 0 16,40 0-16,146 0 0,-318 13 0,93 0 15,66 0-15,-53 1 16,39-1-16,54 0 16,-1-13-16,14 0 0,0 13 0,39 0 31,-12-13-31,65-13 0,-26 13 15,13-13-15,93 0 16,-80 0-16,0-1 0,1 1 0,-27 40 16,-27-67-16,1 53 0,92-39 15,-106 26-15,0-14 0,0 14 0,1 0 0,-67-13 32,26 13-32,-39 13 0,79 1 0,-105-28 0,12 28 15,120-14-15,-159 0 0,-66 26 0,26-13 16,80 1-16,92-14 15,-198 39-15,172-26 16,-1-13-16,14 14 0,14-14 16,52 13-1,66-26-15,40 13 16,13-27-16,-79 27 16,13-13-16,-119 53 0,198-106 0,-105 92 0,-93-66 15,79 40-15,-65 0 0,39 0 0,0 0 0,-27-13 16</inkml:trace>
  <inkml:trace contextRef="#ctx0" brushRef="#br0" timeOffset="188986.7">23376 4180 0,'79'-13'16,"-52"0"-16,-1 13 31,-65 0-16,-1 13 1,13 0-16,14-13 16,0 14-16,0-14 0,-1 0 0,1 13 15,0 0-15,13 0 16,13 1 0,14-1-1,-27 0-15,13-13 0,0 13 16,14-13-16,-27 13 0,13 1 15,-26-1-15,-1 0 16,1 0-16,0-13 16,-14 14-16,14-1 0,-13-13 15,-1 13-15,-26 0 0,40-13 16,13 14-16,-13-28 16</inkml:trace>
  <inkml:trace contextRef="#ctx0" brushRef="#br0" timeOffset="189500.62">23508 4247 0,'0'-14'16,"-13"41"-16,26-40 16,-26 39-16,13-13 0,0 0 0,13 1 15,27-1 1,-27-13-16,0 0 15,-13-13-15,27 13 0,-14-14 16,-13 1-16,13 13 16,-13-13-16,0 0 15,-13 13-15,13-13 0,-13-1 16,0 14-16,-1-13 16,1 13-16,0-13 15,0 26-15,39-13 31,1 0-15,-14 0-16,0 13 16,0-13-1,1 14-15,-1-1 16,0 0 0,0-13-1,0 0-15,1 0 0,-1 13 0,0-13 16,0-13-16,1 13 0,-1 0 15,0-13-15,0 0 16,-13-1 0,-13 1-16,13 0 15,-13 13-15,13-13 0,-27 13 16,14 0 0,13 13-16,-13-13 0</inkml:trace>
  <inkml:trace contextRef="#ctx0" brushRef="#br0" timeOffset="189681.43">24130 4154 0,'13'0'16,"-26"40"-1,0-27 1,0 0-16,-14 14 0,14-1 15,0-13-15,-1 14 0,-12-14 16,13 0-16</inkml:trace>
  <inkml:trace contextRef="#ctx0" brushRef="#br0" timeOffset="189912.78">24117 4313 0,'13'-14'16</inkml:trace>
  <inkml:trace contextRef="#ctx0" brushRef="#br0" timeOffset="191081.7">21153 5953 0,'14'-13'0,"-41"39"31,27-12-31,13 25 16,-13-26 0,14-13-16,-14 14 0,26-14 15,1 13-15,-1-26 16,-13 13 0,0 0-16,-13-27 0,14 27 15,-14-13-15,-14 0 0,14 0 0,-13 13 16,13-14-16,-26-12 0,-1 26 15,14-13-15,0 13 0,0 0 0,-1 0 16,1 0-16,0-14 0,0 28 16,0-14-16,-1 0 15,14 13-15</inkml:trace>
  <inkml:trace contextRef="#ctx0" brushRef="#br0" timeOffset="191305.99">21802 6059 0,'92'-13'15,"-78"13"-15,12 0 0,-13 0 16,0 0-16,1 0 0,-1 0 15,0-14-15,14 14 0,-14 0 16</inkml:trace>
  <inkml:trace contextRef="#ctx0" brushRef="#br0" timeOffset="191575.64">22040 5927 0,'53'39'15,"-40"1"1,0-40-16,-13 26 15,0-12-15,0 12 0,0-13 16,-13 14-16,13-14 16,-13 14-16,-1-14 15,1-13-15</inkml:trace>
  <inkml:trace contextRef="#ctx0" brushRef="#br0" timeOffset="193312.91">22847 5953 0,'13'-26'15,"-13"39"17,13 0-17,-13 0-15,0 1 0,0-1 16,0 0-16,0 13 0,-13 1 15,13 13 1,0-27-16,-13 0 0,13 0 16,0 1-16,-13-1 0,13 0 0</inkml:trace>
  <inkml:trace contextRef="#ctx0" brushRef="#br0" timeOffset="193641.44">22728 6138 0,'13'66'31,"0"-52"-31,0 25 15,1-25-15,-1-1 0,0 0 16,0-13-16,1 0 16,-1 0-16,13-13 15,1-14 1,-1 14 0,1-13-1,-14 12 1</inkml:trace>
  <inkml:trace contextRef="#ctx0" brushRef="#br0" timeOffset="194209.31">23323 6112 0,'26'13'31,"-12"-13"-31,-1 0 0,13-13 16,-12 13-16,-1 0 15,0 0-15,0 0 0</inkml:trace>
  <inkml:trace contextRef="#ctx0" brushRef="#br0" timeOffset="194790.43">23879 5966 0,'-14'27'47,"1"-27"-31,-40 39-1,14-12-15,12-1 16,1-12-16,12-1 0,1 0 0,0 0 15,0-13-15,13 14 0,-13-1 16,13 0-16,-14-13 0,28 13 16,-1 0-1,0-13-15,0 0 16,14 0-16,-14 14 0,13-14 0,14 0 16,-14 0-16,1 0 15,-14 0-15,0-14 0,14 14 0,-1 0 16,-12 0-16,-1-13 0,0 0 15,-13 0-15</inkml:trace>
  <inkml:trace contextRef="#ctx0" brushRef="#br0" timeOffset="194990.39">23918 5980 0,'-39'52'0,"39"-38"0,0-1 16,-14 13-16,14-12 16,-13 25-16,13-25 0,-13 12 15,13-13-15,-13 27 0,13-14 16,0-12-16,0-1 16,13-13-16</inkml:trace>
  <inkml:trace contextRef="#ctx0" brushRef="#br0" timeOffset="195262.39">24130 6099 0,'-26'0'0,"12"13"0,1 13 16,0-26-16,13 14 15,0-1-15,0 0 0,13 0 16,0-13-16,1 13 15,-1-26-15,0 13 16,0-13-16,0 0 0,-13 0 16,14-1-16,-14 1 15,0 0-15,0 0 0,0-1 16,0 1-16,0 0 16,-14 13-16,-12 13 15,13-13-15,0 13 0,-14 1 16,14-1-16</inkml:trace>
  <inkml:trace contextRef="#ctx0" brushRef="#br0" timeOffset="195558.54">23402 6720 0,'-13'0'15,"26"-13"-15,14 0 0,-1 13 16,-12 0-16,-1 0 0,0-13 15,0 13-15,0 13 16,1-26-16,-1 13 16</inkml:trace>
  <inkml:trace contextRef="#ctx0" brushRef="#br0" timeOffset="195860.16">23918 6588 0,'-13'0'0,"0"0"16,0 0-16,-1 0 15,1 13-15,13 1 0,-13-14 16,13 13-16,13 0 0,-13 0 16,0 1-16,0-1 0,13 0 15,-13 0-15,14 0 0,-14 1 16,0-1-16,0 13 0,0-12 15,-14-1-15,1 0 16,13 0-16,-13-13 0,0 0 16,-1 13-16,1-13 0,0 0 15,0 0-15,13-13 16,26 0 0</inkml:trace>
  <inkml:trace contextRef="#ctx0" brushRef="#br0" timeOffset="196097.38">23984 6720 0,'0'53'31,"14"-39"-31,-1-14 0,0 0 16,14 0-1,-14-14-15,0 14 0,14-26 16,-14-1-16,0 14 15,-13 0-15,-146 39 0,292-78 16,-146 38-16,0 1 0,-13 0 16,0 13-16,-1 0 15,1 0-15,0 0 0,0 13 16,-14-13-16,1 13 0</inkml:trace>
  <inkml:trace contextRef="#ctx0" brushRef="#br0" timeOffset="196441.14">23270 7408 0,'40'14'16,"-27"-14"-1,0 0-15,14 0 0,-14 0 16,13 0-16,1 13 16</inkml:trace>
  <inkml:trace contextRef="#ctx0" brushRef="#br0" timeOffset="196633.78">23627 7329 0,'14'0'0,"-81"66"16,81-66-16,25-40 31,-39 54-31,0-1 0,0-66 0,0 119 0,-13-53 16,0 27 0,13-27-16,0 0 0,13 1 15,-13-1-15,13-13 0</inkml:trace>
  <inkml:trace contextRef="#ctx0" brushRef="#br0" timeOffset="196889.41">23865 7395 0,'-26'13'16,"26"1"-16,-13-14 15,52-27-15,-78 67 0,39-27 16,13 0-16,0-13 15,0 13-15,1-13 16,-1-13-16,-13 0 16,13 0-16,-13 0 15,0-1-15,-13 1 16,13 0-16,0 0 16</inkml:trace>
  <inkml:trace contextRef="#ctx0" brushRef="#br0" timeOffset="197070.42">24051 7501 0,'26'0'0,"-92"-27"16,145 54-16,-65-40 0,-67 26 0,119-26 0,-53-1 16,0 1-16,-13 0 15,13-13-15,-13 12 0,0 1 16,0 0-16,-13-14 15,13 14-15,-13 0 0,0 13 16,39 0-16,-65-13 0,52-14 16,-26 54-16,-14-27 0,80-14 0,-119 28 0</inkml:trace>
  <inkml:trace contextRef="#ctx0" brushRef="#br0" timeOffset="197632.43">23588 7792 0,'79'40'16,"-66"-27"-16,27-13 15,-14 0-15,1 0 0,12 0 0,-12 0 0,66 0 16,-173-331-16,252 649 0,-317-636 0,330 636 16,-661-358-16,992 66 0,-490-26 15,0 0-15,1-13 0,-1 0 0,1 13 0,-1-13 16,1 13-16,-14-13 0,13-1 16,-12 14-16,-1-13 0,0 0 15,0 13-15,14-27 16,-14 14-16,0 0 0,1 0 0,-14-1 15,13 1 1,-13 0-16,0 0 0,13 0 16,-13-1-16,0 1 0,0 0 15,0 0-15,13-1 0,-13-12 16,13-1-16,-13 1 0,0 13 16,14-14-16,-1 1 0,-13-14 15,13 0-15,0 14 0,1-27 0,-14 13 16,13-12-16,0-1 0,0-14 15,0 15-15,1-15 0,-1-12 0,0 13 16,0-13-16,-13-14 0,14 14 16,-14-14-16,53 27 0,-93 39 0,40-79 0,53 133 15,-106-146-15,66 106 0,-39-173 0,12 94 0,1 12 16,13 1-16,-13 0 16,13 13-16,-13-80 0,13 93 0,0 0 15,0 0-15,0-26 0</inkml:trace>
  <inkml:trace contextRef="#ctx0" brushRef="#br0" timeOffset="200455.54">6628 5940 0,'-27'0'0,"14"0"15,0 0-15,39-27 16,-12 14 0,12 0-16,14-13 0,-1-1 15,14 1-15,0-1 0,13 1 0,14-14 16,105-26-16,-92 26 16,-1 14-16,120-40 0,-93 39 15,0 1-15,-13-1 0,13-12 16,0 25-16,0-12 0,0-1 0,0 1 15,0-1-15,133-12 0,-133 26 16,0-1-16,-27 1 0,14 13 16,-13-13-16,-1 0 0,1 13 0,92-14 15,-39 14-15,-80 0 16,-13-13-16,0 13 16,-14 0-16,-12 0 0,-1 0 0,1 0 15,-14 0-15,0 0 0,0 0 0,14 0 16,-27-13-16,13 13 0,0 0 15,-13-13-15,0-1 16,-13 14 0,0-13-1,0 13-15,-1-13 0</inkml:trace>
  <inkml:trace contextRef="#ctx0" brushRef="#br0" timeOffset="200734.16">9948 4934 0,'93'27'31,"-53"-14"-31,-1 14 0,-12-14 15,92 66 1,-93-52-16,1-1 0,-1 1 16,1 65-16,-27-52 15,-14-14-15,-12 27 0,0-13 0,-14 13 16,0-13-16,-13-1 0,-66 41 16,53-41-16</inkml:trace>
  <inkml:trace contextRef="#ctx0" brushRef="#br0" timeOffset="-205558.66">11761 4419 0,'0'13'31,"0"0"-31,-13 0 16,13 40-1,-14-26-15,14-14 16,-13 53-16,13-53 15,-13 14-15,13-14 0,0 0 0,0 27 16,-13-40-16,13 13 16,0 0-16</inkml:trace>
  <inkml:trace contextRef="#ctx0" brushRef="#br0" timeOffset="-205328.98">11761 4485 0,'-53'26'15,"40"-26"-15,13 13 0,-27 1 16,27-1-16,-13-13 15,0 13-15,-1-13 0,14 13 16,-13-13-16</inkml:trace>
  <inkml:trace contextRef="#ctx0" brushRef="#br0" timeOffset="-205182.9">11642 4485 0,'13'0'0,"13"13"15,1 0 1,13 0 0,-27-13-16</inkml:trace>
  <inkml:trace contextRef="#ctx0" brushRef="#br0" timeOffset="-204875.59">12316 4643 0,'80'-13'0,"-54"13"16,54 0 15,-54 0-31,0 0 0,1-13 0,-1 13 16,-12 0-16</inkml:trace>
  <inkml:trace contextRef="#ctx0" brushRef="#br0" timeOffset="-204659.35">12660 4538 0,'27'0'0,"-14"0"0,-53 0 16,93 0-16,-40 13 0,14 0 0,-14 0 15,14 27-15,-27-27 16,0 0-16,0 14 16,-14 13-16,-12-14 15,13-13-15,-1 0 0,1 14 16</inkml:trace>
  <inkml:trace contextRef="#ctx0" brushRef="#br0" timeOffset="-203515.17">11999 5556 0,'13'-26'16,"0"26"-16,14 0 16,12-13-1,-12 13-15,-27-14 0,13 14 16,0 0-16,14 14 16,-27-1-1,13 0-15,-13 13 16,0 1-1,0-1-15,0 1 16,0 13-16,0-1 16,-13-12-1,13 12 1,0-25-16,0-1 0</inkml:trace>
  <inkml:trace contextRef="#ctx0" brushRef="#br0" timeOffset="-203341.77">12091 5768 0,'27'-27'16,"145"-39"31,-172 53-32</inkml:trace>
  <inkml:trace contextRef="#ctx0" brushRef="#br0" timeOffset="-202957.82">12144 5292 0,'-66'13'16,"-145"146"15,144-27-15,41-13-16,39-79 15,0 26-15,1-26 16,25 12-16,41 15 16,-1-41-1,-26-26-15,0-13 16,-13 0-16,-14-1 0,14 1 15,26-66-15,-53 39 16,14 14-16,-27-41 16,0 1-16,-14 27 0,-65-54 15,-67 318 1,266-476-16,-160 237 0,-13 1 16,40 13-1,-14 0-15,14 0 16,0 27-16,13-14 15,13 0-15</inkml:trace>
  <inkml:trace contextRef="#ctx0" brushRef="#br0" timeOffset="-202580.06">12621 5609 0,'53'-13'16,"-1"13"0,28-13-16,-27-1 15,26 1-15,27 0 16,-27 13-16,-26-13 16,-26 13-16,-14 0 0,40 0 15,-40-13 1,0 13-1,-13-14-15</inkml:trace>
  <inkml:trace contextRef="#ctx0" brushRef="#br0" timeOffset="-202329.57">13189 5331 0,'146'106'15,"-199"185"32,0-251-31,0 13-16,27-40 15,13-13-15</inkml:trace>
  <inkml:trace contextRef="#ctx0" brushRef="#br0" timeOffset="-200948.11">14195 4948 0,'26'-14'15,"-12"14"-15,-1 0 0,-13 14 16,13-14-16,-13 13 16,0 0-16,0 0 15,-13 1-15,13-1 0,-27 13 16,1-12-1,13-1-15,-1 0 0,1 0 16,0 0 0,13 1-16,13-14 31,0 0-15,14 0-16,-14 0 15,14 0-15,-1 0 16,1 0-16,-1 0 15</inkml:trace>
  <inkml:trace contextRef="#ctx0" brushRef="#br0" timeOffset="-200573.66">14473 4934 0,'-14'0'16,"1"93"31,13-66-47,13-27 15,1 13-15,12 0 16,-13-13-16,1 0 0,-1 0 16,0-13-16,-13 0 15,-13-1 1,0 1-16,13 0 16,-14 0-16,-12-1 15,13 14-15,13-13 0,-14 13 0,1-13 31,0 13-31</inkml:trace>
  <inkml:trace contextRef="#ctx0" brushRef="#br0" timeOffset="-200311.28">14592 4948 0,'0'13'16,"0"0"-16,92 40 47,-65-53-47,-14 0 15,0 0-15,27-13 16,-40 0-16,0-1 16,0 1-16,-13 0 15,0-14 1,-14 27-16,14 0 0,-14 0 15,1 0 1,13 0 0</inkml:trace>
  <inkml:trace contextRef="#ctx0" brushRef="#br0" timeOffset="-199838.2">15266 4815 0,'40'0'16,"-80"0"-16,80 14 16,-40-1-1,0 0-15,-13 0 0,13 1 31,13-1-31,-13 0 0,13 0 16,-13 0 0,0 1-1,0-1-15,-13 0 16,0 0 0,0 1-16,-1-14 0,1 13 15,0-13 1,13 13-16</inkml:trace>
  <inkml:trace contextRef="#ctx0" brushRef="#br0" timeOffset="-199575.89">15412 4908 0,'13'13'16,"-13"0"-1,27 14 16,-14-27-31,0 13 16,0-13-16,1-13 0,-1 13 16,0-27-16,0 27 15,-145-26-15,278 26 0,-146-13 16,0 0-16,-14-1 16,14 1-16,-13 0 15,-27 13 1,27 13-16,-27 0 0,1 1 15,-41 12 1</inkml:trace>
  <inkml:trace contextRef="#ctx0" brushRef="#br0" timeOffset="-197754.23">12369 6376 0,'27'14'0,"-14"-14"15,0 0-15,0 0 16,1 0-16,-1-14 0,13 14 0,1 0 16,-1 0-16,40-13 15,-52 13-15,12 0 0,14-13 16,-14 13-16,-13 0 0,14-13 16,-1 13-16</inkml:trace>
  <inkml:trace contextRef="#ctx0" brushRef="#br0" timeOffset="-197507.11">12634 6204 0,'119'40'31,"-106"-13"-31,0-14 16,-13 0-16,14 0 0,-14 14 16,0-14-16,-14 27 15,1-1-15,0-12 0,0-14 0,-14 27 16,14-27-16,0 0 16,0 0-16</inkml:trace>
  <inkml:trace contextRef="#ctx0" brushRef="#br0" timeOffset="-195491.74">13084 6257 0,'0'27'32,"0"-14"-32,13 14 15,-13-14 1,13-13-16,-13 13 16,13-13-16,1 0 0,-1 0 0,0 0 15,13 0-15,-26-13 0,14 13 16,-1-13-1,-13-1-15,0 1 0,0 0 16,0 0-16,-13-1 16,13 1-16,-14 13 0,1-13 15,0 0-15,0 13 16,0 0-16,-1 0 0,1 0 16,0 0-16,0 13 15,-1-13-15,14 13 0</inkml:trace>
  <inkml:trace contextRef="#ctx0" brushRef="#br0" timeOffset="-195159.4">13481 6178 0,'-14'26'15,"1"-12"1,-13 25-1,12-25-15,14-1 0,-13 0 16,0 14-16,0-14 16,-1 0-16,14 0 0,-13 0 0,0-13 15,13 14-15</inkml:trace>
  <inkml:trace contextRef="#ctx0" brushRef="#br0" timeOffset="-194984.03">13335 6257 0,'-13'-13'15</inkml:trace>
  <inkml:trace contextRef="#ctx0" brushRef="#br0" timeOffset="-194884.08">13547 6390 0</inkml:trace>
  <inkml:trace contextRef="#ctx0" brushRef="#br0" timeOffset="-192273.77">6165 5199 0,'13'93'0,"-13"-54"15,13 1-15,-13 39 16,13 14-16,-13-53 0,14 52 16,-1-52-16,13 66 15,-26-80 1,14-12-16,-14 12 0,0-13 16</inkml:trace>
  <inkml:trace contextRef="#ctx0" brushRef="#br0" timeOffset="-191978.86">6152 5741 0,'0'14'16,"13"-1"-16,0 13 0,0 1 15,0 13-15,14-14 16,13 27 0,-1-40-16,-25 0 15,-1-13-15,13-13 16,1 0-16,-1-14 16,-290-145-16,541 318 0,-263-159 15,12-14 1,-13 14-16</inkml:trace>
  <inkml:trace contextRef="#ctx0" brushRef="#br0" timeOffset="-189486.35">9631 10954 0,'-27'39'15,"-26"28"1,27-15-16,-14 1 0,1 0 15,-80 106-15,0 0 16,-1 13-16,68-93 0,-15 1 16,14-1-16,-66 66 15,27-39-15,65-53 16,-12-13-16,12-14 0,14 14 0,0-14 16,-14 1-16,27-14 0,13-53 31</inkml:trace>
  <inkml:trace contextRef="#ctx0" brushRef="#br0" timeOffset="-188975.42">9366 11073 0,'106'-27'0,"-93"14"15,1 13-15,12 0 0,0-13 16,1 13-16,-14 0 0,14 13 16,-1 0-16,-13 1 15,-13-1-15,14 26 16,-14-12-16,0-1 0,0 1 0,0-1 16,0 14-16,0 0 0,-14-1 15,14 1-15,0 0 0,0 39 16,0-52-16</inkml:trace>
  <inkml:trace contextRef="#ctx0" brushRef="#br0" timeOffset="-159566.95">7594 9260 0,'79'-13'0,"-39"0"0,79-13 16,-53 12-16,93-12 0,-80 13 16,14-1-16,26-12 0,0 13 15,-40-1-15,27 1 0,92-13 16,67-14 0,-186 27-16,67 0 0,-54-1 15,-52 14-15,13-13 16,-40 13-16,14 0 0,-14 0 15,0 0-15</inkml:trace>
  <inkml:trace contextRef="#ctx0" brushRef="#br0" timeOffset="-158955.68">7858 9088 0,'-53'27'16,"40"-14"-16,0 0 0,0 1 0,-14-1 15,1 0-15,-1 27 0,1-14 16,12 1-16,14-14 16,-13 27-1,26-27-15,-13 0 16,14 0-16,12 0 0,1-13 16,39 14-16,-13-14 0,-14-14 15,14 14-15,53-13 0,13 0 16,-53 13-16,0-13 15,40 0-15</inkml:trace>
</inkml:ink>
</file>

<file path=ppt/ink/ink98.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33:22.403"/>
    </inkml:context>
    <inkml:brush xml:id="br0">
      <inkml:brushProperty name="width" value="0.05292" units="cm"/>
      <inkml:brushProperty name="height" value="0.05292" units="cm"/>
      <inkml:brushProperty name="color" value="#0070C0"/>
    </inkml:brush>
  </inkml:definitions>
  <inkml:trace contextRef="#ctx0" brushRef="#br0">18243 3453 0,'13'0'125,"53"0"-110,27 0-15,79 0 0,-13 0 16,39 0-16,93 0 16,-39 0-16,39 0 15,105 0 1,-78 0-16,304 0 16,-331 0-16,-40 0 15,-66 0-15,1 0 16,-67 0-1,0 0-15,-40 0 0,-26 0 16,-40 0 0,0 0-1,1 0 267</inkml:trace>
  <inkml:trace contextRef="#ctx0" brushRef="#br0" timeOffset="5433.78">6244 4075 0,'27'0'78,"-1"0"-62,106 0-1,159 0 1,120 0-1,-160 0-15,265 0 32,-305 0-32,-39 0 0,27 0 15,-67 0-15,0 0 16,-39 0-16,-27 0 16,-13 0-16,53 0 31,-66 0-31,-1 0 15,-12 0-15,-14 0 16,0 0 172,27 0-157,13 0-31,119 0 15,-66 0-15,26 0 16,0 0 0,199 0-1,-146 0-15,0 0 16,14 0-16,-14 0 16,13 0-16,-26 0 15,0 0-15,0 0 16,-13 0-16,0 0 15,-27 0-15,-52 0 16,12 0-16,-39 0 16,-26 0-16,-14 0 828,13 0-828,14 0 15,13 0 1,-13 0-16,26 0 16,0 0-16,53 0 15,-26 0-15,26 0 16,13 0-16,-53 0 16,27 0-16,-13 0 15,13 0-15,-14 0 16,1 0-16,-54 0 15,1 0-15,13 0 16,53 0 0,-40 0-16,13 0 15,-39 0-15,0 0 16,-1 0-16,-12 0 16,-1 0-1,-12 0-15,-1 0 16,0 0-1,0 0 1,1 0-16,-1 0 16,0 0-1,13 0-15,1 0 16,-14 0 0,14 0-16,12 0 31,-12 0-31,26 0 0,-14 0 15,14 0 1,13 0-16,-13 0 16,40 0-16,-27 0 15,80 0 1,-94 0-16,1 0 16,14 0-16,-28 0 15,14 0-15,-13 0 16,13 0-1,-27 0-15,-13 0 16,27 0-16,-13 0 16,-1 0-1,14 0-15,-27 0 0,13 0 16,1 0-16,26 0 16,-14 0-1,1 0-15,13 0 0,-13 0 16,-14-14-16,14 14 15,-14 0 1,1 0-16,13 0 0,-27 0 16,13 0-1,-13 0-15,27 0 16,0 0-16,13 0 16,39 0-1,-12 0 1,-1 0-1,-66 0 1,14 0 0,-14 0-16,0 0 0,14 0 406,12 0-390,1 0-16,159-13 15,-41 13 1,14-40-16,40 40 15,13 0-15,-14 0 16,-12 0 0,39 0-16,13 0 0,1 0 15,78 0-15,28 0 16,-67 0 0,26 0-16,14 0 0,0 0 15,-14 0 1,-13-13-16,-26 13 15,-53 0-15,-26 0 16,-54 0-16,1-13 16,-41 13-16,-25 0 15,-67 0-15,13 0 16</inkml:trace>
  <inkml:trace contextRef="#ctx0" brushRef="#br0" timeOffset="6593.59">767 4736 0,'40'-13'47,"79"13"-31,0 0-16,40 0 15,0 0 1,52 0-16,14 0 0,27 0 15,-1 0 1,0 0-16,40 0 0,-66 0 16,-13 0-1,-53 0-15,-27 0 16,0 0-16,-92 0 16</inkml:trace>
</inkml:ink>
</file>

<file path=ppt/ink/ink99.xml><?xml version="1.0" encoding="utf-8"?>
<inkml:ink xmlns:inkml="http://www.w3.org/2003/InkML">
  <inkml:definitions>
    <inkml:context xml:id="ctx0">
      <inkml:inkSource xml:id="inkSrc0">
        <inkml:traceFormat>
          <inkml:channel name="X" type="integer" max="3840" units="cm"/>
          <inkml:channel name="Y" type="integer" min="-72" max="1080" units="cm"/>
          <inkml:channel name="T" type="integer" max="2.14748E9" units="dev"/>
        </inkml:traceFormat>
        <inkml:channelProperties>
          <inkml:channelProperty channel="X" name="resolution" value="124.27184" units="1/cm"/>
          <inkml:channelProperty channel="Y" name="resolution" value="66.20689" units="1/cm"/>
          <inkml:channelProperty channel="T" name="resolution" value="1" units="1/dev"/>
        </inkml:channelProperties>
      </inkml:inkSource>
      <inkml:timestamp xml:id="ts0" timeString="2022-02-12T14:33:39.267"/>
    </inkml:context>
    <inkml:brush xml:id="br0">
      <inkml:brushProperty name="width" value="0.05292" units="cm"/>
      <inkml:brushProperty name="height" value="0.05292" units="cm"/>
      <inkml:brushProperty name="color" value="#0070C0"/>
    </inkml:brush>
  </inkml:definitions>
  <inkml:trace contextRef="#ctx0" brushRef="#br0">5543 2355 0,'13'0'63,"40"0"-63,40 0 15,52 0-15,40 0 16,-13 0-16,27 0 15,-27 0 1,-13 0-16,13 0 0,-14 0 16,-25 0-16,-28 0 15,-78 0 1,-14 0 0</inkml:trace>
  <inkml:trace contextRef="#ctx0" brushRef="#br0" timeOffset="1439.62">8533 2500 0,'26'0'63,"54"0"-48,25 14-15,41-14 16,52 0-16,226 0 15,-173 0 1,14 0 0,52 0-16,-65 0 15,12 0-15,14 0 16,383 0 0,-343 0-16,39 0 15,-92 0-15,52 0 16,120 0-1,-239 0-15,-26 0 16,-26 0-16,-1 0 16,80 0-1,-66 0 1,-93 0 0,-40 0-16</inkml:trace>
  <inkml:trace contextRef="#ctx0" brushRef="#br0" timeOffset="4919.37">1826 3043 0,'26'0'62,"80"0"-46,-13 13-16,52-13 0,225 0 31,-105 0-31,26 0 16,0 0-16,-40 0 15,318 0 1,-198 0-16,-54 0 16,-65 0-16,39 0 15,-66 0 1,-40 0-16,-27 0 0,-12 0 15,-40 0 1,-40 0-16,-26 0 0,-14 0 16</inkml:trace>
  <inkml:trace contextRef="#ctx0" brushRef="#br0" timeOffset="10106.95">18561 6773 0,'-14'14'31,"41"-28"47,-1 14-62,-13-13-16,-39 13 47,-14 13-32,27-13-15,0 0 0,-14 14 16,14-14-16,0 0 0,0 13 0,-1-13 16,1 13-16,0-13 15,0 13-15,13 0 16,0 1-16,13-1 15,0 0 1,-13 0-16,13-13 0,-13 14 0,14-14 16,-1 13-16,-13 0 0,13-13 15,0 13-15,1 1 0,-14-1 16,0 0-16,-14 0 16,1 0-16,0-13 0,0 14 15,-1-14-15,1 13 0,-13-13 16,13 13-16,-1-13 0,-25 13 15,25-13-15,1 0 0,0 0 16,0 0 0</inkml:trace>
  <inkml:trace contextRef="#ctx0" brushRef="#br0" timeOffset="10344.32">18852 6892 0,'-27'27'16,"27"-14"-16,-13-13 0,0 13 0,13 14 15,-14-14-15,1 0 16,-13 0-16,12 1 0,-12 25 0,0-12 15,12-14-15,1 0 16,-13 1-16</inkml:trace>
  <inkml:trace contextRef="#ctx0" brushRef="#br0" timeOffset="10504.27">18613 6985 0,'0'-13'0</inkml:trace>
  <inkml:trace contextRef="#ctx0" brushRef="#br0" timeOffset="10654.16">18931 7144 0,'0'-13'47</inkml:trace>
  <inkml:trace contextRef="#ctx0" brushRef="#br0" timeOffset="12154.25">15849 7461 0,'39'27'16,"-12"-27"-16,26 0 16,-14 13-16,107 0 0,-67-13 15,106 13-15,54 1 16,-107-1-16,0-13 0,159 13 15,-145-13-15,171 13 16,14-13-16,-159 0 0,0 0 16,198 0-16,14 0 15,-186 0-15,-12 0 0,12 14 16,0-14-16,199 13 0,-211 0 16,-1-13-16,0 13 15,146 14-15,-14-14 16,-26 13-16,-26 1 15,-133-14-15,53 14 16,-92-14-16,-14 0 0,80 0 16,-93 0-16,53 1 0,-79-1 15,26 0-15,-39-13 16,-14 0-16,-13 13 16</inkml:trace>
  <inkml:trace contextRef="#ctx0" brushRef="#br0" timeOffset="12845.34">17952 6297 0,'13'27'0,"-92"290"16,52-251-16,1 0 16,-1 0-16,14 1 0,-40 105 15,27-80 1,13-12-16,-1-41 15,14-12-15,0-14 16,0 0-16</inkml:trace>
  <inkml:trace contextRef="#ctx0" brushRef="#br0" timeOffset="13457.42">17820 6072 0,'304'-26'0,"-225"26"15,186 0-15,-172-14 0,105 14 16,-119 0-16,93 0 15,-92 0-15,-1 0 16,-26 0-16,-13 0 0,13 0 0,-27 0 16,1 0-16,12 14 0,1-14 15,-27 13-15,0-13 16,-13 13-16,27 14 0,-27-14 16,0 27-16,0-14 0,0 53 15,0-39-15,0 0 0,0 13 16,0 0-16,13 52 15,-13 15-15,13-54 0,-13-13 16,13-1-16,-13 1 0,14 53 16,-1-53-16,0-13 0,0 13 15,1-14-15,12 41 16,-13-14-16,1-40 0,-1 1 16,-13-14-16,0 27 0,13-27 15,-26 13-15,13-12 16,-27 12-16,14-26 15,-27 13-15,27-13 16,-13 0-16,-1 0 0,-26-13 16,-52 13-16,-41-13 15,80 13-15,-14-13 0,-78 13 16,78 0-16,-78-14 16,78 14-16,1 0 0,26 0 15,-53 0-15,53-13 0,13 13 16,14 0-16,0 0 0,-1 0 0,1 0 15,12-13-15</inkml:trace>
  <inkml:trace contextRef="#ctx0" brushRef="#br0" timeOffset="15966.2">16060 9604 0,'106'27'0,"-66"-14"15,26-13-15,13 13 0,1-13 0,12 14 16,160 12-16,39-13 16,-133 0-16,14 1 0,0-1 15,14 13-15,-1-12 0,0-1 16,0 0-16,14 0 0,171 27 0,-185-27 16,-13 0-16,-13 1 0,-27-1 15,80 13-15,-133-12 16,1-1-16,-41 0 0,1-13 0,0 13 0,-27-13 15,0 0-15,0 13 16</inkml:trace>
  <inkml:trace contextRef="#ctx0" brushRef="#br0" timeOffset="16420.2">17767 9710 0,'-40'106'16,"27"-93"-16,-14 53 0,27-39 15</inkml:trace>
  <inkml:trace contextRef="#ctx0" brushRef="#br0" timeOffset="17195.22">16880 9631 0,'0'26'32,"-13"-12"-32,13-1 0,-13 0 0,13 0 15,-13 14-15,0-14 16,-1 27-16,14-27 15</inkml:trace>
  <inkml:trace contextRef="#ctx0" brushRef="#br0" timeOffset="17828.25">16682 9962 0,'13'0'16,"-13"13"0,-13 13-1,0-13 1,13 1-1,-13-1 1,26 0 0,-13 0-16,0 1 31,-13-1-15,-1 0-16,1-13 15,0 0 1,0 13-16,-1-13 15,1 0-15</inkml:trace>
  <inkml:trace contextRef="#ctx0" brushRef="#br0" timeOffset="18167.3">16854 10014 0,'13'-13'0,"-26"53"32,13-27-32,-13 0 15,0 1-15,-1-1 16,1 0-16,0-13 16,13 13-1</inkml:trace>
  <inkml:trace contextRef="#ctx0" brushRef="#br0" timeOffset="18634.4">19275 9922 0,'-40'79'16,"14"-39"-1,-1 0-15,-12 13 16</inkml:trace>
  <inkml:trace contextRef="#ctx0" brushRef="#br0" timeOffset="19058.18">19024 10411 0,'-40'-13'0,"27"26"15,-1-13-15,1 14 16,-13-1-1,26 0 1,0 0 0,0 1-16,13-14 0,0 13 15,0-13-15,14 0 16,-14 0 0,0 0-16,14-13 15,-14-14-15,0 27 16,-13-13-16,13 0 15,-13-1 1,-13 41 15,0-27-15,13 13-16,-13-13 16,13 13-16,-13 1 0,13 12 31</inkml:trace>
  <inkml:trace contextRef="#ctx0" brushRef="#br0" timeOffset="19199.47">19235 10438 0,'-13'0'0</inkml:trace>
  <inkml:trace contextRef="#ctx0" brushRef="#br0" timeOffset="19410.99">19301 10438 0,'0'0'0,"0"13"16,14 0-16,-14 1 15,0-1-15,0 0 16,0 0-16,0 0 16,-14 1-16,1-14 15,-13 13-15,12-13 16,-12-13-16,13 13 16,0-14-16</inkml:trace>
  <inkml:trace contextRef="#ctx0" brushRef="#br0" timeOffset="19815.22">18666 9763 0,'-26'53'16,"26"-40"-16,-13 0 16,-1 14-16,14-14 0,-13 14 15,0-1-15,0 14 0,-14-1 16,14 1-16</inkml:trace>
  <inkml:trace contextRef="#ctx0" brushRef="#br0" timeOffset="20661.88">18441 10253 0,'14'-14'31,"-41"28"32,27-1-48,0 0 1,-13 14-1,13-14 1,-13-13 0,0 13-1,-14-13 1,14 0 0</inkml:trace>
  <inkml:trace contextRef="#ctx0" brushRef="#br0" timeOffset="20792.5">18494 10319 0</inkml:trace>
  <inkml:trace contextRef="#ctx0" brushRef="#br0" timeOffset="21102.29">18693 10226 0,'-13'-13'16,"-1"13"-16,1 0 31,0 0-15,0 13 62</inkml:trace>
  <inkml:trace contextRef="#ctx0" brushRef="#br0" timeOffset="22148.39">18402 10173 0,'26'-13'0,"-13"26"16,1-13-16,-14 13 0,13-13 15,-13 14-15,0-1 16,0 0 0,0 0-16,0 1 15,0-1 1,0 0 0,0 0-16,0 1 15,13-14 1,-26 13-16,13 0 15,-13-13-15,13 13 16,-14-13-16,1 0 0,13 13 16,-13-13-16,0 0 0,-14 0 15,14 14 1</inkml:trace>
  <inkml:trace contextRef="#ctx0" brushRef="#br0" timeOffset="22492.39">18508 10345 0,'-14'0'15,"1"0"17</inkml:trace>
  <inkml:trace contextRef="#ctx0" brushRef="#br0" timeOffset="22820.05">18666 10226 0,'-13'0'0,"0"0"0,39 0 0,-65 0 0,25 0 16,1 13-16,0-13 15,0 14-15,0-1 16,26 0-1,0-13-15,0 0 16,0 13-16,1-13 16,-14 14-16,13-14 15,-13 13-15,0 0 0,0 0 16,-13 14-16,13-14 16,-14 0-16,14 0 0,-13 1 15,13-1-15,-13 0 0,13 0 0,-13-13 16,13 27-16,-13-27 0,13 13 15</inkml:trace>
  <inkml:trace contextRef="#ctx0" brushRef="#br0" timeOffset="23922.91">17449 10186 0,'-39'14'16,"12"-14"-16,27 13 0,-13-13 15,0 0-15,13 13 16,-14 0-16,14 1 15,0-1 1,14-13-16,-1 13 31,13-26-31,-12 13 0,12-13 16,-13 13 0,0-14-16,1 1 15,-14 0-15,13 13 16,-40 13 31,27 0-47,-13 1 0,13-1 15,-13 0-15,13 0 16,-13 1-16,13-1 16,0 0-16,0 0 15</inkml:trace>
  <inkml:trace contextRef="#ctx0" brushRef="#br0" timeOffset="24267.21">17661 10213 0,'26'26'15,"-12"-26"-15,-14 14 0,0-1 16,0 0 0,-14-13-1,1 0 1,13-13-16</inkml:trace>
  <inkml:trace contextRef="#ctx0" brushRef="#br0" timeOffset="25370.97">16814 9499 0,'0'-40'15,"14"40"-15,-14-13 0,13-1 0,13-12 16,1 13-16,-1-14 0,14 14 16,-1-13-16,14-1 15,0 1-15,66-40 0,-52 39 16,65-13-16,-53 14 0,1 13 0,-14-1 15,13 1-15,0 13 16,-12 0-16,-1 0 0,0 0 0,13 0 0,-13 0 16,67 27-16,-67-14 0,0 0 15,-13 0-15,0 1 16,53 12-16,-67 1 0,14-14 16,0 13-16,-13-13 0,0 1 0,-1 12 15,1 1-15,-14-14 0,14 13 16,26 14-16,-39-27 0,-1 14 15,-13-14-15,27 13 0,-27 1 16,1-14-16,-1 0 0,0 0 16,0 1-16,0-1 0,14 13 15,-27 1-15,26-1 16,-26-12-16,14-14 0,-1 13 16,0 0-16,-13 0 0,13-13 0,1 0 15,-1 13-15,0-13 0,13 0 0,-12 0 16,12-13-16,27 13 15,-40-13-15,14 0 0,-1 13 16,-13-13-16,14-1 0,-14 1 0,0 0 16,-26 0-1</inkml:trace>
  <inkml:trace contextRef="#ctx0" brushRef="#br0" timeOffset="25874.05">18362 9075 0,'27'-66'16,"-27"53"-16,13-14 0,0 1 0,-13-14 16,13 1-16,0-1 0,1-66 15,-1-13-15,-13 53 16,13 13-16,0-13 0,-13 13 16,14 0-16,12-26 0,-26 39 15,27-26-15,-14 26 16,-13 14-16,26-14 0,-13 0 15,-13 27-15,14 0 16,-14-14-16,13 1 16,0 13-16,-13-1 0,13 14 15</inkml:trace>
  <inkml:trace contextRef="#ctx0" brushRef="#br0" timeOffset="26189.28">18693 7885 0,'-119'92'16,"106"-79"0,-14 1-16,14-1 0,-14 0 0,1 0 15,13 1-15,26-41 31,0 14-31,0 13 16,14-13-16,13-1 16,-27 14-16,13 0 0,-13 0 15,27 0-15,-13 0 16,-14 14-16,40-1 0,0 0 16,-27-13-16,1 13 15,-1-13-15,53 14 0,14-14 16</inkml:trace>
  <inkml:trace contextRef="#ctx0" brushRef="#br0" timeOffset="27461.41">794 5596 0,'0'93'15,"13"12"-15,-13-38 16,13-1-16,-13 26 0,0-12 16,0 39-16,0-13 0,13 13 0,-13 92 15,-13-105-15,13 13 0,0-26 16,0 79-16,-13 53 16,13-93-16,0-92 15,0 13-15,0 26 16,0-66-16,0 0 15,0 1-15</inkml:trace>
  <inkml:trace contextRef="#ctx0" brushRef="#br0" timeOffset="27866.95">93 7355 0,'92'0'0,"-52"-13"0,13 13 15,0 0-15,26-13 0,0 0 16,93-1-16,-79 14 0,0-13 15,171-13-15,-131 13 16,12-1-16,-13 14 0,14-13 16,13 0-16,-14 0 0,14-1 0,13 1 15,145-13-15,-145 26 0,0-13 16,-13 13-16,13-14 0,0 14 16,0-13-16,-13 13 0,13 0 0,145-13 15,-171 0-15,158 13 16,-172-14-16,106 1 15,-52 13-15,-14-13 16,-106 13-16,-13 0 0,0 0 0,-14-13 16,-12 13-16,-1 0 0,-13 0 15</inkml:trace>
  <inkml:trace contextRef="#ctx0" brushRef="#br0" timeOffset="45107.34">1879 7117 0,'13'14'78,"0"-14"-62,0 0 0,27 0-1,-27 0-15,0-14 16,14 14-16,-14-13 16,0 13-16,1-13 0,-1 0 15,26-14-15,-25 14 0,-1 0 16,0-1-16,0 1 0,1 0 0,-1 0 15,0 0-15,-13-1 0,13 1 16,0 0-16,1-14 0,-1 1 16,0 13-16,-13-14 0,13 14 15,1-13-15,-14-1 0,13 14 16,0-14-16,14-25 0,-14-1 16,0 26-16,0 1 0,-13-1 15,13 14-15,-13-13 0,27-14 16,-27 13-16,13 1 0,-13-1 15,13 14-15,14-53 0,-27 53 16,13-14-16,0 1 0,1-1 16,-14 1-16,13 0 0,-13-1 0,13 14 15,0-14-15,-13 1 0,13-1 0,-13-12 16,14 12-16,-1 1 0,-13-1 16,13-12-16,-13 12 0,13 1 0,-13-1 15,14 1-15,-14-1 0,0 1 16,13 0-16,-13-1 0,13 1 15,-13-1-15,0 14 0,13-14 0,-13 1 0,0 0 16,0 12-16,14-12 0,-14-1 16,0 14-16,13-13 0,-13 13 0,0-14 15,0 14-15,0-14 0,13 1 16,-13-14-16,13 27 16,-13-13-16,0 12 0,13-25 15,-13 12-15,0 14 0,14 0 0,-14-14 16,0 14-16,0 0 0,13-14 15,-13 14-15,0 0 0,13 0 16,-13-1-16,13-25 0,-13 25 16,0 1-16,0 0 0,14 0 15,-14-14-15,0 14 0,13 0 0,-13 0 16,0-1-16,13 1 0,-13 0 16,0 0-16,13-1 0,-13 1 15,0 0-15,0 0 0,14 0 0,-14-1 16,0-12-16,13 13 0,-13-14 15,13 14-15,-13 0 16,0 0-16,13-1 0,-13-12 16,0 13-16,13-1 0,-13 1 0,0 0 15,14 13-15,-14-13 0,0-1 16,0 1-16,13 13 0,-13-13 0,0 0 16,13-14-1,-13 14-15,13 13 0,-13-13 16,0 0-16,14 13 0,-1-27 15,-13 14-15,13 0 16,0-1-16,-13 1 16,13 13-16,-13-13 0,14 0 0,-14 0 15,13 13-15,-13-14 0,13 1 16,0 0 0,-13 0-16,14 13 0,-1-14 15,-13 1-15,13 13 16,0-13-16,1 13 15,-14-13 1,13 13-16,0-13 16,0 26 15,-13 0-15,13-13-16,-13 13 15,0 0-15,14 1 16,-14-1-16,0 0 0,0 0 15,0 1-15,13-1 16,-13 0-16,0 13 0,0-12 16,0-1-16,0 0 0,13 14 15,-13-1-15,0 1 16,0-14-16,13 13 16,-13-13-16,0 14 15,0-14-15,0 0 0,0 1 16,0 12-16,0 1 15,0-14-15,0 0 0,14 0 0,-14 0 16,0 1-16,0 12 0,0 1 16,0-14-16,0 0 15,0 0-15,0 0 0,13 27 16,-13-27-16,0 1 0,0-1 0,0 0 16,13 14-16,-13-1 0,0-13 15,0 14-15,13-1 0,-13 1 16,14-14-16,-1 53 15,-13-40-15,13 14 16,0-27-16,0 27 16,-13-13-16,14 12 15,-1-12-15,-13-14 0,26 27 16,-12-27-16,-14 13 0,13-12 16,0 12-16,0-13 0,-13 0 0,27 27 15,-14-13-15,0 12 16,14 1-16,-14-14 15,-13-12-15,26 52 16,-12-40-16,-1-13 0,-13 14 0,26 13 16,-26-14-16,13 1 15,-13-14-15,14 13 0,-14-13 16,13 14-16,0-1 0,0 14 16,1 0-16,-1-1 15,0-25-15,-13 12 0,27 14 16,-14-14-16,0 14 15,0-27-15,-13 27 16,13-14-16,1-12 16,-14 25-16,13-12 15,0-1-15,0 1 16,1 12-16,-1-25 16,0 12-16,0 0 15,-13-12-15,0-1 0,14 13 16,-1-12-16,-13 12 15,13 1-15,0-14 16,0 13-16,1 1 16,-14-14-16,13-13 0,-13 13 15,0 0-15,26 14 16,-26-1-16,14-13 16,-1 1-16,-13-1 15,13 0-15,0 14 16,-13-14-16,14-13 0,-14 13 15,0 0-15,13 1 0,-13-1 16,13 0-16,0 13 16,0-12-16,-13-1 15,14 0 1,-1 0-16,0-13 16,0 14-16,1-14 15,-1 0-15,0 0 0,0 0 16,0 0-16,1-14 15,12 14-15,-13-13 0,14 13 16,-27-13-16,13 13 16</inkml:trace>
  <inkml:trace contextRef="#ctx0" brushRef="#br0" timeOffset="47840.05">860 5741 0,'13'-119'16,"-13"66"-16,0 14 0,-13-80 15,13 53-15,-13-80 16,-1 1-16,14 65 0,-13 14 16,13 0-16,0 0 0,-13-53 15,13 39-15,0 41 16,-13 12-16,13 1 0,0-1 0,0 14 15,0 0-15,0 0 0,0-1 16,0 1-16</inkml:trace>
  <inkml:trace contextRef="#ctx0" brushRef="#br0" timeOffset="48508.39">794 6985 0,'53'-13'0,"-40"13"0,13-13 15,14-1-15,-27 1 0,14 13 16</inkml:trace>
  <inkml:trace contextRef="#ctx0" brushRef="#br0" timeOffset="48769.37">741 6218 0,'26'-14'15,"-12"14"-15,-1-13 16,0 13-16,13-13 0</inkml:trace>
  <inkml:trace contextRef="#ctx0" brushRef="#br0" timeOffset="49000.16">939 5398 0,'40'-27'0</inkml:trace>
  <inkml:trace contextRef="#ctx0" brushRef="#br0" timeOffset="49207.14">979 4749 0,'40'-13'0</inkml:trace>
  <inkml:trace contextRef="#ctx0" brushRef="#br0" timeOffset="50012.21">1693 7223 0,'14'146'15,"-14"-107"-15,0-12 0,13-1 16</inkml:trace>
  <inkml:trace contextRef="#ctx0" brushRef="#br0" timeOffset="50200.54">2262 7329 0,'13'13'16,"1"0"-16,-1 1 16,-13-1-16,13 0 15,0 14-15,-13-14 0,14 0 16,-1 0-16,0-13 0,0 13 15,0-13-15</inkml:trace>
  <inkml:trace contextRef="#ctx0" brushRef="#br0" timeOffset="50393.36">3188 7131 0,'13'0'15,"1"13"-15,-14 13 16,13-13-16,-13 1 16,0 12-16,0 1 15,0-14-15,0 0 0,13 0 16,0 0-16</inkml:trace>
  <inkml:trace contextRef="#ctx0" brushRef="#br0" timeOffset="50558.08">4247 7117 0,'39'40'16,"-39"-27"-16,13 0 15,1-13 1</inkml:trace>
  <inkml:trace contextRef="#ctx0" brushRef="#br0" timeOffset="50687.21">4961 7131 0,'26'39'0,"1"-12"16,-14-27-16,0 13 0,1 13 0,-1-12 15,13-1-15,-13 0 0,1 0 16,12 0-16,-13 1 0</inkml:trace>
  <inkml:trace contextRef="#ctx0" brushRef="#br0" timeOffset="52870.51">225 4802 0,'40'-26'0,"-27"26"0,-40 13 47,14 0-47,0 0 0,0 1 15,13-1 1,0 0-16,13-13 16,-13 13-16,13-13 0,-13 14 15,13-14-15,1 0 0,-14 13 16,13-13-16,0 13 0,0-13 16,-13 13-16,14 0 15,-28 1-15,1-1 16,0 0-16,-14 0 15,14 1-15,0-1 16,0-13 0,-1 0-16</inkml:trace>
  <inkml:trace contextRef="#ctx0" brushRef="#br0" timeOffset="53149.44">384 4842 0,'0'13'0,"0"0"16,0 14-1,13-14 1,0-13-16,0 0 16,14-13-1,-14 0-15,-13-1 16,0 1-1,0 0-15,-13 13 16,13-13-16,-13 13 16,-14 0-1,14 0-15,0 0 16</inkml:trace>
  <inkml:trace contextRef="#ctx0" brushRef="#br0" timeOffset="53391.08">489 4829 0,'14'13'0,"-1"0"15,0-13-15,0 13 16,1-13 0,-1 0-16,0 0 15,-13-13-15,-13 0 31,13 0-31,-13-1 16,-1 14-16,1-13 16,0 13-16,0 0 15,-1 0-15,1-13 16</inkml:trace>
  <inkml:trace contextRef="#ctx0" brushRef="#br0" timeOffset="53530.65">582 4710 0,'-26'0'0</inkml:trace>
  <inkml:trace contextRef="#ctx0" brushRef="#br0" timeOffset="53650.09">569 4710 0</inkml:trace>
  <inkml:trace contextRef="#ctx0" brushRef="#br0" timeOffset="55100.14">2977 7157 0,'13'26'47,"-13"-12"-47,0-1 16,0 0-16,-13 27 15,13-27 1,0 0-16</inkml:trace>
  <inkml:trace contextRef="#ctx0" brushRef="#br0" timeOffset="55352.21">3175 7157 0,'0'13'0,"0"0"15,0 14 1,0-14 0</inkml:trace>
  <inkml:trace contextRef="#ctx0" brushRef="#br0" timeOffset="56583.12">728 7210 0,'26'-13'32,"14"13"-17,-27 0 1,0 0-16,0 0 15,1 0-15,-1-14 0</inkml:trace>
  <inkml:trace contextRef="#ctx0" brushRef="#br0" timeOffset="56807.3">767 7144 0,'40'0'31,"-40"-13"-31,13 13 0</inkml:trace>
  <inkml:trace contextRef="#ctx0" brushRef="#br0" timeOffset="57034.97">767 7011 0,'14'-13'0,"-1"13"16,0 0-16,0 0 0,14-13 16</inkml:trace>
  <inkml:trace contextRef="#ctx0" brushRef="#br0" timeOffset="57204.13">794 6959 0,'26'-14'31,"-13"14"-31,1 0 15</inkml:trace>
  <inkml:trace contextRef="#ctx0" brushRef="#br0" timeOffset="57767.93">741 6826 0,'26'0'16,"1"-13"-16,-14 13 15,0 0-15,0 0 0,1 0 0,-1 0 16,0 0-16</inkml:trace>
  <inkml:trace contextRef="#ctx0" brushRef="#br0" timeOffset="58435.26">1905 7104 0,'-26'0'16,"-14"0"15,13 0-31,1-13 0,-1 13 0,-12 0 16,-14 0-16,0 0 0,-53 0 15,14 0-15,65 0 16,1 0-16,-1-13 0,14 13 0,-14 0 16,67 0 15</inkml:trace>
  <inkml:trace contextRef="#ctx0" brushRef="#br0" timeOffset="59194.55">4247 7038 0,'26'0'16,"-13"0"-16,0 0 0,1 0 15,-1 0-15,13-13 16,-12 13-1</inkml:trace>
  <inkml:trace contextRef="#ctx0" brushRef="#br0" timeOffset="61137">437 6787 0,'-27'52'16,"27"-25"-16,0-14 16,13 0-16,-13 1 15,14-14-15,-14 13 0,13-13 16,0 0 0,-13-13-16,13 13 0,-13-14 15,0 1-15,0 0 16,0 0-16,-13 13 0,13-14 15,0 1-15,-13 13 16,13-13-16,-13 0 16,-1 26-1,14 0-15,0 0 16</inkml:trace>
  <inkml:trace contextRef="#ctx0" brushRef="#br0" timeOffset="61661.09">304 7091 0,'14'0'31,"-1"0"-15,0 0 15,0-13-31,0 13 16,-13-14-1</inkml:trace>
  <inkml:trace contextRef="#ctx0" brushRef="#br0" timeOffset="62385.7">489 7051 0,'14'0'0,"-1"0"15,-13 27 1,0-14-16,0 0 0,0 0 0,0 1 16,0-1-16,0 0 15,0 0-15,-13 0 16,26 1 0,0-28-1,0 14-15,1-26 16,-1 13-16,0 13 0,0-27 15,1 14 1,-1 13-16,-13-13 16,13 13-16,0 0 15,0 0 1,1 0 0,-14-27 15,-14 1-16,1 13 1,0 26 15,0 13-15</inkml:trace>
  <inkml:trace contextRef="#ctx0" brushRef="#br0" timeOffset="62754.21">344 7633 0,'13'-13'16,"14"0"0,-27 0-16,13 13 0,0 0 15,-13-14-15</inkml:trace>
  <inkml:trace contextRef="#ctx0" brushRef="#br0" timeOffset="63032.33">529 7474 0,'0'0'15,"13"0"1,-13 14 0,0-1-1,0 0-15,14-13 31,-14 13-31,13-13 16,0 14 0,0-14-1,-13 13 1</inkml:trace>
  <inkml:trace contextRef="#ctx0" brushRef="#br0" timeOffset="63252.53">661 7501 0,'0'-13'0,"14"26"16,-1 0 15,0-13-15,0 0-1,1 0-15,-14-13 16,0 0-16,0-1 15,-14 14-15,14-13 0,-13 0 16,0 13 0,0 0-16,-14 0 15,14 0-15</inkml:trace>
  <inkml:trace contextRef="#ctx0" brushRef="#br0" timeOffset="64458.04">648 6575 0,'27'-13'0,"-14"13"0,0 0 16,0 0-16,27-14 16,-27 14-16,1 0 0,-1 0 15,0 0-15,0-13 0,14 13 16,-14-13-16,0 13 15,0 0-15</inkml:trace>
  <inkml:trace contextRef="#ctx0" brushRef="#br0" timeOffset="65233.09">397 6548 0,'-13'14'16,"-1"-1"-1,14 0 1,-13 0-16,13 1 16,0-1 15,13-13-16,1-13 1,-1 13 0,-13-14-16,0 1 0,13 0 15,-13 0 1,13 13 0,-13-14-1,-13 41 32,13-14-31,27-26 15,-14 0-15,0 13-16,0 0 15,0 0 1,-13 13-1,14-13-15,-1 13 16,0-13-16,0 0 16,1 0 15,-14-13-31,0 0 0,0-1 16,-14 1-1,1 0 1,-13 13-1,12 13 17,14 0-32</inkml:trace>
  <inkml:trace contextRef="#ctx0" brushRef="#br0" timeOffset="67783.11">476 5133 0,'106'-27'16,"-93"14"-16,1 0 15,12 13-15,0-26 0,-12 12 16,12 1-16,-13 0 0,14-14 16,-14 14-16,0 0 0,1 0 0,-1-27 15,0 27-15,-13 0 0,13-14 16,-13 14-16,0-14 0,0 14 16,0-13-16,0-40 15,-13 26-15,13 13 0,0 14 16,-13 0-16,0-13 0,13 12 15,-14-12-15,1 13 0,-13-27 16,-14 13-16,27 14 16,-1 0-16,-25 0 15,-1-14-15,14 27 0,12-13 16,1 13-16,-13 0 0,12-13 16,1 13-16,0 0 0,-13 13 0,12-13 15,1 0-15,-13 13 0,12 1 16,-38-1-16,38 0 15,-25 27-15,12-14 0,1-13 0,12 14 16,-25 26-16,26-40 16,-1 13-16,14-12 15,-13 25-15,0-25 0,13 12 16,0-13-16,0 0 0,0 1 0,0-1 16,0 0-16,0 0 0,0 14 15,13-27-15,-13 26 0,13-12 0,-13-1 16,14 13-16,-1-13 15,0 1-15,0-1 16,0-13-16,-13 13 0,14 0 16,-1-13-16,-13 14 0,13-14 15,0 13-15,1-13 16,-14 13 0,13-13-16,0 13 31,0-13 0,-13 14 0,14-14 79,-41-27 187</inkml:trace>
  <inkml:trace contextRef="#ctx0" brushRef="#br0" timeOffset="68479.42">781 4749 0,'66'-53'16,"-13"27"-1,13-14-15,-40 27 0,14 0 16,-14-14-16,14 14 16,13-27-16,-27 27 0,1 13 0,-1-13 15,-12 0-15,-1 13 0,13-14 16,-13 1-16,1 13 15,-1 0-15</inkml:trace>
  <inkml:trace contextRef="#ctx0" brushRef="#br0" timeOffset="68823.14">939 4524 0,'-13'27'0,"13"-14"0,-13 0 16,13 1-16,0-1 0,-27 26 15,27-25 1,0-1-16,-13 0 0,13 0 0,0 1 16,0-1-1,13 0-15,1-13 16,-1 0 0,13-13-1,-13 13-15,1 0 16,-1 0-16,0 0 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2/8/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7608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741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18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129</a:t>
            </a:fld>
            <a:endParaRPr lang="en-US"/>
          </a:p>
        </p:txBody>
      </p:sp>
    </p:spTree>
    <p:extLst>
      <p:ext uri="{BB962C8B-B14F-4D97-AF65-F5344CB8AC3E}">
        <p14:creationId xmlns:p14="http://schemas.microsoft.com/office/powerpoint/2010/main" val="16525461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8/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2/8/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emf"/><Relationship Id="rId1" Type="http://schemas.openxmlformats.org/officeDocument/2006/relationships/slideLayout" Target="../slideLayouts/slideLayout9.xml"/><Relationship Id="rId4" Type="http://schemas.openxmlformats.org/officeDocument/2006/relationships/image" Target="../media/image165.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hyperlink" Target="https://www.mathsisfun.com/data/bar-graphs.html" TargetMode="External"/><Relationship Id="rId1" Type="http://schemas.openxmlformats.org/officeDocument/2006/relationships/slideLayout" Target="../slideLayouts/slideLayout9.xml"/><Relationship Id="rId4" Type="http://schemas.openxmlformats.org/officeDocument/2006/relationships/image" Target="../media/image169.png"/></Relationships>
</file>

<file path=ppt/slides/_rels/slide106.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3" Type="http://schemas.openxmlformats.org/officeDocument/2006/relationships/image" Target="../media/image171.emf"/><Relationship Id="rId2" Type="http://schemas.openxmlformats.org/officeDocument/2006/relationships/image" Target="../media/image170.png"/><Relationship Id="rId1" Type="http://schemas.openxmlformats.org/officeDocument/2006/relationships/slideLayout" Target="../slideLayouts/slideLayout5.xml"/><Relationship Id="rId5" Type="http://schemas.openxmlformats.org/officeDocument/2006/relationships/hyperlink" Target="https://www.mathsisfun.com/data/bar-graphs.html" TargetMode="External"/><Relationship Id="rId4" Type="http://schemas.openxmlformats.org/officeDocument/2006/relationships/hyperlink" Target="https://www.mathsisfun.com/data/data-discrete-continuous.html" TargetMode="External"/></Relationships>
</file>

<file path=ppt/slides/_rels/slide108.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5.xml"/><Relationship Id="rId4" Type="http://schemas.openxmlformats.org/officeDocument/2006/relationships/image" Target="../media/image175.png"/></Relationships>
</file>

<file path=ppt/slides/_rels/slide11.xml.rels><?xml version="1.0" encoding="UTF-8" standalone="yes"?>
<Relationships xmlns="http://schemas.openxmlformats.org/package/2006/relationships"><Relationship Id="rId3" Type="http://schemas.openxmlformats.org/officeDocument/2006/relationships/hyperlink" Target="http://www.collectedny.org/careerposts/assessing-job-offers/" TargetMode="External"/><Relationship Id="rId2" Type="http://schemas.openxmlformats.org/officeDocument/2006/relationships/image" Target="../media/image12.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s://www.pexels.com/photo/university-entrance-arch-247823/" TargetMode="External"/><Relationship Id="rId4" Type="http://schemas.openxmlformats.org/officeDocument/2006/relationships/image" Target="../media/image13.jpeg"/></Relationships>
</file>

<file path=ppt/slides/_rels/slide11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5.xml"/><Relationship Id="rId4" Type="http://schemas.openxmlformats.org/officeDocument/2006/relationships/image" Target="../media/image179.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3" Type="http://schemas.openxmlformats.org/officeDocument/2006/relationships/hyperlink" Target="https://www.mathsisfun.com/data/standard-normal-distribution.html" TargetMode="External"/><Relationship Id="rId2" Type="http://schemas.openxmlformats.org/officeDocument/2006/relationships/image" Target="../media/image180.png"/><Relationship Id="rId1" Type="http://schemas.openxmlformats.org/officeDocument/2006/relationships/slideLayout" Target="../slideLayouts/slideLayout5.xml"/><Relationship Id="rId5" Type="http://schemas.openxmlformats.org/officeDocument/2006/relationships/image" Target="../media/image181.png"/><Relationship Id="rId4" Type="http://schemas.openxmlformats.org/officeDocument/2006/relationships/customXml" Target="../ink/ink95.xml"/></Relationships>
</file>

<file path=ppt/slides/_rels/slide117.xml.rels><?xml version="1.0" encoding="UTF-8" standalone="yes"?>
<Relationships xmlns="http://schemas.openxmlformats.org/package/2006/relationships"><Relationship Id="rId3" Type="http://schemas.openxmlformats.org/officeDocument/2006/relationships/customXml" Target="../ink/ink96.xml"/><Relationship Id="rId2" Type="http://schemas.openxmlformats.org/officeDocument/2006/relationships/image" Target="../media/image182.png"/><Relationship Id="rId1" Type="http://schemas.openxmlformats.org/officeDocument/2006/relationships/slideLayout" Target="../slideLayouts/slideLayout5.xml"/><Relationship Id="rId4" Type="http://schemas.openxmlformats.org/officeDocument/2006/relationships/image" Target="../media/image183.png"/></Relationships>
</file>

<file path=ppt/slides/_rels/slide118.xml.rels><?xml version="1.0" encoding="UTF-8" standalone="yes"?>
<Relationships xmlns="http://schemas.openxmlformats.org/package/2006/relationships"><Relationship Id="rId3" Type="http://schemas.openxmlformats.org/officeDocument/2006/relationships/customXml" Target="../ink/ink97.xml"/><Relationship Id="rId2" Type="http://schemas.openxmlformats.org/officeDocument/2006/relationships/image" Target="../media/image184.png"/><Relationship Id="rId1" Type="http://schemas.openxmlformats.org/officeDocument/2006/relationships/slideLayout" Target="../slideLayouts/slideLayout5.xml"/><Relationship Id="rId4" Type="http://schemas.openxmlformats.org/officeDocument/2006/relationships/image" Target="../media/image185.png"/></Relationships>
</file>

<file path=ppt/slides/_rels/slide119.xml.rels><?xml version="1.0" encoding="UTF-8" standalone="yes"?>
<Relationships xmlns="http://schemas.openxmlformats.org/package/2006/relationships"><Relationship Id="rId3" Type="http://schemas.openxmlformats.org/officeDocument/2006/relationships/customXml" Target="../ink/ink98.xml"/><Relationship Id="rId2" Type="http://schemas.openxmlformats.org/officeDocument/2006/relationships/image" Target="../media/image186.png"/><Relationship Id="rId1" Type="http://schemas.openxmlformats.org/officeDocument/2006/relationships/slideLayout" Target="../slideLayouts/slideLayout5.xml"/><Relationship Id="rId4" Type="http://schemas.openxmlformats.org/officeDocument/2006/relationships/image" Target="../media/image18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customXml" Target="../ink/ink99.xml"/><Relationship Id="rId2" Type="http://schemas.openxmlformats.org/officeDocument/2006/relationships/image" Target="../media/image188.png"/><Relationship Id="rId1" Type="http://schemas.openxmlformats.org/officeDocument/2006/relationships/slideLayout" Target="../slideLayouts/slideLayout5.xml"/><Relationship Id="rId4" Type="http://schemas.openxmlformats.org/officeDocument/2006/relationships/image" Target="../media/image189.png"/></Relationships>
</file>

<file path=ppt/slides/_rels/slide121.xml.rels><?xml version="1.0" encoding="UTF-8" standalone="yes"?>
<Relationships xmlns="http://schemas.openxmlformats.org/package/2006/relationships"><Relationship Id="rId3" Type="http://schemas.openxmlformats.org/officeDocument/2006/relationships/customXml" Target="../ink/ink100.xml"/><Relationship Id="rId2" Type="http://schemas.openxmlformats.org/officeDocument/2006/relationships/image" Target="../media/image190.png"/><Relationship Id="rId1" Type="http://schemas.openxmlformats.org/officeDocument/2006/relationships/slideLayout" Target="../slideLayouts/slideLayout5.xml"/><Relationship Id="rId4" Type="http://schemas.openxmlformats.org/officeDocument/2006/relationships/image" Target="../media/image191.png"/></Relationships>
</file>

<file path=ppt/slides/_rels/slide12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customXml" Target="../ink/ink101.xml"/><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hyperlink" Target="https://pxhere.com/en/photo/1098814" TargetMode="External"/><Relationship Id="rId2" Type="http://schemas.openxmlformats.org/officeDocument/2006/relationships/image" Target="../media/image193.jpeg"/><Relationship Id="rId1" Type="http://schemas.openxmlformats.org/officeDocument/2006/relationships/slideLayout" Target="../slideLayouts/slideLayout5.xml"/><Relationship Id="rId5" Type="http://schemas.openxmlformats.org/officeDocument/2006/relationships/image" Target="../media/image194.png"/><Relationship Id="rId4" Type="http://schemas.openxmlformats.org/officeDocument/2006/relationships/customXml" Target="../ink/ink102.xml"/></Relationships>
</file>

<file path=ppt/slides/_rels/slide124.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customXml" Target="../ink/ink103.xml"/><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8" Type="http://schemas.openxmlformats.org/officeDocument/2006/relationships/customXml" Target="../ink/ink107.xml"/><Relationship Id="rId3" Type="http://schemas.openxmlformats.org/officeDocument/2006/relationships/image" Target="../media/image196.png"/><Relationship Id="rId7" Type="http://schemas.openxmlformats.org/officeDocument/2006/relationships/image" Target="../media/image198.png"/><Relationship Id="rId2" Type="http://schemas.openxmlformats.org/officeDocument/2006/relationships/customXml" Target="../ink/ink104.xml"/><Relationship Id="rId1" Type="http://schemas.openxmlformats.org/officeDocument/2006/relationships/slideLayout" Target="../slideLayouts/slideLayout5.xml"/><Relationship Id="rId6" Type="http://schemas.openxmlformats.org/officeDocument/2006/relationships/customXml" Target="../ink/ink106.xml"/><Relationship Id="rId5" Type="http://schemas.openxmlformats.org/officeDocument/2006/relationships/image" Target="../media/image197.png"/><Relationship Id="rId4" Type="http://schemas.openxmlformats.org/officeDocument/2006/relationships/customXml" Target="../ink/ink105.xml"/><Relationship Id="rId9" Type="http://schemas.openxmlformats.org/officeDocument/2006/relationships/image" Target="../media/image199.png"/></Relationships>
</file>

<file path=ppt/slides/_rels/slide126.xml.rels><?xml version="1.0" encoding="UTF-8" standalone="yes"?>
<Relationships xmlns="http://schemas.openxmlformats.org/package/2006/relationships"><Relationship Id="rId26" Type="http://schemas.openxmlformats.org/officeDocument/2006/relationships/image" Target="../media/image212.png"/><Relationship Id="rId117" Type="http://schemas.openxmlformats.org/officeDocument/2006/relationships/image" Target="../media/image257.png"/><Relationship Id="rId21" Type="http://schemas.openxmlformats.org/officeDocument/2006/relationships/customXml" Target="../ink/ink117.xml"/><Relationship Id="rId42" Type="http://schemas.openxmlformats.org/officeDocument/2006/relationships/image" Target="../media/image220.png"/><Relationship Id="rId47" Type="http://schemas.openxmlformats.org/officeDocument/2006/relationships/customXml" Target="../ink/ink130.xml"/><Relationship Id="rId63" Type="http://schemas.openxmlformats.org/officeDocument/2006/relationships/image" Target="../media/image230.png"/><Relationship Id="rId68" Type="http://schemas.openxmlformats.org/officeDocument/2006/relationships/customXml" Target="../ink/ink141.xml"/><Relationship Id="rId84" Type="http://schemas.openxmlformats.org/officeDocument/2006/relationships/customXml" Target="../ink/ink149.xml"/><Relationship Id="rId89" Type="http://schemas.openxmlformats.org/officeDocument/2006/relationships/image" Target="../media/image243.png"/><Relationship Id="rId112" Type="http://schemas.openxmlformats.org/officeDocument/2006/relationships/customXml" Target="../ink/ink163.xml"/><Relationship Id="rId16" Type="http://schemas.openxmlformats.org/officeDocument/2006/relationships/image" Target="../media/image207.png"/><Relationship Id="rId107" Type="http://schemas.openxmlformats.org/officeDocument/2006/relationships/image" Target="../media/image252.png"/><Relationship Id="rId11" Type="http://schemas.openxmlformats.org/officeDocument/2006/relationships/customXml" Target="../ink/ink112.xml"/><Relationship Id="rId32" Type="http://schemas.openxmlformats.org/officeDocument/2006/relationships/image" Target="../media/image215.png"/><Relationship Id="rId37" Type="http://schemas.openxmlformats.org/officeDocument/2006/relationships/customXml" Target="../ink/ink125.xml"/><Relationship Id="rId53" Type="http://schemas.openxmlformats.org/officeDocument/2006/relationships/customXml" Target="../ink/ink133.xml"/><Relationship Id="rId58" Type="http://schemas.openxmlformats.org/officeDocument/2006/relationships/customXml" Target="../ink/ink136.xml"/><Relationship Id="rId74" Type="http://schemas.openxmlformats.org/officeDocument/2006/relationships/customXml" Target="../ink/ink144.xml"/><Relationship Id="rId79" Type="http://schemas.openxmlformats.org/officeDocument/2006/relationships/image" Target="../media/image238.png"/><Relationship Id="rId102" Type="http://schemas.openxmlformats.org/officeDocument/2006/relationships/customXml" Target="../ink/ink158.xml"/><Relationship Id="rId5" Type="http://schemas.openxmlformats.org/officeDocument/2006/relationships/customXml" Target="../ink/ink109.xml"/><Relationship Id="rId90" Type="http://schemas.openxmlformats.org/officeDocument/2006/relationships/customXml" Target="../ink/ink152.xml"/><Relationship Id="rId95" Type="http://schemas.openxmlformats.org/officeDocument/2006/relationships/image" Target="../media/image246.png"/><Relationship Id="rId22" Type="http://schemas.openxmlformats.org/officeDocument/2006/relationships/image" Target="../media/image210.png"/><Relationship Id="rId27" Type="http://schemas.openxmlformats.org/officeDocument/2006/relationships/customXml" Target="../ink/ink120.xml"/><Relationship Id="rId43" Type="http://schemas.openxmlformats.org/officeDocument/2006/relationships/customXml" Target="../ink/ink128.xml"/><Relationship Id="rId48" Type="http://schemas.openxmlformats.org/officeDocument/2006/relationships/image" Target="../media/image223.png"/><Relationship Id="rId64" Type="http://schemas.openxmlformats.org/officeDocument/2006/relationships/customXml" Target="../ink/ink139.xml"/><Relationship Id="rId69" Type="http://schemas.openxmlformats.org/officeDocument/2006/relationships/image" Target="../media/image233.png"/><Relationship Id="rId113" Type="http://schemas.openxmlformats.org/officeDocument/2006/relationships/image" Target="../media/image255.png"/><Relationship Id="rId80" Type="http://schemas.openxmlformats.org/officeDocument/2006/relationships/customXml" Target="../ink/ink147.xml"/><Relationship Id="rId85" Type="http://schemas.openxmlformats.org/officeDocument/2006/relationships/image" Target="../media/image241.png"/><Relationship Id="rId12" Type="http://schemas.openxmlformats.org/officeDocument/2006/relationships/image" Target="../media/image205.png"/><Relationship Id="rId17" Type="http://schemas.openxmlformats.org/officeDocument/2006/relationships/customXml" Target="../ink/ink115.xml"/><Relationship Id="rId33" Type="http://schemas.openxmlformats.org/officeDocument/2006/relationships/customXml" Target="../ink/ink123.xml"/><Relationship Id="rId38" Type="http://schemas.openxmlformats.org/officeDocument/2006/relationships/image" Target="../media/image218.png"/><Relationship Id="rId59" Type="http://schemas.openxmlformats.org/officeDocument/2006/relationships/image" Target="../media/image228.png"/><Relationship Id="rId103" Type="http://schemas.openxmlformats.org/officeDocument/2006/relationships/image" Target="../media/image250.png"/><Relationship Id="rId108" Type="http://schemas.openxmlformats.org/officeDocument/2006/relationships/customXml" Target="../ink/ink161.xml"/><Relationship Id="rId54" Type="http://schemas.openxmlformats.org/officeDocument/2006/relationships/customXml" Target="../ink/ink134.xml"/><Relationship Id="rId70" Type="http://schemas.openxmlformats.org/officeDocument/2006/relationships/customXml" Target="../ink/ink142.xml"/><Relationship Id="rId75" Type="http://schemas.openxmlformats.org/officeDocument/2006/relationships/image" Target="../media/image236.png"/><Relationship Id="rId91" Type="http://schemas.openxmlformats.org/officeDocument/2006/relationships/image" Target="../media/image244.png"/><Relationship Id="rId96" Type="http://schemas.openxmlformats.org/officeDocument/2006/relationships/customXml" Target="../ink/ink155.xml"/><Relationship Id="rId1" Type="http://schemas.openxmlformats.org/officeDocument/2006/relationships/slideLayout" Target="../slideLayouts/slideLayout5.xml"/><Relationship Id="rId6" Type="http://schemas.openxmlformats.org/officeDocument/2006/relationships/image" Target="../media/image202.png"/><Relationship Id="rId23" Type="http://schemas.openxmlformats.org/officeDocument/2006/relationships/customXml" Target="../ink/ink118.xml"/><Relationship Id="rId28" Type="http://schemas.openxmlformats.org/officeDocument/2006/relationships/image" Target="../media/image213.png"/><Relationship Id="rId49" Type="http://schemas.openxmlformats.org/officeDocument/2006/relationships/customXml" Target="../ink/ink131.xml"/><Relationship Id="rId114" Type="http://schemas.openxmlformats.org/officeDocument/2006/relationships/customXml" Target="../ink/ink164.xml"/><Relationship Id="rId10" Type="http://schemas.openxmlformats.org/officeDocument/2006/relationships/image" Target="../media/image204.png"/><Relationship Id="rId31" Type="http://schemas.openxmlformats.org/officeDocument/2006/relationships/customXml" Target="../ink/ink122.xml"/><Relationship Id="rId44" Type="http://schemas.openxmlformats.org/officeDocument/2006/relationships/image" Target="../media/image221.png"/><Relationship Id="rId52" Type="http://schemas.openxmlformats.org/officeDocument/2006/relationships/image" Target="../media/image225.png"/><Relationship Id="rId60" Type="http://schemas.openxmlformats.org/officeDocument/2006/relationships/customXml" Target="../ink/ink137.xml"/><Relationship Id="rId65" Type="http://schemas.openxmlformats.org/officeDocument/2006/relationships/image" Target="../media/image231.png"/><Relationship Id="rId73" Type="http://schemas.openxmlformats.org/officeDocument/2006/relationships/image" Target="../media/image235.png"/><Relationship Id="rId78" Type="http://schemas.openxmlformats.org/officeDocument/2006/relationships/customXml" Target="../ink/ink146.xml"/><Relationship Id="rId81" Type="http://schemas.openxmlformats.org/officeDocument/2006/relationships/image" Target="../media/image239.png"/><Relationship Id="rId86" Type="http://schemas.openxmlformats.org/officeDocument/2006/relationships/customXml" Target="../ink/ink150.xml"/><Relationship Id="rId94" Type="http://schemas.openxmlformats.org/officeDocument/2006/relationships/customXml" Target="../ink/ink154.xml"/><Relationship Id="rId99" Type="http://schemas.openxmlformats.org/officeDocument/2006/relationships/image" Target="../media/image248.png"/><Relationship Id="rId101" Type="http://schemas.openxmlformats.org/officeDocument/2006/relationships/image" Target="../media/image249.png"/><Relationship Id="rId4" Type="http://schemas.openxmlformats.org/officeDocument/2006/relationships/image" Target="../media/image201.png"/><Relationship Id="rId9" Type="http://schemas.openxmlformats.org/officeDocument/2006/relationships/customXml" Target="../ink/ink111.xml"/><Relationship Id="rId13" Type="http://schemas.openxmlformats.org/officeDocument/2006/relationships/customXml" Target="../ink/ink113.xml"/><Relationship Id="rId18" Type="http://schemas.openxmlformats.org/officeDocument/2006/relationships/image" Target="../media/image208.png"/><Relationship Id="rId39" Type="http://schemas.openxmlformats.org/officeDocument/2006/relationships/customXml" Target="../ink/ink126.xml"/><Relationship Id="rId109" Type="http://schemas.openxmlformats.org/officeDocument/2006/relationships/image" Target="../media/image253.png"/><Relationship Id="rId34" Type="http://schemas.openxmlformats.org/officeDocument/2006/relationships/image" Target="../media/image216.png"/><Relationship Id="rId50" Type="http://schemas.openxmlformats.org/officeDocument/2006/relationships/image" Target="../media/image224.png"/><Relationship Id="rId55" Type="http://schemas.openxmlformats.org/officeDocument/2006/relationships/image" Target="../media/image226.png"/><Relationship Id="rId76" Type="http://schemas.openxmlformats.org/officeDocument/2006/relationships/customXml" Target="../ink/ink145.xml"/><Relationship Id="rId97" Type="http://schemas.openxmlformats.org/officeDocument/2006/relationships/image" Target="../media/image247.png"/><Relationship Id="rId104" Type="http://schemas.openxmlformats.org/officeDocument/2006/relationships/customXml" Target="../ink/ink159.xml"/><Relationship Id="rId7" Type="http://schemas.openxmlformats.org/officeDocument/2006/relationships/customXml" Target="../ink/ink110.xml"/><Relationship Id="rId71" Type="http://schemas.openxmlformats.org/officeDocument/2006/relationships/image" Target="../media/image234.png"/><Relationship Id="rId92" Type="http://schemas.openxmlformats.org/officeDocument/2006/relationships/customXml" Target="../ink/ink153.xml"/><Relationship Id="rId2" Type="http://schemas.openxmlformats.org/officeDocument/2006/relationships/image" Target="../media/image200.png"/><Relationship Id="rId29" Type="http://schemas.openxmlformats.org/officeDocument/2006/relationships/customXml" Target="../ink/ink121.xml"/><Relationship Id="rId24" Type="http://schemas.openxmlformats.org/officeDocument/2006/relationships/image" Target="../media/image211.png"/><Relationship Id="rId40" Type="http://schemas.openxmlformats.org/officeDocument/2006/relationships/image" Target="../media/image219.png"/><Relationship Id="rId45" Type="http://schemas.openxmlformats.org/officeDocument/2006/relationships/customXml" Target="../ink/ink129.xml"/><Relationship Id="rId66" Type="http://schemas.openxmlformats.org/officeDocument/2006/relationships/customXml" Target="../ink/ink140.xml"/><Relationship Id="rId87" Type="http://schemas.openxmlformats.org/officeDocument/2006/relationships/image" Target="../media/image242.png"/><Relationship Id="rId110" Type="http://schemas.openxmlformats.org/officeDocument/2006/relationships/customXml" Target="../ink/ink162.xml"/><Relationship Id="rId115" Type="http://schemas.openxmlformats.org/officeDocument/2006/relationships/image" Target="../media/image256.png"/><Relationship Id="rId61" Type="http://schemas.openxmlformats.org/officeDocument/2006/relationships/image" Target="../media/image229.png"/><Relationship Id="rId82" Type="http://schemas.openxmlformats.org/officeDocument/2006/relationships/customXml" Target="../ink/ink148.xml"/><Relationship Id="rId19" Type="http://schemas.openxmlformats.org/officeDocument/2006/relationships/customXml" Target="../ink/ink116.xml"/><Relationship Id="rId14" Type="http://schemas.openxmlformats.org/officeDocument/2006/relationships/image" Target="../media/image206.png"/><Relationship Id="rId30" Type="http://schemas.openxmlformats.org/officeDocument/2006/relationships/image" Target="../media/image214.png"/><Relationship Id="rId35" Type="http://schemas.openxmlformats.org/officeDocument/2006/relationships/customXml" Target="../ink/ink124.xml"/><Relationship Id="rId56" Type="http://schemas.openxmlformats.org/officeDocument/2006/relationships/customXml" Target="../ink/ink135.xml"/><Relationship Id="rId77" Type="http://schemas.openxmlformats.org/officeDocument/2006/relationships/image" Target="../media/image237.png"/><Relationship Id="rId100" Type="http://schemas.openxmlformats.org/officeDocument/2006/relationships/customXml" Target="../ink/ink157.xml"/><Relationship Id="rId105" Type="http://schemas.openxmlformats.org/officeDocument/2006/relationships/image" Target="../media/image251.png"/><Relationship Id="rId8" Type="http://schemas.openxmlformats.org/officeDocument/2006/relationships/image" Target="../media/image203.png"/><Relationship Id="rId51" Type="http://schemas.openxmlformats.org/officeDocument/2006/relationships/customXml" Target="../ink/ink132.xml"/><Relationship Id="rId72" Type="http://schemas.openxmlformats.org/officeDocument/2006/relationships/customXml" Target="../ink/ink143.xml"/><Relationship Id="rId93" Type="http://schemas.openxmlformats.org/officeDocument/2006/relationships/image" Target="../media/image245.png"/><Relationship Id="rId98" Type="http://schemas.openxmlformats.org/officeDocument/2006/relationships/customXml" Target="../ink/ink156.xml"/><Relationship Id="rId3" Type="http://schemas.openxmlformats.org/officeDocument/2006/relationships/customXml" Target="../ink/ink108.xml"/><Relationship Id="rId25" Type="http://schemas.openxmlformats.org/officeDocument/2006/relationships/customXml" Target="../ink/ink119.xml"/><Relationship Id="rId46" Type="http://schemas.openxmlformats.org/officeDocument/2006/relationships/image" Target="../media/image222.png"/><Relationship Id="rId67" Type="http://schemas.openxmlformats.org/officeDocument/2006/relationships/image" Target="../media/image232.png"/><Relationship Id="rId116" Type="http://schemas.openxmlformats.org/officeDocument/2006/relationships/customXml" Target="../ink/ink165.xml"/><Relationship Id="rId20" Type="http://schemas.openxmlformats.org/officeDocument/2006/relationships/image" Target="../media/image209.png"/><Relationship Id="rId41" Type="http://schemas.openxmlformats.org/officeDocument/2006/relationships/customXml" Target="../ink/ink127.xml"/><Relationship Id="rId62" Type="http://schemas.openxmlformats.org/officeDocument/2006/relationships/customXml" Target="../ink/ink138.xml"/><Relationship Id="rId83" Type="http://schemas.openxmlformats.org/officeDocument/2006/relationships/image" Target="../media/image240.png"/><Relationship Id="rId88" Type="http://schemas.openxmlformats.org/officeDocument/2006/relationships/customXml" Target="../ink/ink151.xml"/><Relationship Id="rId111" Type="http://schemas.openxmlformats.org/officeDocument/2006/relationships/image" Target="../media/image254.png"/><Relationship Id="rId15" Type="http://schemas.openxmlformats.org/officeDocument/2006/relationships/customXml" Target="../ink/ink114.xml"/><Relationship Id="rId36" Type="http://schemas.openxmlformats.org/officeDocument/2006/relationships/image" Target="../media/image217.png"/><Relationship Id="rId57" Type="http://schemas.openxmlformats.org/officeDocument/2006/relationships/image" Target="../media/image227.png"/><Relationship Id="rId106" Type="http://schemas.openxmlformats.org/officeDocument/2006/relationships/customXml" Target="../ink/ink160.xml"/></Relationships>
</file>

<file path=ppt/slides/_rels/slide127.xml.rels><?xml version="1.0" encoding="UTF-8" standalone="yes"?>
<Relationships xmlns="http://schemas.openxmlformats.org/package/2006/relationships"><Relationship Id="rId13" Type="http://schemas.openxmlformats.org/officeDocument/2006/relationships/customXml" Target="../ink/ink171.xml"/><Relationship Id="rId18" Type="http://schemas.openxmlformats.org/officeDocument/2006/relationships/image" Target="../media/image262.png"/><Relationship Id="rId26" Type="http://schemas.openxmlformats.org/officeDocument/2006/relationships/image" Target="../media/image266.png"/><Relationship Id="rId21" Type="http://schemas.openxmlformats.org/officeDocument/2006/relationships/customXml" Target="../ink/ink175.xml"/><Relationship Id="rId34" Type="http://schemas.openxmlformats.org/officeDocument/2006/relationships/image" Target="../media/image270.png"/><Relationship Id="rId7" Type="http://schemas.openxmlformats.org/officeDocument/2006/relationships/image" Target="../media/image198.png"/><Relationship Id="rId12" Type="http://schemas.openxmlformats.org/officeDocument/2006/relationships/image" Target="../media/image259.png"/><Relationship Id="rId17" Type="http://schemas.openxmlformats.org/officeDocument/2006/relationships/customXml" Target="../ink/ink173.xml"/><Relationship Id="rId25" Type="http://schemas.openxmlformats.org/officeDocument/2006/relationships/customXml" Target="../ink/ink177.xml"/><Relationship Id="rId33" Type="http://schemas.openxmlformats.org/officeDocument/2006/relationships/customXml" Target="../ink/ink181.xml"/><Relationship Id="rId38" Type="http://schemas.openxmlformats.org/officeDocument/2006/relationships/image" Target="../media/image271.png"/><Relationship Id="rId2" Type="http://schemas.openxmlformats.org/officeDocument/2006/relationships/customXml" Target="../ink/ink166.xml"/><Relationship Id="rId16" Type="http://schemas.openxmlformats.org/officeDocument/2006/relationships/image" Target="../media/image261.png"/><Relationship Id="rId20" Type="http://schemas.openxmlformats.org/officeDocument/2006/relationships/image" Target="../media/image263.png"/><Relationship Id="rId29" Type="http://schemas.openxmlformats.org/officeDocument/2006/relationships/customXml" Target="../ink/ink179.xml"/><Relationship Id="rId1" Type="http://schemas.openxmlformats.org/officeDocument/2006/relationships/slideLayout" Target="../slideLayouts/slideLayout5.xml"/><Relationship Id="rId6" Type="http://schemas.openxmlformats.org/officeDocument/2006/relationships/customXml" Target="../ink/ink168.xml"/><Relationship Id="rId11" Type="http://schemas.openxmlformats.org/officeDocument/2006/relationships/customXml" Target="../ink/ink170.xml"/><Relationship Id="rId24" Type="http://schemas.openxmlformats.org/officeDocument/2006/relationships/image" Target="../media/image265.png"/><Relationship Id="rId32" Type="http://schemas.openxmlformats.org/officeDocument/2006/relationships/image" Target="../media/image269.png"/><Relationship Id="rId37" Type="http://schemas.openxmlformats.org/officeDocument/2006/relationships/customXml" Target="../ink/ink183.xml"/><Relationship Id="rId5" Type="http://schemas.openxmlformats.org/officeDocument/2006/relationships/image" Target="../media/image197.png"/><Relationship Id="rId15" Type="http://schemas.openxmlformats.org/officeDocument/2006/relationships/customXml" Target="../ink/ink172.xml"/><Relationship Id="rId23" Type="http://schemas.openxmlformats.org/officeDocument/2006/relationships/customXml" Target="../ink/ink176.xml"/><Relationship Id="rId28" Type="http://schemas.openxmlformats.org/officeDocument/2006/relationships/image" Target="../media/image267.png"/><Relationship Id="rId36" Type="http://schemas.openxmlformats.org/officeDocument/2006/relationships/image" Target="../media/image213.png"/><Relationship Id="rId10" Type="http://schemas.openxmlformats.org/officeDocument/2006/relationships/image" Target="../media/image258.png"/><Relationship Id="rId19" Type="http://schemas.openxmlformats.org/officeDocument/2006/relationships/customXml" Target="../ink/ink174.xml"/><Relationship Id="rId31" Type="http://schemas.openxmlformats.org/officeDocument/2006/relationships/customXml" Target="../ink/ink180.xml"/><Relationship Id="rId4" Type="http://schemas.openxmlformats.org/officeDocument/2006/relationships/customXml" Target="../ink/ink167.xml"/><Relationship Id="rId9" Type="http://schemas.openxmlformats.org/officeDocument/2006/relationships/customXml" Target="../ink/ink169.xml"/><Relationship Id="rId14" Type="http://schemas.openxmlformats.org/officeDocument/2006/relationships/image" Target="../media/image260.png"/><Relationship Id="rId22" Type="http://schemas.openxmlformats.org/officeDocument/2006/relationships/image" Target="../media/image264.png"/><Relationship Id="rId27" Type="http://schemas.openxmlformats.org/officeDocument/2006/relationships/customXml" Target="../ink/ink178.xml"/><Relationship Id="rId30" Type="http://schemas.openxmlformats.org/officeDocument/2006/relationships/image" Target="../media/image268.png"/><Relationship Id="rId35" Type="http://schemas.openxmlformats.org/officeDocument/2006/relationships/customXml" Target="../ink/ink182.xml"/><Relationship Id="rId8" Type="http://schemas.openxmlformats.org/officeDocument/2006/relationships/image" Target="../media/image200.png"/><Relationship Id="rId3" Type="http://schemas.openxmlformats.org/officeDocument/2006/relationships/image" Target="../media/image196.png"/></Relationships>
</file>

<file path=ppt/slides/_rels/slide128.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customXml" Target="../ink/ink184.xml"/><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3" Type="http://schemas.openxmlformats.org/officeDocument/2006/relationships/image" Target="../media/image273.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74.png"/><Relationship Id="rId5" Type="http://schemas.openxmlformats.org/officeDocument/2006/relationships/customXml" Target="../ink/ink185.xml"/><Relationship Id="rId4" Type="http://schemas.openxmlformats.org/officeDocument/2006/relationships/hyperlink" Target="https://www.flickr.com/photos/icma/3635981474"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75.jpeg"/><Relationship Id="rId1" Type="http://schemas.openxmlformats.org/officeDocument/2006/relationships/slideLayout" Target="../slideLayouts/slideLayout5.xml"/><Relationship Id="rId6" Type="http://schemas.openxmlformats.org/officeDocument/2006/relationships/image" Target="../media/image277.png"/><Relationship Id="rId5" Type="http://schemas.openxmlformats.org/officeDocument/2006/relationships/customXml" Target="../ink/ink186.xml"/><Relationship Id="rId4" Type="http://schemas.openxmlformats.org/officeDocument/2006/relationships/image" Target="../media/image276.png"/></Relationships>
</file>

<file path=ppt/slides/_rels/slide131.xml.rels><?xml version="1.0" encoding="UTF-8" standalone="yes"?>
<Relationships xmlns="http://schemas.openxmlformats.org/package/2006/relationships"><Relationship Id="rId3" Type="http://schemas.openxmlformats.org/officeDocument/2006/relationships/hyperlink" Target="https://www.flickr.com/photos/101440531@N06/47077435382" TargetMode="External"/><Relationship Id="rId7" Type="http://schemas.openxmlformats.org/officeDocument/2006/relationships/image" Target="../media/image280.png"/><Relationship Id="rId2" Type="http://schemas.openxmlformats.org/officeDocument/2006/relationships/image" Target="../media/image278.jpeg"/><Relationship Id="rId1" Type="http://schemas.openxmlformats.org/officeDocument/2006/relationships/slideLayout" Target="../slideLayouts/slideLayout5.xml"/><Relationship Id="rId6" Type="http://schemas.openxmlformats.org/officeDocument/2006/relationships/customXml" Target="../ink/ink187.xml"/><Relationship Id="rId5" Type="http://schemas.openxmlformats.org/officeDocument/2006/relationships/hyperlink" Target="http://www.flickr.com/photos/axis/20393969/" TargetMode="External"/><Relationship Id="rId4" Type="http://schemas.openxmlformats.org/officeDocument/2006/relationships/image" Target="../media/image279.jpg"/></Relationships>
</file>

<file path=ppt/slides/_rels/slide132.xml.rels><?xml version="1.0" encoding="UTF-8" standalone="yes"?>
<Relationships xmlns="http://schemas.openxmlformats.org/package/2006/relationships"><Relationship Id="rId3" Type="http://schemas.openxmlformats.org/officeDocument/2006/relationships/customXml" Target="../ink/ink188.xml"/><Relationship Id="rId2" Type="http://schemas.openxmlformats.org/officeDocument/2006/relationships/image" Target="../media/image281.png"/><Relationship Id="rId1" Type="http://schemas.openxmlformats.org/officeDocument/2006/relationships/slideLayout" Target="../slideLayouts/slideLayout5.xml"/><Relationship Id="rId4" Type="http://schemas.openxmlformats.org/officeDocument/2006/relationships/image" Target="../media/image282.png"/></Relationships>
</file>

<file path=ppt/slides/_rels/slide133.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75.jpeg"/><Relationship Id="rId1" Type="http://schemas.openxmlformats.org/officeDocument/2006/relationships/slideLayout" Target="../slideLayouts/slideLayout5.xml"/><Relationship Id="rId5" Type="http://schemas.openxmlformats.org/officeDocument/2006/relationships/image" Target="../media/image283.png"/><Relationship Id="rId4" Type="http://schemas.openxmlformats.org/officeDocument/2006/relationships/customXml" Target="../ink/ink189.xml"/></Relationships>
</file>

<file path=ppt/slides/_rels/slide134.xml.rels><?xml version="1.0" encoding="UTF-8" standalone="yes"?>
<Relationships xmlns="http://schemas.openxmlformats.org/package/2006/relationships"><Relationship Id="rId3" Type="http://schemas.openxmlformats.org/officeDocument/2006/relationships/hyperlink" Target="https://pxhere.com/en/photo/1600703" TargetMode="External"/><Relationship Id="rId2" Type="http://schemas.openxmlformats.org/officeDocument/2006/relationships/image" Target="../media/image275.jpeg"/><Relationship Id="rId1" Type="http://schemas.openxmlformats.org/officeDocument/2006/relationships/slideLayout" Target="../slideLayouts/slideLayout5.xml"/><Relationship Id="rId5" Type="http://schemas.openxmlformats.org/officeDocument/2006/relationships/image" Target="../media/image284.png"/><Relationship Id="rId4" Type="http://schemas.openxmlformats.org/officeDocument/2006/relationships/customXml" Target="../ink/ink190.xml"/></Relationships>
</file>

<file path=ppt/slides/_rels/slide135.xml.rels><?xml version="1.0" encoding="UTF-8" standalone="yes"?>
<Relationships xmlns="http://schemas.openxmlformats.org/package/2006/relationships"><Relationship Id="rId3" Type="http://schemas.openxmlformats.org/officeDocument/2006/relationships/customXml" Target="../ink/ink191.xml"/><Relationship Id="rId2" Type="http://schemas.openxmlformats.org/officeDocument/2006/relationships/image" Target="../media/image285.png"/><Relationship Id="rId1" Type="http://schemas.openxmlformats.org/officeDocument/2006/relationships/slideLayout" Target="../slideLayouts/slideLayout5.xml"/><Relationship Id="rId4" Type="http://schemas.openxmlformats.org/officeDocument/2006/relationships/image" Target="../media/image286.png"/></Relationships>
</file>

<file path=ppt/slides/_rels/slide136.xml.rels><?xml version="1.0" encoding="UTF-8" standalone="yes"?>
<Relationships xmlns="http://schemas.openxmlformats.org/package/2006/relationships"><Relationship Id="rId3" Type="http://schemas.openxmlformats.org/officeDocument/2006/relationships/customXml" Target="../ink/ink192.xml"/><Relationship Id="rId2" Type="http://schemas.openxmlformats.org/officeDocument/2006/relationships/image" Target="../media/image287.png"/><Relationship Id="rId1" Type="http://schemas.openxmlformats.org/officeDocument/2006/relationships/slideLayout" Target="../slideLayouts/slideLayout5.xml"/><Relationship Id="rId4" Type="http://schemas.openxmlformats.org/officeDocument/2006/relationships/image" Target="../media/image288.png"/></Relationships>
</file>

<file path=ppt/slides/_rels/slide137.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customXml" Target="../ink/ink193.xml"/><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image" Target="../media/image290.png"/><Relationship Id="rId1" Type="http://schemas.openxmlformats.org/officeDocument/2006/relationships/slideLayout" Target="../slideLayouts/slideLayout5.xml"/><Relationship Id="rId5" Type="http://schemas.openxmlformats.org/officeDocument/2006/relationships/image" Target="../media/image292.png"/><Relationship Id="rId4" Type="http://schemas.openxmlformats.org/officeDocument/2006/relationships/customXml" Target="../ink/ink194.xml"/></Relationships>
</file>

<file path=ppt/slides/_rels/slide139.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customXml" Target="../ink/ink195.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8" Type="http://schemas.openxmlformats.org/officeDocument/2006/relationships/customXml" Target="../ink/ink196.xml"/><Relationship Id="rId3" Type="http://schemas.openxmlformats.org/officeDocument/2006/relationships/hyperlink" Target="https://www.publicdomainpictures.net/view-image.php?image=209475&amp;picture=jaguar-car" TargetMode="External"/><Relationship Id="rId7" Type="http://schemas.openxmlformats.org/officeDocument/2006/relationships/hyperlink" Target="https://owl.excelsior.edu/educator-resources/owl-across-disciplines/owl-across-the-disciplines-grammar-and-usage/" TargetMode="External"/><Relationship Id="rId2" Type="http://schemas.openxmlformats.org/officeDocument/2006/relationships/image" Target="../media/image294.jpeg"/><Relationship Id="rId1" Type="http://schemas.openxmlformats.org/officeDocument/2006/relationships/slideLayout" Target="../slideLayouts/slideLayout5.xml"/><Relationship Id="rId6" Type="http://schemas.openxmlformats.org/officeDocument/2006/relationships/image" Target="../media/image296.jpeg"/><Relationship Id="rId5" Type="http://schemas.openxmlformats.org/officeDocument/2006/relationships/hyperlink" Target="https://www.publicdomainpictures.net/view-image.php?image=204352&amp;picture=red-honda-car" TargetMode="External"/><Relationship Id="rId4" Type="http://schemas.openxmlformats.org/officeDocument/2006/relationships/image" Target="../media/image295.jpeg"/><Relationship Id="rId9" Type="http://schemas.openxmlformats.org/officeDocument/2006/relationships/image" Target="../media/image297.png"/></Relationships>
</file>

<file path=ppt/slides/_rels/slide141.xml.rels><?xml version="1.0" encoding="UTF-8" standalone="yes"?>
<Relationships xmlns="http://schemas.openxmlformats.org/package/2006/relationships"><Relationship Id="rId3" Type="http://schemas.openxmlformats.org/officeDocument/2006/relationships/customXml" Target="../ink/ink197.xml"/><Relationship Id="rId2" Type="http://schemas.openxmlformats.org/officeDocument/2006/relationships/image" Target="../media/image298.png"/><Relationship Id="rId1" Type="http://schemas.openxmlformats.org/officeDocument/2006/relationships/slideLayout" Target="../slideLayouts/slideLayout5.xml"/><Relationship Id="rId4" Type="http://schemas.openxmlformats.org/officeDocument/2006/relationships/image" Target="../media/image299.png"/></Relationships>
</file>

<file path=ppt/slides/_rels/slide142.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customXml" Target="../ink/ink198.xml"/><Relationship Id="rId1" Type="http://schemas.openxmlformats.org/officeDocument/2006/relationships/slideLayout" Target="../slideLayouts/slideLayout5.xml"/></Relationships>
</file>

<file path=ppt/slides/_rels/slide143.xml.rels><?xml version="1.0" encoding="UTF-8" standalone="yes"?>
<Relationships xmlns="http://schemas.openxmlformats.org/package/2006/relationships"><Relationship Id="rId3" Type="http://schemas.openxmlformats.org/officeDocument/2006/relationships/customXml" Target="../ink/ink199.xml"/><Relationship Id="rId2" Type="http://schemas.openxmlformats.org/officeDocument/2006/relationships/image" Target="../media/image301.png"/><Relationship Id="rId1" Type="http://schemas.openxmlformats.org/officeDocument/2006/relationships/slideLayout" Target="../slideLayouts/slideLayout5.xml"/><Relationship Id="rId4" Type="http://schemas.openxmlformats.org/officeDocument/2006/relationships/image" Target="../media/image302.png"/></Relationships>
</file>

<file path=ppt/slides/_rels/slide144.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customXml" Target="../ink/ink200.xml"/><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3" Type="http://schemas.openxmlformats.org/officeDocument/2006/relationships/customXml" Target="../ink/ink201.xml"/><Relationship Id="rId2" Type="http://schemas.openxmlformats.org/officeDocument/2006/relationships/image" Target="../media/image304.png"/><Relationship Id="rId1" Type="http://schemas.openxmlformats.org/officeDocument/2006/relationships/slideLayout" Target="../slideLayouts/slideLayout5.xml"/><Relationship Id="rId4" Type="http://schemas.openxmlformats.org/officeDocument/2006/relationships/image" Target="../media/image305.png"/></Relationships>
</file>

<file path=ppt/slides/_rels/slide146.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customXml" Target="../ink/ink202.xml"/><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customXml" Target="../ink/ink203.xml"/><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image" Target="../media/image308.png"/><Relationship Id="rId1" Type="http://schemas.openxmlformats.org/officeDocument/2006/relationships/slideLayout" Target="../slideLayouts/slideLayout5.xml"/><Relationship Id="rId5" Type="http://schemas.openxmlformats.org/officeDocument/2006/relationships/image" Target="../media/image311.png"/><Relationship Id="rId4" Type="http://schemas.openxmlformats.org/officeDocument/2006/relationships/customXml" Target="../ink/ink204.xml"/></Relationships>
</file>

<file path=ppt/slides/_rels/slide149.xml.rels><?xml version="1.0" encoding="UTF-8" standalone="yes"?>
<Relationships xmlns="http://schemas.openxmlformats.org/package/2006/relationships"><Relationship Id="rId3" Type="http://schemas.openxmlformats.org/officeDocument/2006/relationships/customXml" Target="../ink/ink205.xml"/><Relationship Id="rId2" Type="http://schemas.openxmlformats.org/officeDocument/2006/relationships/image" Target="../media/image312.png"/><Relationship Id="rId1" Type="http://schemas.openxmlformats.org/officeDocument/2006/relationships/slideLayout" Target="../slideLayouts/slideLayout5.xml"/><Relationship Id="rId4" Type="http://schemas.openxmlformats.org/officeDocument/2006/relationships/image" Target="../media/image3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image" Target="../media/image314.png"/><Relationship Id="rId1" Type="http://schemas.openxmlformats.org/officeDocument/2006/relationships/slideLayout" Target="../slideLayouts/slideLayout5.xml"/><Relationship Id="rId6" Type="http://schemas.openxmlformats.org/officeDocument/2006/relationships/image" Target="../media/image316.png"/><Relationship Id="rId5" Type="http://schemas.openxmlformats.org/officeDocument/2006/relationships/customXml" Target="../ink/ink206.xml"/><Relationship Id="rId4" Type="http://schemas.openxmlformats.org/officeDocument/2006/relationships/image" Target="../media/image315.png"/></Relationships>
</file>

<file path=ppt/slides/_rels/slide1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image" Target="../media/image317.png"/><Relationship Id="rId1" Type="http://schemas.openxmlformats.org/officeDocument/2006/relationships/slideLayout" Target="../slideLayouts/slideLayout5.xml"/><Relationship Id="rId5" Type="http://schemas.openxmlformats.org/officeDocument/2006/relationships/image" Target="../media/image319.png"/><Relationship Id="rId4" Type="http://schemas.openxmlformats.org/officeDocument/2006/relationships/customXml" Target="../ink/ink207.xml"/></Relationships>
</file>

<file path=ppt/slides/_rels/slide152.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customXml" Target="../ink/ink208.xml"/><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customXml" Target="../ink/ink209.xml"/><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3" Type="http://schemas.openxmlformats.org/officeDocument/2006/relationships/hyperlink" Target="https://www.pexels.com/photo/orange-tabby-cat-laying-on-brown-sofa-33492/" TargetMode="External"/><Relationship Id="rId2" Type="http://schemas.openxmlformats.org/officeDocument/2006/relationships/image" Target="../media/image322.jpeg"/><Relationship Id="rId1" Type="http://schemas.openxmlformats.org/officeDocument/2006/relationships/slideLayout" Target="../slideLayouts/slideLayout5.xml"/><Relationship Id="rId6" Type="http://schemas.openxmlformats.org/officeDocument/2006/relationships/image" Target="../media/image324.png"/><Relationship Id="rId5" Type="http://schemas.openxmlformats.org/officeDocument/2006/relationships/customXml" Target="../ink/ink210.xml"/><Relationship Id="rId4" Type="http://schemas.openxmlformats.org/officeDocument/2006/relationships/image" Target="../media/image32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capitalcurrent.ca/opioid-overdoses-dwarf-covid-19/" TargetMode="External"/><Relationship Id="rId2" Type="http://schemas.openxmlformats.org/officeDocument/2006/relationships/image" Target="../media/image21.jpg"/><Relationship Id="rId1" Type="http://schemas.openxmlformats.org/officeDocument/2006/relationships/slideLayout" Target="../slideLayouts/slideLayout4.xml"/><Relationship Id="rId4" Type="http://schemas.openxmlformats.org/officeDocument/2006/relationships/hyperlink" Target="https://creativecommons.org/licenses/by-nc-nd/3.0/"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8.jpeg"/><Relationship Id="rId4" Type="http://schemas.openxmlformats.org/officeDocument/2006/relationships/image" Target="../media/image5.png"/><Relationship Id="rId9" Type="http://schemas.openxmlformats.org/officeDocument/2006/relationships/hyperlink" Target="http://dangerouslee.biz/insurance-agency-seo/"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hyperlink" Target="https://blog.scielo.org/en/2015/03/27/peer-review-modalities-pros-and-cons/" TargetMode="External"/><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hyperlink" Target="https://www.actuaries.digital/2018/10/31/what-makes-a-good-data-scientist-actuaries-podcast/"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7.jpg"/><Relationship Id="rId5" Type="http://schemas.openxmlformats.org/officeDocument/2006/relationships/notesSlide" Target="../notesSlides/notesSlide4.xml"/><Relationship Id="rId4" Type="http://schemas.openxmlformats.org/officeDocument/2006/relationships/slideLayout" Target="../slideLayouts/slideLayout9.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publicdomainpictures.net/view-image.php?image=176108&amp;picture=fast-sport-car" TargetMode="External"/><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flickr.com/photos/emptyjames/4768555013" TargetMode="External"/><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pexels.com/photo/disco-disco-ball-discotheque-glamour-party-2123340/" TargetMode="External"/><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www.publicdomainpictures.net/view-image.php?image=120577&amp;picture=forklift-truck-loading-up" TargetMode="External"/><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6" Type="http://schemas.openxmlformats.org/officeDocument/2006/relationships/image" Target="../media/image42.png"/><Relationship Id="rId21" Type="http://schemas.openxmlformats.org/officeDocument/2006/relationships/customXml" Target="../ink/ink10.xml"/><Relationship Id="rId42" Type="http://schemas.openxmlformats.org/officeDocument/2006/relationships/image" Target="../media/image50.png"/><Relationship Id="rId47" Type="http://schemas.openxmlformats.org/officeDocument/2006/relationships/customXml" Target="../ink/ink23.xml"/><Relationship Id="rId63" Type="http://schemas.openxmlformats.org/officeDocument/2006/relationships/customXml" Target="../ink/ink31.xml"/><Relationship Id="rId68" Type="http://schemas.openxmlformats.org/officeDocument/2006/relationships/image" Target="../media/image63.png"/><Relationship Id="rId2" Type="http://schemas.openxmlformats.org/officeDocument/2006/relationships/image" Target="../media/image33.png"/><Relationship Id="rId16" Type="http://schemas.openxmlformats.org/officeDocument/2006/relationships/image" Target="../media/image37.png"/><Relationship Id="rId29" Type="http://schemas.openxmlformats.org/officeDocument/2006/relationships/customXml" Target="../ink/ink14.xml"/><Relationship Id="rId11" Type="http://schemas.openxmlformats.org/officeDocument/2006/relationships/customXml" Target="../ink/ink5.xml"/><Relationship Id="rId24" Type="http://schemas.openxmlformats.org/officeDocument/2006/relationships/image" Target="../media/image41.png"/><Relationship Id="rId32" Type="http://schemas.openxmlformats.org/officeDocument/2006/relationships/image" Target="../media/image45.png"/><Relationship Id="rId37" Type="http://schemas.openxmlformats.org/officeDocument/2006/relationships/customXml" Target="../ink/ink18.xml"/><Relationship Id="rId40" Type="http://schemas.openxmlformats.org/officeDocument/2006/relationships/image" Target="../media/image49.png"/><Relationship Id="rId45" Type="http://schemas.openxmlformats.org/officeDocument/2006/relationships/customXml" Target="../ink/ink22.xml"/><Relationship Id="rId53" Type="http://schemas.openxmlformats.org/officeDocument/2006/relationships/customXml" Target="../ink/ink26.xml"/><Relationship Id="rId58" Type="http://schemas.openxmlformats.org/officeDocument/2006/relationships/image" Target="../media/image58.png"/><Relationship Id="rId66" Type="http://schemas.openxmlformats.org/officeDocument/2006/relationships/image" Target="../media/image62.png"/><Relationship Id="rId74" Type="http://schemas.openxmlformats.org/officeDocument/2006/relationships/image" Target="../media/image66.png"/><Relationship Id="rId5" Type="http://schemas.openxmlformats.org/officeDocument/2006/relationships/customXml" Target="../ink/ink2.xml"/><Relationship Id="rId61" Type="http://schemas.openxmlformats.org/officeDocument/2006/relationships/customXml" Target="../ink/ink30.xml"/><Relationship Id="rId19" Type="http://schemas.openxmlformats.org/officeDocument/2006/relationships/customXml" Target="../ink/ink9.xml"/><Relationship Id="rId14" Type="http://schemas.openxmlformats.org/officeDocument/2006/relationships/image" Target="../media/image36.png"/><Relationship Id="rId22" Type="http://schemas.openxmlformats.org/officeDocument/2006/relationships/image" Target="../media/image40.png"/><Relationship Id="rId27" Type="http://schemas.openxmlformats.org/officeDocument/2006/relationships/customXml" Target="../ink/ink13.xml"/><Relationship Id="rId30" Type="http://schemas.openxmlformats.org/officeDocument/2006/relationships/image" Target="../media/image44.png"/><Relationship Id="rId35" Type="http://schemas.openxmlformats.org/officeDocument/2006/relationships/customXml" Target="../ink/ink17.xml"/><Relationship Id="rId43" Type="http://schemas.openxmlformats.org/officeDocument/2006/relationships/customXml" Target="../ink/ink21.xml"/><Relationship Id="rId48" Type="http://schemas.openxmlformats.org/officeDocument/2006/relationships/image" Target="../media/image53.png"/><Relationship Id="rId56" Type="http://schemas.openxmlformats.org/officeDocument/2006/relationships/image" Target="../media/image57.png"/><Relationship Id="rId64" Type="http://schemas.openxmlformats.org/officeDocument/2006/relationships/image" Target="../media/image61.png"/><Relationship Id="rId69" Type="http://schemas.openxmlformats.org/officeDocument/2006/relationships/customXml" Target="../ink/ink34.xml"/><Relationship Id="rId8" Type="http://schemas.openxmlformats.org/officeDocument/2006/relationships/image" Target="../media/image330.png"/><Relationship Id="rId51" Type="http://schemas.openxmlformats.org/officeDocument/2006/relationships/customXml" Target="../ink/ink25.xml"/><Relationship Id="rId72" Type="http://schemas.openxmlformats.org/officeDocument/2006/relationships/image" Target="../media/image65.png"/><Relationship Id="rId3" Type="http://schemas.openxmlformats.org/officeDocument/2006/relationships/customXml" Target="../ink/ink1.xml"/><Relationship Id="rId12" Type="http://schemas.openxmlformats.org/officeDocument/2006/relationships/image" Target="../media/image35.png"/><Relationship Id="rId17" Type="http://schemas.openxmlformats.org/officeDocument/2006/relationships/customXml" Target="../ink/ink8.xml"/><Relationship Id="rId25" Type="http://schemas.openxmlformats.org/officeDocument/2006/relationships/customXml" Target="../ink/ink12.xml"/><Relationship Id="rId33" Type="http://schemas.openxmlformats.org/officeDocument/2006/relationships/customXml" Target="../ink/ink16.xml"/><Relationship Id="rId38" Type="http://schemas.openxmlformats.org/officeDocument/2006/relationships/image" Target="../media/image48.png"/><Relationship Id="rId46" Type="http://schemas.openxmlformats.org/officeDocument/2006/relationships/image" Target="../media/image52.png"/><Relationship Id="rId59" Type="http://schemas.openxmlformats.org/officeDocument/2006/relationships/customXml" Target="../ink/ink29.xml"/><Relationship Id="rId67" Type="http://schemas.openxmlformats.org/officeDocument/2006/relationships/customXml" Target="../ink/ink33.xml"/><Relationship Id="rId20" Type="http://schemas.openxmlformats.org/officeDocument/2006/relationships/image" Target="../media/image39.png"/><Relationship Id="rId41" Type="http://schemas.openxmlformats.org/officeDocument/2006/relationships/customXml" Target="../ink/ink20.xml"/><Relationship Id="rId54" Type="http://schemas.openxmlformats.org/officeDocument/2006/relationships/image" Target="../media/image56.png"/><Relationship Id="rId62" Type="http://schemas.openxmlformats.org/officeDocument/2006/relationships/image" Target="../media/image60.png"/><Relationship Id="rId70" Type="http://schemas.openxmlformats.org/officeDocument/2006/relationships/image" Target="../media/image64.png"/><Relationship Id="rId75" Type="http://schemas.openxmlformats.org/officeDocument/2006/relationships/customXml" Target="../ink/ink37.xml"/><Relationship Id="rId1" Type="http://schemas.openxmlformats.org/officeDocument/2006/relationships/slideLayout" Target="../slideLayouts/slideLayout3.xml"/><Relationship Id="rId6" Type="http://schemas.openxmlformats.org/officeDocument/2006/relationships/image" Target="../media/image32.png"/><Relationship Id="rId15" Type="http://schemas.openxmlformats.org/officeDocument/2006/relationships/customXml" Target="../ink/ink7.xml"/><Relationship Id="rId23" Type="http://schemas.openxmlformats.org/officeDocument/2006/relationships/customXml" Target="../ink/ink11.xml"/><Relationship Id="rId28" Type="http://schemas.openxmlformats.org/officeDocument/2006/relationships/image" Target="../media/image43.png"/><Relationship Id="rId36" Type="http://schemas.openxmlformats.org/officeDocument/2006/relationships/image" Target="../media/image47.png"/><Relationship Id="rId49" Type="http://schemas.openxmlformats.org/officeDocument/2006/relationships/customXml" Target="../ink/ink24.xml"/><Relationship Id="rId57" Type="http://schemas.openxmlformats.org/officeDocument/2006/relationships/customXml" Target="../ink/ink28.xml"/><Relationship Id="rId10" Type="http://schemas.openxmlformats.org/officeDocument/2006/relationships/image" Target="../media/image34.png"/><Relationship Id="rId31" Type="http://schemas.openxmlformats.org/officeDocument/2006/relationships/customXml" Target="../ink/ink15.xml"/><Relationship Id="rId44" Type="http://schemas.openxmlformats.org/officeDocument/2006/relationships/image" Target="../media/image51.png"/><Relationship Id="rId52" Type="http://schemas.openxmlformats.org/officeDocument/2006/relationships/image" Target="../media/image55.png"/><Relationship Id="rId60" Type="http://schemas.openxmlformats.org/officeDocument/2006/relationships/image" Target="../media/image59.png"/><Relationship Id="rId65" Type="http://schemas.openxmlformats.org/officeDocument/2006/relationships/customXml" Target="../ink/ink32.xml"/><Relationship Id="rId73" Type="http://schemas.openxmlformats.org/officeDocument/2006/relationships/customXml" Target="../ink/ink36.xml"/><Relationship Id="rId4" Type="http://schemas.openxmlformats.org/officeDocument/2006/relationships/image" Target="../media/image310.png"/><Relationship Id="rId9" Type="http://schemas.openxmlformats.org/officeDocument/2006/relationships/customXml" Target="../ink/ink4.xml"/><Relationship Id="rId13" Type="http://schemas.openxmlformats.org/officeDocument/2006/relationships/customXml" Target="../ink/ink6.xml"/><Relationship Id="rId18" Type="http://schemas.openxmlformats.org/officeDocument/2006/relationships/image" Target="../media/image38.png"/><Relationship Id="rId39" Type="http://schemas.openxmlformats.org/officeDocument/2006/relationships/customXml" Target="../ink/ink19.xml"/><Relationship Id="rId34" Type="http://schemas.openxmlformats.org/officeDocument/2006/relationships/image" Target="../media/image46.png"/><Relationship Id="rId50" Type="http://schemas.openxmlformats.org/officeDocument/2006/relationships/image" Target="../media/image54.png"/><Relationship Id="rId55" Type="http://schemas.openxmlformats.org/officeDocument/2006/relationships/customXml" Target="../ink/ink27.xml"/><Relationship Id="rId76" Type="http://schemas.openxmlformats.org/officeDocument/2006/relationships/image" Target="../media/image67.png"/><Relationship Id="rId7" Type="http://schemas.openxmlformats.org/officeDocument/2006/relationships/customXml" Target="../ink/ink3.xml"/><Relationship Id="rId71" Type="http://schemas.openxmlformats.org/officeDocument/2006/relationships/customXml" Target="../ink/ink35.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bettertechtips.com/bestbuy/dell-lightweight-laptop/" TargetMode="External"/><Relationship Id="rId2" Type="http://schemas.openxmlformats.org/officeDocument/2006/relationships/image" Target="../media/image69.jpeg"/><Relationship Id="rId1" Type="http://schemas.openxmlformats.org/officeDocument/2006/relationships/slideLayout" Target="../slideLayouts/slideLayout3.xml"/><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26" Type="http://schemas.openxmlformats.org/officeDocument/2006/relationships/customXml" Target="../ink/ink50.xml"/><Relationship Id="rId21" Type="http://schemas.openxmlformats.org/officeDocument/2006/relationships/image" Target="../media/image80.png"/><Relationship Id="rId42" Type="http://schemas.openxmlformats.org/officeDocument/2006/relationships/customXml" Target="../ink/ink58.xml"/><Relationship Id="rId47" Type="http://schemas.openxmlformats.org/officeDocument/2006/relationships/image" Target="../media/image93.png"/><Relationship Id="rId63" Type="http://schemas.openxmlformats.org/officeDocument/2006/relationships/image" Target="../media/image101.png"/><Relationship Id="rId68" Type="http://schemas.openxmlformats.org/officeDocument/2006/relationships/customXml" Target="../ink/ink71.xml"/><Relationship Id="rId84" Type="http://schemas.openxmlformats.org/officeDocument/2006/relationships/customXml" Target="../ink/ink80.xml"/><Relationship Id="rId89" Type="http://schemas.openxmlformats.org/officeDocument/2006/relationships/image" Target="../media/image113.png"/><Relationship Id="rId112" Type="http://schemas.openxmlformats.org/officeDocument/2006/relationships/image" Target="../media/image124.png"/><Relationship Id="rId16" Type="http://schemas.openxmlformats.org/officeDocument/2006/relationships/customXml" Target="../ink/ink45.xml"/><Relationship Id="rId107" Type="http://schemas.openxmlformats.org/officeDocument/2006/relationships/customXml" Target="../ink/ink92.xml"/><Relationship Id="rId11" Type="http://schemas.openxmlformats.org/officeDocument/2006/relationships/image" Target="../media/image75.png"/><Relationship Id="rId32" Type="http://schemas.openxmlformats.org/officeDocument/2006/relationships/customXml" Target="../ink/ink53.xml"/><Relationship Id="rId37" Type="http://schemas.openxmlformats.org/officeDocument/2006/relationships/image" Target="../media/image88.png"/><Relationship Id="rId53" Type="http://schemas.openxmlformats.org/officeDocument/2006/relationships/image" Target="../media/image96.png"/><Relationship Id="rId58" Type="http://schemas.openxmlformats.org/officeDocument/2006/relationships/customXml" Target="../ink/ink66.xml"/><Relationship Id="rId74" Type="http://schemas.openxmlformats.org/officeDocument/2006/relationships/customXml" Target="../ink/ink74.xml"/><Relationship Id="rId79" Type="http://schemas.openxmlformats.org/officeDocument/2006/relationships/customXml" Target="../ink/ink77.xml"/><Relationship Id="rId102" Type="http://schemas.openxmlformats.org/officeDocument/2006/relationships/customXml" Target="../ink/ink89.xml"/><Relationship Id="rId5" Type="http://schemas.openxmlformats.org/officeDocument/2006/relationships/image" Target="../media/image72.png"/><Relationship Id="rId90" Type="http://schemas.openxmlformats.org/officeDocument/2006/relationships/customXml" Target="../ink/ink83.xml"/><Relationship Id="rId95" Type="http://schemas.openxmlformats.org/officeDocument/2006/relationships/image" Target="../media/image116.png"/><Relationship Id="rId22" Type="http://schemas.openxmlformats.org/officeDocument/2006/relationships/customXml" Target="../ink/ink48.xml"/><Relationship Id="rId27" Type="http://schemas.openxmlformats.org/officeDocument/2006/relationships/image" Target="../media/image83.png"/><Relationship Id="rId43" Type="http://schemas.openxmlformats.org/officeDocument/2006/relationships/image" Target="../media/image91.png"/><Relationship Id="rId48" Type="http://schemas.openxmlformats.org/officeDocument/2006/relationships/customXml" Target="../ink/ink61.xml"/><Relationship Id="rId64" Type="http://schemas.openxmlformats.org/officeDocument/2006/relationships/customXml" Target="../ink/ink69.xml"/><Relationship Id="rId69" Type="http://schemas.openxmlformats.org/officeDocument/2006/relationships/image" Target="../media/image104.png"/><Relationship Id="rId80" Type="http://schemas.openxmlformats.org/officeDocument/2006/relationships/image" Target="../media/image109.png"/><Relationship Id="rId85" Type="http://schemas.openxmlformats.org/officeDocument/2006/relationships/image" Target="../media/image111.png"/><Relationship Id="rId12" Type="http://schemas.openxmlformats.org/officeDocument/2006/relationships/customXml" Target="../ink/ink43.xml"/><Relationship Id="rId17"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customXml" Target="../ink/ink56.xml"/><Relationship Id="rId59" Type="http://schemas.openxmlformats.org/officeDocument/2006/relationships/image" Target="../media/image99.png"/><Relationship Id="rId103" Type="http://schemas.openxmlformats.org/officeDocument/2006/relationships/customXml" Target="../ink/ink90.xml"/><Relationship Id="rId108" Type="http://schemas.openxmlformats.org/officeDocument/2006/relationships/image" Target="../media/image122.png"/><Relationship Id="rId54" Type="http://schemas.openxmlformats.org/officeDocument/2006/relationships/customXml" Target="../ink/ink64.xml"/><Relationship Id="rId70" Type="http://schemas.openxmlformats.org/officeDocument/2006/relationships/customXml" Target="../ink/ink72.xml"/><Relationship Id="rId75" Type="http://schemas.openxmlformats.org/officeDocument/2006/relationships/image" Target="../media/image107.png"/><Relationship Id="rId91" Type="http://schemas.openxmlformats.org/officeDocument/2006/relationships/image" Target="../media/image114.png"/><Relationship Id="rId96" Type="http://schemas.openxmlformats.org/officeDocument/2006/relationships/customXml" Target="../ink/ink86.xml"/><Relationship Id="rId1" Type="http://schemas.openxmlformats.org/officeDocument/2006/relationships/slideLayout" Target="../slideLayouts/slideLayout3.xml"/><Relationship Id="rId6" Type="http://schemas.openxmlformats.org/officeDocument/2006/relationships/customXml" Target="../ink/ink40.xml"/><Relationship Id="rId15" Type="http://schemas.openxmlformats.org/officeDocument/2006/relationships/image" Target="../media/image77.png"/><Relationship Id="rId23" Type="http://schemas.openxmlformats.org/officeDocument/2006/relationships/image" Target="../media/image81.png"/><Relationship Id="rId28" Type="http://schemas.openxmlformats.org/officeDocument/2006/relationships/customXml" Target="../ink/ink51.xml"/><Relationship Id="rId36" Type="http://schemas.openxmlformats.org/officeDocument/2006/relationships/customXml" Target="../ink/ink55.xml"/><Relationship Id="rId49" Type="http://schemas.openxmlformats.org/officeDocument/2006/relationships/image" Target="../media/image94.png"/><Relationship Id="rId57" Type="http://schemas.openxmlformats.org/officeDocument/2006/relationships/image" Target="../media/image98.png"/><Relationship Id="rId106" Type="http://schemas.openxmlformats.org/officeDocument/2006/relationships/image" Target="../media/image121.png"/><Relationship Id="rId10" Type="http://schemas.openxmlformats.org/officeDocument/2006/relationships/customXml" Target="../ink/ink42.xml"/><Relationship Id="rId31" Type="http://schemas.openxmlformats.org/officeDocument/2006/relationships/image" Target="../media/image85.png"/><Relationship Id="rId44" Type="http://schemas.openxmlformats.org/officeDocument/2006/relationships/customXml" Target="../ink/ink59.xml"/><Relationship Id="rId52" Type="http://schemas.openxmlformats.org/officeDocument/2006/relationships/customXml" Target="../ink/ink63.xml"/><Relationship Id="rId60" Type="http://schemas.openxmlformats.org/officeDocument/2006/relationships/customXml" Target="../ink/ink67.xml"/><Relationship Id="rId65" Type="http://schemas.openxmlformats.org/officeDocument/2006/relationships/image" Target="../media/image102.png"/><Relationship Id="rId73" Type="http://schemas.openxmlformats.org/officeDocument/2006/relationships/image" Target="../media/image106.png"/><Relationship Id="rId78" Type="http://schemas.openxmlformats.org/officeDocument/2006/relationships/customXml" Target="../ink/ink76.xml"/><Relationship Id="rId81" Type="http://schemas.openxmlformats.org/officeDocument/2006/relationships/customXml" Target="../ink/ink78.xml"/><Relationship Id="rId86" Type="http://schemas.openxmlformats.org/officeDocument/2006/relationships/customXml" Target="../ink/ink81.xml"/><Relationship Id="rId94" Type="http://schemas.openxmlformats.org/officeDocument/2006/relationships/customXml" Target="../ink/ink85.xml"/><Relationship Id="rId99" Type="http://schemas.openxmlformats.org/officeDocument/2006/relationships/image" Target="../media/image118.png"/><Relationship Id="rId101" Type="http://schemas.openxmlformats.org/officeDocument/2006/relationships/image" Target="../media/image119.png"/><Relationship Id="rId4" Type="http://schemas.openxmlformats.org/officeDocument/2006/relationships/customXml" Target="../ink/ink39.xml"/><Relationship Id="rId9" Type="http://schemas.openxmlformats.org/officeDocument/2006/relationships/image" Target="../media/image74.png"/><Relationship Id="rId13" Type="http://schemas.openxmlformats.org/officeDocument/2006/relationships/image" Target="../media/image76.png"/><Relationship Id="rId18" Type="http://schemas.openxmlformats.org/officeDocument/2006/relationships/customXml" Target="../ink/ink46.xml"/><Relationship Id="rId39" Type="http://schemas.openxmlformats.org/officeDocument/2006/relationships/image" Target="../media/image89.png"/><Relationship Id="rId109" Type="http://schemas.openxmlformats.org/officeDocument/2006/relationships/customXml" Target="../ink/ink93.xml"/><Relationship Id="rId34" Type="http://schemas.openxmlformats.org/officeDocument/2006/relationships/customXml" Target="../ink/ink54.xml"/><Relationship Id="rId50" Type="http://schemas.openxmlformats.org/officeDocument/2006/relationships/customXml" Target="../ink/ink62.xml"/><Relationship Id="rId55" Type="http://schemas.openxmlformats.org/officeDocument/2006/relationships/image" Target="../media/image97.png"/><Relationship Id="rId76" Type="http://schemas.openxmlformats.org/officeDocument/2006/relationships/customXml" Target="../ink/ink75.xml"/><Relationship Id="rId97" Type="http://schemas.openxmlformats.org/officeDocument/2006/relationships/image" Target="../media/image117.png"/><Relationship Id="rId104" Type="http://schemas.openxmlformats.org/officeDocument/2006/relationships/image" Target="../media/image120.png"/><Relationship Id="rId7" Type="http://schemas.openxmlformats.org/officeDocument/2006/relationships/image" Target="../media/image73.png"/><Relationship Id="rId71" Type="http://schemas.openxmlformats.org/officeDocument/2006/relationships/image" Target="../media/image105.png"/><Relationship Id="rId92" Type="http://schemas.openxmlformats.org/officeDocument/2006/relationships/customXml" Target="../ink/ink84.xml"/><Relationship Id="rId2" Type="http://schemas.openxmlformats.org/officeDocument/2006/relationships/customXml" Target="../ink/ink38.xml"/><Relationship Id="rId29" Type="http://schemas.openxmlformats.org/officeDocument/2006/relationships/image" Target="../media/image84.png"/><Relationship Id="rId24" Type="http://schemas.openxmlformats.org/officeDocument/2006/relationships/customXml" Target="../ink/ink49.xml"/><Relationship Id="rId40" Type="http://schemas.openxmlformats.org/officeDocument/2006/relationships/customXml" Target="../ink/ink57.xml"/><Relationship Id="rId45" Type="http://schemas.openxmlformats.org/officeDocument/2006/relationships/image" Target="../media/image92.png"/><Relationship Id="rId66" Type="http://schemas.openxmlformats.org/officeDocument/2006/relationships/customXml" Target="../ink/ink70.xml"/><Relationship Id="rId87" Type="http://schemas.openxmlformats.org/officeDocument/2006/relationships/image" Target="../media/image112.png"/><Relationship Id="rId110" Type="http://schemas.openxmlformats.org/officeDocument/2006/relationships/image" Target="../media/image123.png"/><Relationship Id="rId61" Type="http://schemas.openxmlformats.org/officeDocument/2006/relationships/image" Target="../media/image100.png"/><Relationship Id="rId82" Type="http://schemas.openxmlformats.org/officeDocument/2006/relationships/image" Target="../media/image110.png"/><Relationship Id="rId19" Type="http://schemas.openxmlformats.org/officeDocument/2006/relationships/image" Target="../media/image79.png"/><Relationship Id="rId14" Type="http://schemas.openxmlformats.org/officeDocument/2006/relationships/customXml" Target="../ink/ink44.xml"/><Relationship Id="rId30" Type="http://schemas.openxmlformats.org/officeDocument/2006/relationships/customXml" Target="../ink/ink52.xml"/><Relationship Id="rId35" Type="http://schemas.openxmlformats.org/officeDocument/2006/relationships/image" Target="../media/image87.png"/><Relationship Id="rId56" Type="http://schemas.openxmlformats.org/officeDocument/2006/relationships/customXml" Target="../ink/ink65.xml"/><Relationship Id="rId77" Type="http://schemas.openxmlformats.org/officeDocument/2006/relationships/image" Target="../media/image108.png"/><Relationship Id="rId100" Type="http://schemas.openxmlformats.org/officeDocument/2006/relationships/customXml" Target="../ink/ink88.xml"/><Relationship Id="rId105" Type="http://schemas.openxmlformats.org/officeDocument/2006/relationships/customXml" Target="../ink/ink91.xml"/><Relationship Id="rId8" Type="http://schemas.openxmlformats.org/officeDocument/2006/relationships/customXml" Target="../ink/ink41.xml"/><Relationship Id="rId51" Type="http://schemas.openxmlformats.org/officeDocument/2006/relationships/image" Target="../media/image95.png"/><Relationship Id="rId72" Type="http://schemas.openxmlformats.org/officeDocument/2006/relationships/customXml" Target="../ink/ink73.xml"/><Relationship Id="rId93" Type="http://schemas.openxmlformats.org/officeDocument/2006/relationships/image" Target="../media/image115.png"/><Relationship Id="rId98" Type="http://schemas.openxmlformats.org/officeDocument/2006/relationships/customXml" Target="../ink/ink87.xml"/><Relationship Id="rId3" Type="http://schemas.openxmlformats.org/officeDocument/2006/relationships/image" Target="../media/image71.png"/><Relationship Id="rId25" Type="http://schemas.openxmlformats.org/officeDocument/2006/relationships/image" Target="../media/image82.png"/><Relationship Id="rId46" Type="http://schemas.openxmlformats.org/officeDocument/2006/relationships/customXml" Target="../ink/ink60.xml"/><Relationship Id="rId67" Type="http://schemas.openxmlformats.org/officeDocument/2006/relationships/image" Target="../media/image103.png"/><Relationship Id="rId20" Type="http://schemas.openxmlformats.org/officeDocument/2006/relationships/customXml" Target="../ink/ink47.xml"/><Relationship Id="rId41" Type="http://schemas.openxmlformats.org/officeDocument/2006/relationships/image" Target="../media/image90.png"/><Relationship Id="rId62" Type="http://schemas.openxmlformats.org/officeDocument/2006/relationships/customXml" Target="../ink/ink68.xml"/><Relationship Id="rId83" Type="http://schemas.openxmlformats.org/officeDocument/2006/relationships/customXml" Target="../ink/ink79.xml"/><Relationship Id="rId88" Type="http://schemas.openxmlformats.org/officeDocument/2006/relationships/customXml" Target="../ink/ink82.xml"/><Relationship Id="rId111" Type="http://schemas.openxmlformats.org/officeDocument/2006/relationships/customXml" Target="../ink/ink94.xml"/></Relationships>
</file>

<file path=ppt/slides/_rels/slide5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www.mathsisfun.com/mean.html" TargetMode="Externa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png"/><Relationship Id="rId1" Type="http://schemas.openxmlformats.org/officeDocument/2006/relationships/slideLayout" Target="../slideLayouts/slideLayout3.xml"/><Relationship Id="rId4" Type="http://schemas.openxmlformats.org/officeDocument/2006/relationships/hyperlink" Target="http://intersection4learning.blogspot.com/2012/01/wonder-wednesday-most-important.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pexels.com/photo/black-dslr-camera-mounted-on-black-tripod-212372/" TargetMode="External"/><Relationship Id="rId2" Type="http://schemas.openxmlformats.org/officeDocument/2006/relationships/image" Target="../media/image132.jpe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hyperlink" Target="http://priyankas-point.blogspot.com/2009_06_14_archive.html" TargetMode="External"/><Relationship Id="rId2" Type="http://schemas.openxmlformats.org/officeDocument/2006/relationships/image" Target="../media/image133.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hyperlink" Target="http://intersection4learning.blogspot.com/2012/01/wonder-wednesday-most-important.html" TargetMode="External"/><Relationship Id="rId2" Type="http://schemas.openxmlformats.org/officeDocument/2006/relationships/image" Target="../media/image134.jpeg"/><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hyperlink" Target="https://www.actuaries.digital/2020/08/06/a-data-scientists-guide-to-data-architectur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www.scribbr.com/statistics/interquartile-range/" TargetMode="External"/><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 Id="rId5" Type="http://schemas.openxmlformats.org/officeDocument/2006/relationships/hyperlink" Target="https://www.scribbr.com/statistics/variance/" TargetMode="External"/><Relationship Id="rId4" Type="http://schemas.openxmlformats.org/officeDocument/2006/relationships/hyperlink" Target="https://www.scribbr.com/statistics/standard-deviation/"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www.scribbr.com/methodology/simple-random-sampling/" TargetMode="External"/><Relationship Id="rId2" Type="http://schemas.openxmlformats.org/officeDocument/2006/relationships/image" Target="../media/image138.png"/><Relationship Id="rId1" Type="http://schemas.openxmlformats.org/officeDocument/2006/relationships/slideLayout" Target="../slideLayouts/slideLayout9.xml"/><Relationship Id="rId4" Type="http://schemas.openxmlformats.org/officeDocument/2006/relationships/hyperlink" Target="https://www.scribbr.com/statistics/normal-distribution/" TargetMode="External"/></Relationships>
</file>

<file path=ppt/slides/_rels/slide69.xml.rels><?xml version="1.0" encoding="UTF-8" standalone="yes"?>
<Relationships xmlns="http://schemas.openxmlformats.org/package/2006/relationships"><Relationship Id="rId2" Type="http://schemas.openxmlformats.org/officeDocument/2006/relationships/hyperlink" Target="https://www.scribbr.com/statistics/range/" TargetMode="Externa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scribbr.com/statistics/outliers/" TargetMode="Externa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hyperlink" Target="https://pixabay.com/en/question-mark-question-response-1019983/" TargetMode="External"/><Relationship Id="rId2" Type="http://schemas.openxmlformats.org/officeDocument/2006/relationships/image" Target="../media/image139.jpg"/><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hyperlink" Target="https://www.scribbr.com/statistics/interquartile-range/" TargetMode="Externa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3" Type="http://schemas.openxmlformats.org/officeDocument/2006/relationships/hyperlink" Target="https://www.mathsisfun.com/numbers/absolute-value.html" TargetMode="External"/><Relationship Id="rId2" Type="http://schemas.openxmlformats.org/officeDocument/2006/relationships/hyperlink" Target="https://www.mathsisfun.com/algebra/sigma-notation.html" TargetMode="External"/><Relationship Id="rId1" Type="http://schemas.openxmlformats.org/officeDocument/2006/relationships/slideLayout" Target="../slideLayouts/slideLayout9.xml"/><Relationship Id="rId4" Type="http://schemas.openxmlformats.org/officeDocument/2006/relationships/image" Target="../media/image148.png"/></Relationships>
</file>

<file path=ppt/slides/_rels/slide8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www.mathsisfun.com/data/standard-deviation.html#WhySquare" TargetMode="External"/><Relationship Id="rId2" Type="http://schemas.openxmlformats.org/officeDocument/2006/relationships/hyperlink" Target="https://www.mathsisfun.com/mean.html" TargetMode="External"/><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3" Type="http://schemas.openxmlformats.org/officeDocument/2006/relationships/hyperlink" Target="https://www.mathsisfun.com/data/mean-deviation.html" TargetMode="External"/><Relationship Id="rId2" Type="http://schemas.openxmlformats.org/officeDocument/2006/relationships/hyperlink" Target="https://www.mathsisfun.com/numbers/absolute-value.html" TargetMode="External"/><Relationship Id="rId1" Type="http://schemas.openxmlformats.org/officeDocument/2006/relationships/slideLayout" Target="../slideLayouts/slideLayout9.xml"/><Relationship Id="rId5" Type="http://schemas.openxmlformats.org/officeDocument/2006/relationships/image" Target="../media/image160.png"/><Relationship Id="rId4" Type="http://schemas.openxmlformats.org/officeDocument/2006/relationships/image" Target="../media/image159.png"/></Relationships>
</file>

<file path=ppt/slides/_rels/slide9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08"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425927352"/>
      </p:ext>
    </p:extLst>
  </p:cSld>
  <p:clrMapOvr>
    <a:masterClrMapping/>
  </p:clrMapOvr>
  <p:transition spd="med">
    <p:wipe dir="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5513-4618-43CC-A58D-6EBBB5D6C779}"/>
              </a:ext>
            </a:extLst>
          </p:cNvPr>
          <p:cNvSpPr>
            <a:spLocks noGrp="1"/>
          </p:cNvSpPr>
          <p:nvPr>
            <p:ph type="title"/>
          </p:nvPr>
        </p:nvSpPr>
        <p:spPr>
          <a:xfrm>
            <a:off x="0" y="0"/>
            <a:ext cx="8229600" cy="637794"/>
          </a:xfrm>
        </p:spPr>
        <p:txBody>
          <a:bodyPr/>
          <a:lstStyle/>
          <a:p>
            <a:r>
              <a:rPr lang="en-US" dirty="0"/>
              <a:t>Coefficient of Variance (CV)</a:t>
            </a:r>
          </a:p>
        </p:txBody>
      </p:sp>
      <p:sp>
        <p:nvSpPr>
          <p:cNvPr id="3" name="TextBox 2">
            <a:extLst>
              <a:ext uri="{FF2B5EF4-FFF2-40B4-BE49-F238E27FC236}">
                <a16:creationId xmlns:a16="http://schemas.microsoft.com/office/drawing/2014/main" id="{513FCA3B-E05B-4E7A-A5F2-9F78E18C22D3}"/>
              </a:ext>
            </a:extLst>
          </p:cNvPr>
          <p:cNvSpPr txBox="1"/>
          <p:nvPr/>
        </p:nvSpPr>
        <p:spPr>
          <a:xfrm>
            <a:off x="76782" y="502571"/>
            <a:ext cx="8836873" cy="4139595"/>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Also known as relative standard deviation (RSD), the coefficient of variation (CV) is a standardized measure of dispersion. </a:t>
            </a:r>
          </a:p>
          <a:p>
            <a:pPr marL="171450" indent="-171450">
              <a:spcBef>
                <a:spcPts val="0"/>
              </a:spcBef>
              <a:spcAft>
                <a:spcPts val="0"/>
              </a:spcAft>
              <a:buClr>
                <a:schemeClr val="bg1"/>
              </a:buClr>
              <a:buFont typeface="Arial" panose="020B0604020202020204" pitchFamily="34" charset="0"/>
              <a:buChar char="•"/>
            </a:pPr>
            <a:r>
              <a:rPr lang="en-US" sz="1800" dirty="0">
                <a:solidFill>
                  <a:schemeClr val="bg2">
                    <a:lumMod val="50000"/>
                    <a:lumOff val="50000"/>
                  </a:schemeClr>
                </a:solidFill>
                <a:latin typeface="Verdana" panose="020B0604030504040204" pitchFamily="34" charset="0"/>
              </a:rPr>
              <a:t>It tells you how variable your data is relative to the mean. It can only be used with ratio levels of measurement because it is a fraction. The coefficient of variation (CV) is the standard deviation divided by the mean.</a:t>
            </a: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marL="171450" indent="-171450">
              <a:spcBef>
                <a:spcPts val="0"/>
              </a:spcBef>
              <a:spcAft>
                <a:spcPts val="0"/>
              </a:spcAft>
              <a:buClr>
                <a:schemeClr val="bg1"/>
              </a:buClr>
              <a:buFont typeface="Arial" panose="020B0604020202020204" pitchFamily="34" charset="0"/>
              <a:buChar char="•"/>
            </a:pPr>
            <a:endParaRPr lang="en-US" sz="1800" dirty="0">
              <a:solidFill>
                <a:schemeClr val="bg2">
                  <a:lumMod val="50000"/>
                  <a:lumOff val="50000"/>
                </a:schemeClr>
              </a:solidFill>
              <a:latin typeface="Verdana" panose="020B0604030504040204" pitchFamily="34" charset="0"/>
            </a:endParaRPr>
          </a:p>
          <a:p>
            <a:pPr algn="ctr"/>
            <a:r>
              <a:rPr lang="en-US" sz="1800" dirty="0">
                <a:solidFill>
                  <a:schemeClr val="accent1"/>
                </a:solidFill>
                <a:latin typeface="Verdana" panose="020B0604030504040204" pitchFamily="34" charset="0"/>
              </a:rPr>
              <a:t>CV = SD/Mean</a:t>
            </a:r>
          </a:p>
          <a:p>
            <a:pPr algn="ctr"/>
            <a:endParaRPr lang="en-US" sz="1800" dirty="0">
              <a:solidFill>
                <a:schemeClr val="accent1"/>
              </a:solidFill>
              <a:latin typeface="Verdana" panose="020B0604030504040204" pitchFamily="34" charset="0"/>
            </a:endParaRPr>
          </a:p>
          <a:p>
            <a:pPr algn="ctr"/>
            <a:r>
              <a:rPr lang="en-US" sz="1800" dirty="0">
                <a:solidFill>
                  <a:schemeClr val="accent1"/>
                </a:solidFill>
                <a:latin typeface="Verdana" panose="020B0604030504040204" pitchFamily="34" charset="0"/>
              </a:rPr>
              <a:t>CV = 36.9/13.34 = 0.36</a:t>
            </a:r>
          </a:p>
          <a:p>
            <a:pPr algn="ctr"/>
            <a:endParaRPr lang="en-US" sz="1800" dirty="0">
              <a:solidFill>
                <a:schemeClr val="bg2">
                  <a:lumMod val="50000"/>
                  <a:lumOff val="50000"/>
                </a:schemeClr>
              </a:solidFill>
              <a:latin typeface="Verdana" panose="020B0604030504040204" pitchFamily="34" charset="0"/>
            </a:endParaRPr>
          </a:p>
          <a:p>
            <a:pPr algn="l"/>
            <a:r>
              <a:rPr lang="en-US" sz="1800" dirty="0">
                <a:solidFill>
                  <a:schemeClr val="bg2">
                    <a:lumMod val="50000"/>
                    <a:lumOff val="50000"/>
                  </a:schemeClr>
                </a:solidFill>
                <a:latin typeface="Verdana" panose="020B0604030504040204" pitchFamily="34" charset="0"/>
              </a:rPr>
              <a:t>The coefficient of variation is 0.36 or 36%. This tells you that your data has a large spread because the standard deviation is 36% of the mean</a:t>
            </a:r>
          </a:p>
          <a:p>
            <a:pPr marL="171450" indent="-171450">
              <a:spcBef>
                <a:spcPts val="0"/>
              </a:spcBef>
              <a:spcAft>
                <a:spcPts val="0"/>
              </a:spcAft>
              <a:buClr>
                <a:schemeClr val="bg1"/>
              </a:buClr>
              <a:buFont typeface="Arial" panose="020B0604020202020204" pitchFamily="34" charset="0"/>
              <a:buChar char="•"/>
            </a:pPr>
            <a:endParaRPr lang="en-US" sz="1100" dirty="0">
              <a:solidFill>
                <a:schemeClr val="bg2">
                  <a:lumMod val="50000"/>
                  <a:lumOff val="50000"/>
                </a:schemeClr>
              </a:solidFill>
              <a:latin typeface="Verdana" panose="020B0604030504040204" pitchFamily="34" charset="0"/>
            </a:endParaRPr>
          </a:p>
        </p:txBody>
      </p:sp>
    </p:spTree>
    <p:extLst>
      <p:ext uri="{BB962C8B-B14F-4D97-AF65-F5344CB8AC3E}">
        <p14:creationId xmlns:p14="http://schemas.microsoft.com/office/powerpoint/2010/main" val="3643765442"/>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FE915-C6F8-4B84-BF0E-CC4886DA14AD}"/>
              </a:ext>
            </a:extLst>
          </p:cNvPr>
          <p:cNvSpPr>
            <a:spLocks noGrp="1"/>
          </p:cNvSpPr>
          <p:nvPr>
            <p:ph type="title"/>
          </p:nvPr>
        </p:nvSpPr>
        <p:spPr>
          <a:xfrm>
            <a:off x="0" y="0"/>
            <a:ext cx="9144000" cy="637794"/>
          </a:xfrm>
        </p:spPr>
        <p:txBody>
          <a:bodyPr/>
          <a:lstStyle/>
          <a:p>
            <a:r>
              <a:rPr lang="en-US" dirty="0"/>
              <a:t>Example : </a:t>
            </a:r>
            <a:br>
              <a:rPr lang="en-US" dirty="0"/>
            </a:br>
            <a:br>
              <a:rPr lang="en-US" dirty="0"/>
            </a:br>
            <a:r>
              <a:rPr lang="en-US" sz="1200" b="0" i="0" dirty="0">
                <a:solidFill>
                  <a:srgbClr val="777777"/>
                </a:solidFill>
                <a:effectLst/>
                <a:latin typeface="pt sans" panose="020B0503020203020204" pitchFamily="34" charset="0"/>
              </a:rPr>
              <a:t>The CV is particularly useful when you want to compare results from two different surveys or tests that have different measures or values. For example, if you are comparing the results from two tests that have different scoring </a:t>
            </a:r>
            <a:r>
              <a:rPr lang="en-US" sz="1200" dirty="0">
                <a:solidFill>
                  <a:srgbClr val="777777"/>
                </a:solidFill>
                <a:latin typeface="pt sans" panose="020B0503020203020204" pitchFamily="34" charset="0"/>
              </a:rPr>
              <a:t>mechanisms. </a:t>
            </a:r>
          </a:p>
        </p:txBody>
      </p:sp>
      <p:graphicFrame>
        <p:nvGraphicFramePr>
          <p:cNvPr id="4" name="Table 4">
            <a:extLst>
              <a:ext uri="{FF2B5EF4-FFF2-40B4-BE49-F238E27FC236}">
                <a16:creationId xmlns:a16="http://schemas.microsoft.com/office/drawing/2014/main" id="{82BE1733-3C10-42E3-A691-1E95C43C85BB}"/>
              </a:ext>
            </a:extLst>
          </p:cNvPr>
          <p:cNvGraphicFramePr>
            <a:graphicFrameLocks noGrp="1"/>
          </p:cNvGraphicFramePr>
          <p:nvPr>
            <p:extLst>
              <p:ext uri="{D42A27DB-BD31-4B8C-83A1-F6EECF244321}">
                <p14:modId xmlns:p14="http://schemas.microsoft.com/office/powerpoint/2010/main" val="2877825890"/>
              </p:ext>
            </p:extLst>
          </p:nvPr>
        </p:nvGraphicFramePr>
        <p:xfrm>
          <a:off x="2900788" y="1544260"/>
          <a:ext cx="6096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954299871"/>
                    </a:ext>
                  </a:extLst>
                </a:gridCol>
                <a:gridCol w="2032000">
                  <a:extLst>
                    <a:ext uri="{9D8B030D-6E8A-4147-A177-3AD203B41FA5}">
                      <a16:colId xmlns:a16="http://schemas.microsoft.com/office/drawing/2014/main" val="1596437874"/>
                    </a:ext>
                  </a:extLst>
                </a:gridCol>
                <a:gridCol w="2032000">
                  <a:extLst>
                    <a:ext uri="{9D8B030D-6E8A-4147-A177-3AD203B41FA5}">
                      <a16:colId xmlns:a16="http://schemas.microsoft.com/office/drawing/2014/main" val="4240368581"/>
                    </a:ext>
                  </a:extLst>
                </a:gridCol>
              </a:tblGrid>
              <a:tr h="370840">
                <a:tc>
                  <a:txBody>
                    <a:bodyPr/>
                    <a:lstStyle/>
                    <a:p>
                      <a:endParaRPr lang="en-US">
                        <a:solidFill>
                          <a:schemeClr val="tx2"/>
                        </a:solidFill>
                      </a:endParaRPr>
                    </a:p>
                  </a:txBody>
                  <a:tcPr/>
                </a:tc>
                <a:tc>
                  <a:txBody>
                    <a:bodyPr/>
                    <a:lstStyle/>
                    <a:p>
                      <a:r>
                        <a:rPr lang="en-US" dirty="0">
                          <a:solidFill>
                            <a:schemeClr val="tx2"/>
                          </a:solidFill>
                        </a:rPr>
                        <a:t>SGD </a:t>
                      </a:r>
                    </a:p>
                  </a:txBody>
                  <a:tcPr/>
                </a:tc>
                <a:tc>
                  <a:txBody>
                    <a:bodyPr/>
                    <a:lstStyle/>
                    <a:p>
                      <a:r>
                        <a:rPr lang="en-US" dirty="0">
                          <a:solidFill>
                            <a:schemeClr val="tx2"/>
                          </a:solidFill>
                        </a:rPr>
                        <a:t>MY Ringgit</a:t>
                      </a:r>
                    </a:p>
                  </a:txBody>
                  <a:tcPr/>
                </a:tc>
                <a:extLst>
                  <a:ext uri="{0D108BD9-81ED-4DB2-BD59-A6C34878D82A}">
                    <a16:rowId xmlns:a16="http://schemas.microsoft.com/office/drawing/2014/main" val="1887661748"/>
                  </a:ext>
                </a:extLst>
              </a:tr>
              <a:tr h="370840">
                <a:tc>
                  <a:txBody>
                    <a:bodyPr/>
                    <a:lstStyle/>
                    <a:p>
                      <a:r>
                        <a:rPr lang="en-US" dirty="0"/>
                        <a:t>Mean</a:t>
                      </a:r>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1239270"/>
                  </a:ext>
                </a:extLst>
              </a:tr>
              <a:tr h="370840">
                <a:tc>
                  <a:txBody>
                    <a:bodyPr/>
                    <a:lstStyle/>
                    <a:p>
                      <a:r>
                        <a:rPr lang="en-US" dirty="0"/>
                        <a:t>Sample Varianc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02728200"/>
                  </a:ext>
                </a:extLst>
              </a:tr>
              <a:tr h="370840">
                <a:tc>
                  <a:txBody>
                    <a:bodyPr/>
                    <a:lstStyle/>
                    <a:p>
                      <a:r>
                        <a:rPr lang="en-US" dirty="0"/>
                        <a:t>Sample SD</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41960276"/>
                  </a:ext>
                </a:extLst>
              </a:tr>
              <a:tr h="370840">
                <a:tc>
                  <a:txBody>
                    <a:bodyPr/>
                    <a:lstStyle/>
                    <a:p>
                      <a:r>
                        <a:rPr lang="en-US" dirty="0"/>
                        <a:t>Sample CV</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939018461"/>
                  </a:ext>
                </a:extLst>
              </a:tr>
            </a:tbl>
          </a:graphicData>
        </a:graphic>
      </p:graphicFrame>
      <p:pic>
        <p:nvPicPr>
          <p:cNvPr id="6" name="Picture 5">
            <a:extLst>
              <a:ext uri="{FF2B5EF4-FFF2-40B4-BE49-F238E27FC236}">
                <a16:creationId xmlns:a16="http://schemas.microsoft.com/office/drawing/2014/main" id="{A319A54D-F911-4807-9AAD-7170EAF02AE0}"/>
              </a:ext>
            </a:extLst>
          </p:cNvPr>
          <p:cNvPicPr>
            <a:picLocks noChangeAspect="1"/>
          </p:cNvPicPr>
          <p:nvPr/>
        </p:nvPicPr>
        <p:blipFill>
          <a:blip r:embed="rId2"/>
          <a:stretch>
            <a:fillRect/>
          </a:stretch>
        </p:blipFill>
        <p:spPr>
          <a:xfrm>
            <a:off x="147212" y="1544260"/>
            <a:ext cx="2198119" cy="2433090"/>
          </a:xfrm>
          <a:prstGeom prst="rect">
            <a:avLst/>
          </a:prstGeom>
        </p:spPr>
      </p:pic>
      <p:pic>
        <p:nvPicPr>
          <p:cNvPr id="8" name="Picture 7">
            <a:extLst>
              <a:ext uri="{FF2B5EF4-FFF2-40B4-BE49-F238E27FC236}">
                <a16:creationId xmlns:a16="http://schemas.microsoft.com/office/drawing/2014/main" id="{F2244643-DE6F-479F-98B8-7DC4A272C509}"/>
              </a:ext>
            </a:extLst>
          </p:cNvPr>
          <p:cNvPicPr>
            <a:picLocks noChangeAspect="1"/>
          </p:cNvPicPr>
          <p:nvPr/>
        </p:nvPicPr>
        <p:blipFill>
          <a:blip r:embed="rId3"/>
          <a:stretch>
            <a:fillRect/>
          </a:stretch>
        </p:blipFill>
        <p:spPr>
          <a:xfrm>
            <a:off x="2848339" y="3656263"/>
            <a:ext cx="2400300" cy="1162050"/>
          </a:xfrm>
          <a:prstGeom prst="rect">
            <a:avLst/>
          </a:prstGeom>
        </p:spPr>
      </p:pic>
      <p:pic>
        <p:nvPicPr>
          <p:cNvPr id="10" name="Picture 9">
            <a:extLst>
              <a:ext uri="{FF2B5EF4-FFF2-40B4-BE49-F238E27FC236}">
                <a16:creationId xmlns:a16="http://schemas.microsoft.com/office/drawing/2014/main" id="{68ED49FD-3088-4EE4-BA72-E57EC13DB468}"/>
              </a:ext>
            </a:extLst>
          </p:cNvPr>
          <p:cNvPicPr>
            <a:picLocks noChangeAspect="1"/>
          </p:cNvPicPr>
          <p:nvPr/>
        </p:nvPicPr>
        <p:blipFill>
          <a:blip r:embed="rId4"/>
          <a:stretch>
            <a:fillRect/>
          </a:stretch>
        </p:blipFill>
        <p:spPr>
          <a:xfrm>
            <a:off x="5705475" y="3920327"/>
            <a:ext cx="2524125" cy="466725"/>
          </a:xfrm>
          <a:prstGeom prst="rect">
            <a:avLst/>
          </a:prstGeom>
        </p:spPr>
      </p:pic>
    </p:spTree>
    <p:extLst>
      <p:ext uri="{BB962C8B-B14F-4D97-AF65-F5344CB8AC3E}">
        <p14:creationId xmlns:p14="http://schemas.microsoft.com/office/powerpoint/2010/main" val="2749778074"/>
      </p:ext>
    </p:extLst>
  </p:cSld>
  <p:clrMapOvr>
    <a:masterClrMapping/>
  </p:clrMapOvr>
  <p:transition spd="med">
    <p:wipe dir="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5BBCD-0354-47E7-94C3-A29794FCA18F}"/>
              </a:ext>
            </a:extLst>
          </p:cNvPr>
          <p:cNvSpPr>
            <a:spLocks noGrp="1"/>
          </p:cNvSpPr>
          <p:nvPr>
            <p:ph type="title"/>
          </p:nvPr>
        </p:nvSpPr>
        <p:spPr>
          <a:xfrm>
            <a:off x="0" y="0"/>
            <a:ext cx="8229600" cy="637794"/>
          </a:xfrm>
        </p:spPr>
        <p:txBody>
          <a:bodyPr/>
          <a:lstStyle/>
          <a:p>
            <a:r>
              <a:rPr lang="en-US" dirty="0"/>
              <a:t>Standard deviation - Example</a:t>
            </a:r>
          </a:p>
        </p:txBody>
      </p:sp>
      <p:sp>
        <p:nvSpPr>
          <p:cNvPr id="3" name="TextBox 2">
            <a:extLst>
              <a:ext uri="{FF2B5EF4-FFF2-40B4-BE49-F238E27FC236}">
                <a16:creationId xmlns:a16="http://schemas.microsoft.com/office/drawing/2014/main" id="{6AFC26AC-E651-4FD1-B690-D878A0FD673F}"/>
              </a:ext>
            </a:extLst>
          </p:cNvPr>
          <p:cNvSpPr txBox="1"/>
          <p:nvPr/>
        </p:nvSpPr>
        <p:spPr>
          <a:xfrm>
            <a:off x="76781" y="637793"/>
            <a:ext cx="7817772" cy="584775"/>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lumMod val="50000"/>
                    <a:lumOff val="50000"/>
                  </a:schemeClr>
                </a:solidFill>
                <a:latin typeface="+mn-lt"/>
              </a:rPr>
              <a:t>Question : </a:t>
            </a:r>
            <a:r>
              <a:rPr lang="en-US" sz="1600" dirty="0">
                <a:solidFill>
                  <a:schemeClr val="bg2">
                    <a:lumMod val="50000"/>
                    <a:lumOff val="50000"/>
                  </a:schemeClr>
                </a:solidFill>
                <a:latin typeface="+mn-lt"/>
              </a:rPr>
              <a:t>95% of student at school are between 1.1m and 1.7m tall. Assuming this data is normally distributed can you calculate the mean and Standard deviation ? </a:t>
            </a:r>
          </a:p>
        </p:txBody>
      </p:sp>
    </p:spTree>
    <p:extLst>
      <p:ext uri="{BB962C8B-B14F-4D97-AF65-F5344CB8AC3E}">
        <p14:creationId xmlns:p14="http://schemas.microsoft.com/office/powerpoint/2010/main" val="3141678141"/>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D35B5-573E-45F2-AA11-938D7EC027C1}"/>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D9CF5642-1192-46E0-B3A4-1166F1C7D7CE}"/>
              </a:ext>
            </a:extLst>
          </p:cNvPr>
          <p:cNvSpPr txBox="1"/>
          <p:nvPr/>
        </p:nvSpPr>
        <p:spPr>
          <a:xfrm>
            <a:off x="328067" y="935340"/>
            <a:ext cx="7412922" cy="2246769"/>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The number of Standard Deviations from the mean is also called the “standard Score”. “ Sigma” or “z-score”.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Ex : In </a:t>
            </a:r>
            <a:r>
              <a:rPr lang="en-US" sz="1400" dirty="0" err="1">
                <a:solidFill>
                  <a:schemeClr val="bg2"/>
                </a:solidFill>
                <a:latin typeface="+mn-lt"/>
              </a:rPr>
              <a:t>tha</a:t>
            </a:r>
            <a:r>
              <a:rPr lang="en-US" sz="1400" dirty="0">
                <a:solidFill>
                  <a:schemeClr val="bg2"/>
                </a:solidFill>
                <a:latin typeface="+mn-lt"/>
              </a:rPr>
              <a:t> same school one of your friend is 1.8m tall</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 can see on the bell </a:t>
            </a:r>
            <a:r>
              <a:rPr lang="en-US" sz="1400" dirty="0" err="1">
                <a:solidFill>
                  <a:schemeClr val="bg2"/>
                </a:solidFill>
                <a:latin typeface="+mn-lt"/>
              </a:rPr>
              <a:t>cuve</a:t>
            </a:r>
            <a:r>
              <a:rPr lang="en-US" sz="1400" dirty="0">
                <a:solidFill>
                  <a:schemeClr val="bg2"/>
                </a:solidFill>
                <a:latin typeface="+mn-lt"/>
              </a:rPr>
              <a:t> that 1.85m is 3 standard deviations from the mean of 1.4, so</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Your friend’s height has “z-score” of 3.0</a:t>
            </a:r>
          </a:p>
          <a:p>
            <a:pPr>
              <a:spcBef>
                <a:spcPts val="0"/>
              </a:spcBef>
              <a:spcAft>
                <a:spcPts val="0"/>
              </a:spcAft>
              <a:buClr>
                <a:schemeClr val="bg1"/>
              </a:buClr>
            </a:pPr>
            <a:endParaRPr lang="en-US" sz="1400" dirty="0">
              <a:solidFill>
                <a:schemeClr val="bg2"/>
              </a:solidFill>
              <a:latin typeface="+mn-lt"/>
            </a:endParaRPr>
          </a:p>
        </p:txBody>
      </p:sp>
      <p:pic>
        <p:nvPicPr>
          <p:cNvPr id="7" name="Picture 6">
            <a:extLst>
              <a:ext uri="{FF2B5EF4-FFF2-40B4-BE49-F238E27FC236}">
                <a16:creationId xmlns:a16="http://schemas.microsoft.com/office/drawing/2014/main" id="{FFC91F7C-8051-454D-8388-96BF6F8C1ED9}"/>
              </a:ext>
            </a:extLst>
          </p:cNvPr>
          <p:cNvPicPr>
            <a:picLocks noChangeAspect="1"/>
          </p:cNvPicPr>
          <p:nvPr/>
        </p:nvPicPr>
        <p:blipFill>
          <a:blip r:embed="rId2"/>
          <a:stretch>
            <a:fillRect/>
          </a:stretch>
        </p:blipFill>
        <p:spPr>
          <a:xfrm>
            <a:off x="4955257" y="2664340"/>
            <a:ext cx="3714750" cy="2095500"/>
          </a:xfrm>
          <a:prstGeom prst="rect">
            <a:avLst/>
          </a:prstGeom>
        </p:spPr>
      </p:pic>
    </p:spTree>
    <p:extLst>
      <p:ext uri="{BB962C8B-B14F-4D97-AF65-F5344CB8AC3E}">
        <p14:creationId xmlns:p14="http://schemas.microsoft.com/office/powerpoint/2010/main" val="4159058822"/>
      </p:ext>
    </p:extLst>
  </p:cSld>
  <p:clrMapOvr>
    <a:masterClrMapping/>
  </p:clrMapOvr>
  <p:transition spd="med">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C354-71C7-4691-9AF7-C0B53DAD6904}"/>
              </a:ext>
            </a:extLst>
          </p:cNvPr>
          <p:cNvSpPr>
            <a:spLocks noGrp="1"/>
          </p:cNvSpPr>
          <p:nvPr>
            <p:ph type="title"/>
          </p:nvPr>
        </p:nvSpPr>
        <p:spPr>
          <a:xfrm>
            <a:off x="0" y="0"/>
            <a:ext cx="8229600" cy="637794"/>
          </a:xfrm>
        </p:spPr>
        <p:txBody>
          <a:bodyPr/>
          <a:lstStyle/>
          <a:p>
            <a:r>
              <a:rPr lang="en-US" dirty="0"/>
              <a:t>Standard Scores – Z score</a:t>
            </a:r>
          </a:p>
        </p:txBody>
      </p:sp>
      <p:sp>
        <p:nvSpPr>
          <p:cNvPr id="3" name="TextBox 2">
            <a:extLst>
              <a:ext uri="{FF2B5EF4-FFF2-40B4-BE49-F238E27FC236}">
                <a16:creationId xmlns:a16="http://schemas.microsoft.com/office/drawing/2014/main" id="{02017ADE-8590-473B-AC66-8F77B39B00FF}"/>
              </a:ext>
            </a:extLst>
          </p:cNvPr>
          <p:cNvSpPr txBox="1"/>
          <p:nvPr/>
        </p:nvSpPr>
        <p:spPr>
          <a:xfrm>
            <a:off x="209405" y="893460"/>
            <a:ext cx="5137392" cy="1384995"/>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It is also possible to calculate how many standard deviations 1.85 is from the mean</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far is 1.85 from the mean ? </a:t>
            </a:r>
          </a:p>
          <a:p>
            <a:pPr marL="742950" lvl="1" indent="-285750">
              <a:spcBef>
                <a:spcPts val="0"/>
              </a:spcBef>
              <a:spcAft>
                <a:spcPts val="0"/>
              </a:spcAft>
              <a:buClr>
                <a:schemeClr val="bg1"/>
              </a:buClr>
              <a:buFont typeface="Arial" panose="020B0604020202020204" pitchFamily="34" charset="0"/>
              <a:buChar char="•"/>
            </a:pPr>
            <a:r>
              <a:rPr lang="en-US" sz="1400" dirty="0">
                <a:solidFill>
                  <a:schemeClr val="bg2"/>
                </a:solidFill>
                <a:latin typeface="+mn-lt"/>
              </a:rPr>
              <a:t>It is 1.85 – 1.4 = 0.45m from the mean</a:t>
            </a:r>
          </a:p>
          <a:p>
            <a:pPr lvl="1">
              <a:spcBef>
                <a:spcPts val="0"/>
              </a:spcBef>
              <a:spcAft>
                <a:spcPts val="0"/>
              </a:spcAft>
              <a:buClr>
                <a:schemeClr val="bg1"/>
              </a:buClr>
            </a:pPr>
            <a:endParaRPr lang="en-US" sz="1400" dirty="0">
              <a:solidFill>
                <a:schemeClr val="bg2"/>
              </a:solidFill>
              <a:latin typeface="+mn-lt"/>
            </a:endParaRPr>
          </a:p>
        </p:txBody>
      </p:sp>
      <p:sp>
        <p:nvSpPr>
          <p:cNvPr id="4" name="TextBox 3">
            <a:extLst>
              <a:ext uri="{FF2B5EF4-FFF2-40B4-BE49-F238E27FC236}">
                <a16:creationId xmlns:a16="http://schemas.microsoft.com/office/drawing/2014/main" id="{1C340921-A93E-418E-8C7D-652A415018A5}"/>
              </a:ext>
            </a:extLst>
          </p:cNvPr>
          <p:cNvSpPr txBox="1"/>
          <p:nvPr/>
        </p:nvSpPr>
        <p:spPr>
          <a:xfrm>
            <a:off x="209405" y="2429093"/>
            <a:ext cx="3357453" cy="95410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Ø"/>
            </a:pPr>
            <a:r>
              <a:rPr lang="en-US" sz="1400" dirty="0">
                <a:solidFill>
                  <a:schemeClr val="bg2"/>
                </a:solidFill>
                <a:latin typeface="+mn-lt"/>
              </a:rPr>
              <a:t>How many standard deviation is that ? The SD is 0.15m so it is </a:t>
            </a:r>
          </a:p>
          <a:p>
            <a:pPr marL="285750" indent="-285750">
              <a:spcBef>
                <a:spcPts val="0"/>
              </a:spcBef>
              <a:spcAft>
                <a:spcPts val="0"/>
              </a:spcAft>
              <a:buClr>
                <a:schemeClr val="bg1"/>
              </a:buClr>
              <a:buFont typeface="Wingdings" panose="05000000000000000000" pitchFamily="2" charset="2"/>
              <a:buChar char="Ø"/>
            </a:pPr>
            <a:endParaRPr lang="en-US" sz="1400" dirty="0">
              <a:solidFill>
                <a:schemeClr val="bg2"/>
              </a:solidFill>
              <a:latin typeface="+mn-lt"/>
            </a:endParaRPr>
          </a:p>
          <a:p>
            <a:pPr marL="285750" indent="-285750">
              <a:spcBef>
                <a:spcPts val="0"/>
              </a:spcBef>
              <a:spcAft>
                <a:spcPts val="0"/>
              </a:spcAft>
              <a:buClr>
                <a:schemeClr val="bg1"/>
              </a:buClr>
              <a:buFont typeface="Wingdings" panose="05000000000000000000" pitchFamily="2" charset="2"/>
              <a:buChar char="Ø"/>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D95996C3-DB60-464B-ADA7-6360632584BC}"/>
              </a:ext>
            </a:extLst>
          </p:cNvPr>
          <p:cNvPicPr>
            <a:picLocks noChangeAspect="1"/>
          </p:cNvPicPr>
          <p:nvPr/>
        </p:nvPicPr>
        <p:blipFill>
          <a:blip r:embed="rId2"/>
          <a:stretch>
            <a:fillRect/>
          </a:stretch>
        </p:blipFill>
        <p:spPr>
          <a:xfrm>
            <a:off x="4759809" y="1585957"/>
            <a:ext cx="3714750" cy="2095500"/>
          </a:xfrm>
          <a:prstGeom prst="rect">
            <a:avLst/>
          </a:prstGeom>
        </p:spPr>
      </p:pic>
      <p:pic>
        <p:nvPicPr>
          <p:cNvPr id="7" name="Picture 6">
            <a:extLst>
              <a:ext uri="{FF2B5EF4-FFF2-40B4-BE49-F238E27FC236}">
                <a16:creationId xmlns:a16="http://schemas.microsoft.com/office/drawing/2014/main" id="{0B67CD34-7C4A-4AE7-9950-691B1C0CD442}"/>
              </a:ext>
            </a:extLst>
          </p:cNvPr>
          <p:cNvPicPr>
            <a:picLocks noChangeAspect="1"/>
          </p:cNvPicPr>
          <p:nvPr/>
        </p:nvPicPr>
        <p:blipFill>
          <a:blip r:embed="rId3"/>
          <a:stretch>
            <a:fillRect/>
          </a:stretch>
        </p:blipFill>
        <p:spPr>
          <a:xfrm>
            <a:off x="537581" y="2977872"/>
            <a:ext cx="1716681" cy="810655"/>
          </a:xfrm>
          <a:prstGeom prst="rect">
            <a:avLst/>
          </a:prstGeom>
        </p:spPr>
      </p:pic>
      <p:sp>
        <p:nvSpPr>
          <p:cNvPr id="8" name="TextBox 7">
            <a:extLst>
              <a:ext uri="{FF2B5EF4-FFF2-40B4-BE49-F238E27FC236}">
                <a16:creationId xmlns:a16="http://schemas.microsoft.com/office/drawing/2014/main" id="{D4454898-1E55-476F-BF21-5748303D9A9E}"/>
              </a:ext>
            </a:extLst>
          </p:cNvPr>
          <p:cNvSpPr txBox="1"/>
          <p:nvPr/>
        </p:nvSpPr>
        <p:spPr>
          <a:xfrm>
            <a:off x="1305288" y="3931979"/>
            <a:ext cx="294562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Z is “z score” (standard Score)</a:t>
            </a:r>
          </a:p>
          <a:p>
            <a:pPr>
              <a:spcBef>
                <a:spcPts val="0"/>
              </a:spcBef>
              <a:spcAft>
                <a:spcPts val="0"/>
              </a:spcAft>
              <a:buClr>
                <a:schemeClr val="bg1"/>
              </a:buClr>
            </a:pPr>
            <a:r>
              <a:rPr lang="en-US" sz="1400" dirty="0">
                <a:solidFill>
                  <a:schemeClr val="bg2"/>
                </a:solidFill>
                <a:latin typeface="+mn-lt"/>
              </a:rPr>
              <a:t>X is the Value to be standardized </a:t>
            </a:r>
          </a:p>
          <a:p>
            <a:pPr>
              <a:spcBef>
                <a:spcPts val="0"/>
              </a:spcBef>
              <a:spcAft>
                <a:spcPts val="0"/>
              </a:spcAft>
              <a:buClr>
                <a:schemeClr val="bg1"/>
              </a:buClr>
            </a:pPr>
            <a:r>
              <a:rPr lang="en-US" sz="1400" dirty="0">
                <a:solidFill>
                  <a:schemeClr val="bg2"/>
                </a:solidFill>
                <a:latin typeface="+mn-lt"/>
              </a:rPr>
              <a:t>µ is the mean</a:t>
            </a:r>
          </a:p>
          <a:p>
            <a:pPr>
              <a:spcBef>
                <a:spcPts val="0"/>
              </a:spcBef>
              <a:spcAft>
                <a:spcPts val="0"/>
              </a:spcAft>
              <a:buClr>
                <a:schemeClr val="bg1"/>
              </a:buClr>
            </a:pPr>
            <a:r>
              <a:rPr lang="en-US" sz="1400" dirty="0">
                <a:solidFill>
                  <a:schemeClr val="bg2"/>
                </a:solidFill>
                <a:latin typeface="+mn-lt"/>
              </a:rPr>
              <a:t>σ is the SD</a:t>
            </a:r>
          </a:p>
        </p:txBody>
      </p:sp>
    </p:spTree>
    <p:extLst>
      <p:ext uri="{BB962C8B-B14F-4D97-AF65-F5344CB8AC3E}">
        <p14:creationId xmlns:p14="http://schemas.microsoft.com/office/powerpoint/2010/main" val="2272793103"/>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95229-5250-4E90-BFE7-38424398256E}"/>
              </a:ext>
            </a:extLst>
          </p:cNvPr>
          <p:cNvSpPr>
            <a:spLocks noGrp="1"/>
          </p:cNvSpPr>
          <p:nvPr>
            <p:ph type="title"/>
          </p:nvPr>
        </p:nvSpPr>
        <p:spPr>
          <a:xfrm>
            <a:off x="0" y="0"/>
            <a:ext cx="8229600" cy="637794"/>
          </a:xfrm>
        </p:spPr>
        <p:txBody>
          <a:bodyPr/>
          <a:lstStyle/>
          <a:p>
            <a:r>
              <a:rPr lang="en-US" dirty="0"/>
              <a:t>Histograms</a:t>
            </a:r>
          </a:p>
        </p:txBody>
      </p:sp>
      <p:sp>
        <p:nvSpPr>
          <p:cNvPr id="3" name="TextBox 2">
            <a:extLst>
              <a:ext uri="{FF2B5EF4-FFF2-40B4-BE49-F238E27FC236}">
                <a16:creationId xmlns:a16="http://schemas.microsoft.com/office/drawing/2014/main" id="{02CA0D85-203F-4043-BAA0-B836164FA90E}"/>
              </a:ext>
            </a:extLst>
          </p:cNvPr>
          <p:cNvSpPr txBox="1"/>
          <p:nvPr/>
        </p:nvSpPr>
        <p:spPr>
          <a:xfrm>
            <a:off x="97722" y="567762"/>
            <a:ext cx="6875451" cy="3985706"/>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It is like a </a:t>
            </a:r>
            <a:r>
              <a:rPr lang="en-US" sz="1100" b="0" i="0" dirty="0">
                <a:solidFill>
                  <a:schemeClr val="bg2">
                    <a:lumMod val="50000"/>
                    <a:lumOff val="50000"/>
                  </a:schemeClr>
                </a:solidFill>
                <a:effectLst/>
                <a:latin typeface="Verdana" panose="020B0604030504040204" pitchFamily="34" charset="0"/>
                <a:hlinkClick r:id="rId2">
                  <a:extLst>
                    <a:ext uri="{A12FA001-AC4F-418D-AE19-62706E023703}">
                      <ahyp:hlinkClr xmlns:ahyp="http://schemas.microsoft.com/office/drawing/2018/hyperlinkcolor" val="tx"/>
                    </a:ext>
                  </a:extLst>
                </a:hlinkClick>
              </a:rPr>
              <a:t>Bar Chart</a:t>
            </a:r>
            <a:r>
              <a:rPr lang="en-US" sz="1100" b="0" i="0" dirty="0">
                <a:solidFill>
                  <a:schemeClr val="bg2">
                    <a:lumMod val="50000"/>
                    <a:lumOff val="50000"/>
                  </a:schemeClr>
                </a:solidFill>
                <a:effectLst/>
                <a:latin typeface="Verdana" panose="020B0604030504040204" pitchFamily="34" charset="0"/>
              </a:rPr>
              <a:t>, but a histogram groups numbers into </a:t>
            </a:r>
            <a:r>
              <a:rPr lang="en-US" sz="1100" b="1" i="0" dirty="0">
                <a:solidFill>
                  <a:schemeClr val="bg2">
                    <a:lumMod val="50000"/>
                    <a:lumOff val="50000"/>
                  </a:schemeClr>
                </a:solidFill>
                <a:effectLst/>
                <a:latin typeface="Verdana" panose="020B0604030504040204" pitchFamily="34" charset="0"/>
              </a:rPr>
              <a:t>ranges </a:t>
            </a:r>
            <a:r>
              <a:rPr lang="en-US" sz="1100" b="0" i="0" dirty="0">
                <a:solidFill>
                  <a:schemeClr val="bg2">
                    <a:lumMod val="50000"/>
                    <a:lumOff val="50000"/>
                  </a:schemeClr>
                </a:solidFill>
                <a:effectLst/>
                <a:latin typeface="Verdana" panose="020B0604030504040204" pitchFamily="34" charset="0"/>
              </a:rPr>
              <a:t>.</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height of each bar shows how many fall into each range.</a:t>
            </a:r>
          </a:p>
          <a:p>
            <a:pPr algn="l"/>
            <a:r>
              <a:rPr lang="en-US" sz="1100" b="0" i="0" dirty="0">
                <a:solidFill>
                  <a:schemeClr val="bg2">
                    <a:lumMod val="50000"/>
                    <a:lumOff val="50000"/>
                  </a:schemeClr>
                </a:solidFill>
                <a:effectLst/>
                <a:latin typeface="Verdana" panose="020B0604030504040204" pitchFamily="34" charset="0"/>
              </a:rPr>
              <a:t>And you decide what ranges to use!</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Ex: </a:t>
            </a:r>
          </a:p>
          <a:p>
            <a:pPr algn="l"/>
            <a:endParaRPr lang="en-US" sz="1100" b="1" dirty="0">
              <a:solidFill>
                <a:schemeClr val="bg2">
                  <a:lumMod val="50000"/>
                  <a:lumOff val="50000"/>
                </a:schemeClr>
              </a:solidFill>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The heights vary from 100 cm to 340 cm</a:t>
            </a:r>
          </a:p>
          <a:p>
            <a:pPr algn="l"/>
            <a:r>
              <a:rPr lang="en-US" sz="1400" b="0" i="0" dirty="0">
                <a:solidFill>
                  <a:schemeClr val="bg2">
                    <a:lumMod val="50000"/>
                    <a:lumOff val="50000"/>
                  </a:schemeClr>
                </a:solidFill>
                <a:effectLst/>
                <a:latin typeface="Verdana" panose="020B0604030504040204" pitchFamily="34" charset="0"/>
              </a:rPr>
              <a:t>You decide to put the results into groups of 50 cm:</a:t>
            </a:r>
          </a:p>
          <a:p>
            <a:pPr algn="l"/>
            <a:endParaRPr lang="en-US" sz="1400" b="0" i="0" dirty="0">
              <a:solidFill>
                <a:schemeClr val="bg2">
                  <a:lumMod val="50000"/>
                  <a:lumOff val="50000"/>
                </a:schemeClr>
              </a:solidFill>
              <a:effectLst/>
              <a:latin typeface="Verdana" panose="020B0604030504040204" pitchFamily="34" charset="0"/>
            </a:endParaRP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00 to just below 15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The </a:t>
            </a:r>
            <a:r>
              <a:rPr lang="en-US" sz="1400" b="1" i="0" dirty="0">
                <a:solidFill>
                  <a:schemeClr val="bg2">
                    <a:lumMod val="50000"/>
                    <a:lumOff val="50000"/>
                  </a:schemeClr>
                </a:solidFill>
                <a:effectLst/>
                <a:latin typeface="Verdana" panose="020B0604030504040204" pitchFamily="34" charset="0"/>
              </a:rPr>
              <a:t>150 to just below 200 cm</a:t>
            </a:r>
            <a:r>
              <a:rPr lang="en-US" sz="1400" b="0" i="0" dirty="0">
                <a:solidFill>
                  <a:schemeClr val="bg2">
                    <a:lumMod val="50000"/>
                    <a:lumOff val="50000"/>
                  </a:schemeClr>
                </a:solidFill>
                <a:effectLst/>
                <a:latin typeface="Verdana" panose="020B0604030504040204" pitchFamily="34" charset="0"/>
              </a:rPr>
              <a:t> range,</a:t>
            </a:r>
          </a:p>
          <a:p>
            <a:pPr marL="171450" indent="-171450" algn="l">
              <a:buFont typeface="Arial" panose="020B0604020202020204" pitchFamily="34" charset="0"/>
              <a:buChar char="•"/>
            </a:pPr>
            <a:r>
              <a:rPr lang="en-US" sz="1400" b="0" i="0" dirty="0">
                <a:solidFill>
                  <a:schemeClr val="bg2">
                    <a:lumMod val="50000"/>
                    <a:lumOff val="50000"/>
                  </a:schemeClr>
                </a:solidFill>
                <a:effectLst/>
                <a:latin typeface="Verdana" panose="020B0604030504040204" pitchFamily="34" charset="0"/>
              </a:rPr>
              <a:t>etc...</a:t>
            </a:r>
          </a:p>
          <a:p>
            <a:pPr algn="l">
              <a:buFont typeface="Arial" panose="020B0604020202020204" pitchFamily="34" charset="0"/>
              <a:buChar char="•"/>
            </a:pPr>
            <a:endParaRPr lang="en-US" sz="1400" b="0" i="0" dirty="0">
              <a:solidFill>
                <a:schemeClr val="bg2">
                  <a:lumMod val="50000"/>
                  <a:lumOff val="50000"/>
                </a:schemeClr>
              </a:solidFill>
              <a:effectLst/>
              <a:latin typeface="Verdana" panose="020B0604030504040204" pitchFamily="34" charset="0"/>
            </a:endParaRPr>
          </a:p>
          <a:p>
            <a:pPr algn="l"/>
            <a:r>
              <a:rPr lang="en-US" sz="1400" b="0" i="0" dirty="0">
                <a:solidFill>
                  <a:schemeClr val="bg2">
                    <a:lumMod val="50000"/>
                    <a:lumOff val="50000"/>
                  </a:schemeClr>
                </a:solidFill>
                <a:effectLst/>
                <a:latin typeface="Verdana" panose="020B0604030504040204" pitchFamily="34" charset="0"/>
              </a:rPr>
              <a:t>So, a tree that is 260 cm tall is added to the "250-300" range.</a:t>
            </a:r>
          </a:p>
          <a:p>
            <a:pPr algn="l"/>
            <a:r>
              <a:rPr lang="en-US" sz="1400" b="0" i="0" dirty="0">
                <a:solidFill>
                  <a:schemeClr val="bg2">
                    <a:lumMod val="50000"/>
                    <a:lumOff val="50000"/>
                  </a:schemeClr>
                </a:solidFill>
                <a:effectLst/>
                <a:latin typeface="Verdana" panose="020B0604030504040204" pitchFamily="34" charset="0"/>
              </a:rPr>
              <a:t>And here is the result: </a:t>
            </a:r>
            <a:r>
              <a:rPr lang="en-US" sz="1400" dirty="0">
                <a:solidFill>
                  <a:schemeClr val="bg2">
                    <a:lumMod val="50000"/>
                    <a:lumOff val="50000"/>
                  </a:schemeClr>
                </a:solidFill>
                <a:latin typeface="Verdana" panose="020B0604030504040204" pitchFamily="34" charset="0"/>
              </a:rPr>
              <a:t>You can see (for example) that there are </a:t>
            </a:r>
            <a:r>
              <a:rPr lang="en-US" sz="1400" b="1" dirty="0">
                <a:solidFill>
                  <a:schemeClr val="bg2">
                    <a:lumMod val="50000"/>
                    <a:lumOff val="50000"/>
                  </a:schemeClr>
                </a:solidFill>
                <a:latin typeface="Verdana" panose="020B0604030504040204" pitchFamily="34" charset="0"/>
              </a:rPr>
              <a:t>30 trees </a:t>
            </a:r>
            <a:r>
              <a:rPr lang="en-US" sz="1400" dirty="0">
                <a:solidFill>
                  <a:schemeClr val="bg2">
                    <a:lumMod val="50000"/>
                    <a:lumOff val="50000"/>
                  </a:schemeClr>
                </a:solidFill>
                <a:latin typeface="Verdana" panose="020B0604030504040204" pitchFamily="34" charset="0"/>
              </a:rPr>
              <a:t>from 150 cm to just below 200 cm tall</a:t>
            </a:r>
          </a:p>
          <a:p>
            <a:pPr algn="l"/>
            <a:endParaRPr lang="en-US" sz="1100" b="1"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4AB5BAB6-917D-48BD-A220-866ABDB030B4}"/>
              </a:ext>
            </a:extLst>
          </p:cNvPr>
          <p:cNvPicPr>
            <a:picLocks noChangeAspect="1"/>
          </p:cNvPicPr>
          <p:nvPr/>
        </p:nvPicPr>
        <p:blipFill>
          <a:blip r:embed="rId3"/>
          <a:stretch>
            <a:fillRect/>
          </a:stretch>
        </p:blipFill>
        <p:spPr>
          <a:xfrm>
            <a:off x="7189475" y="0"/>
            <a:ext cx="1644959" cy="1472812"/>
          </a:xfrm>
          <a:prstGeom prst="rect">
            <a:avLst/>
          </a:prstGeom>
        </p:spPr>
      </p:pic>
      <p:sp>
        <p:nvSpPr>
          <p:cNvPr id="6" name="TextBox 5">
            <a:extLst>
              <a:ext uri="{FF2B5EF4-FFF2-40B4-BE49-F238E27FC236}">
                <a16:creationId xmlns:a16="http://schemas.microsoft.com/office/drawing/2014/main" id="{B2C1368F-05C5-41F3-8C92-C3184D2F0C42}"/>
              </a:ext>
            </a:extLst>
          </p:cNvPr>
          <p:cNvSpPr txBox="1"/>
          <p:nvPr/>
        </p:nvSpPr>
        <p:spPr>
          <a:xfrm>
            <a:off x="97722" y="4167151"/>
            <a:ext cx="7824751" cy="276999"/>
          </a:xfrm>
          <a:prstGeom prst="rect">
            <a:avLst/>
          </a:prstGeom>
          <a:noFill/>
        </p:spPr>
        <p:txBody>
          <a:bodyPr wrap="square" rtlCol="0">
            <a:spAutoFit/>
          </a:bodyPr>
          <a:lstStyle/>
          <a:p>
            <a:pPr>
              <a:spcBef>
                <a:spcPts val="0"/>
              </a:spcBef>
              <a:spcAft>
                <a:spcPts val="0"/>
              </a:spcAft>
              <a:buClr>
                <a:schemeClr val="bg1"/>
              </a:buClr>
            </a:pPr>
            <a:r>
              <a:rPr lang="en-US" sz="1200" b="0" i="0" dirty="0">
                <a:solidFill>
                  <a:schemeClr val="bg2">
                    <a:lumMod val="50000"/>
                    <a:lumOff val="50000"/>
                  </a:schemeClr>
                </a:solidFill>
                <a:effectLst/>
                <a:latin typeface="Verdana" panose="020B0604030504040204" pitchFamily="34" charset="0"/>
              </a:rPr>
              <a:t>The range of each bar is also called the </a:t>
            </a:r>
            <a:r>
              <a:rPr lang="en-US" sz="1200" b="1" i="0" dirty="0">
                <a:solidFill>
                  <a:schemeClr val="bg2">
                    <a:lumMod val="50000"/>
                    <a:lumOff val="50000"/>
                  </a:schemeClr>
                </a:solidFill>
                <a:effectLst/>
                <a:latin typeface="Verdana" panose="020B0604030504040204" pitchFamily="34" charset="0"/>
              </a:rPr>
              <a:t>Class Interval</a:t>
            </a:r>
            <a:endParaRPr lang="en-US" sz="1600" dirty="0">
              <a:solidFill>
                <a:schemeClr val="bg2">
                  <a:lumMod val="50000"/>
                  <a:lumOff val="50000"/>
                </a:schemeClr>
              </a:solidFill>
              <a:latin typeface="+mn-lt"/>
            </a:endParaRPr>
          </a:p>
        </p:txBody>
      </p:sp>
      <p:pic>
        <p:nvPicPr>
          <p:cNvPr id="8" name="Picture 7">
            <a:extLst>
              <a:ext uri="{FF2B5EF4-FFF2-40B4-BE49-F238E27FC236}">
                <a16:creationId xmlns:a16="http://schemas.microsoft.com/office/drawing/2014/main" id="{333C77C3-B4B9-46DA-8353-DCB6A97BD6C3}"/>
              </a:ext>
            </a:extLst>
          </p:cNvPr>
          <p:cNvPicPr>
            <a:picLocks noChangeAspect="1"/>
          </p:cNvPicPr>
          <p:nvPr/>
        </p:nvPicPr>
        <p:blipFill>
          <a:blip r:embed="rId4"/>
          <a:stretch>
            <a:fillRect/>
          </a:stretch>
        </p:blipFill>
        <p:spPr>
          <a:xfrm>
            <a:off x="7098089" y="2023881"/>
            <a:ext cx="1827730" cy="1759361"/>
          </a:xfrm>
          <a:prstGeom prst="rect">
            <a:avLst/>
          </a:prstGeom>
        </p:spPr>
      </p:pic>
    </p:spTree>
    <p:extLst>
      <p:ext uri="{BB962C8B-B14F-4D97-AF65-F5344CB8AC3E}">
        <p14:creationId xmlns:p14="http://schemas.microsoft.com/office/powerpoint/2010/main" val="1076367964"/>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AD516-EB32-4D6F-A996-A221CB731514}"/>
              </a:ext>
            </a:extLst>
          </p:cNvPr>
          <p:cNvSpPr>
            <a:spLocks noGrp="1"/>
          </p:cNvSpPr>
          <p:nvPr>
            <p:ph type="title"/>
          </p:nvPr>
        </p:nvSpPr>
        <p:spPr/>
        <p:txBody>
          <a:bodyPr/>
          <a:lstStyle/>
          <a:p>
            <a:r>
              <a:rPr lang="en-US" dirty="0"/>
              <a:t>Histograms</a:t>
            </a:r>
          </a:p>
        </p:txBody>
      </p:sp>
      <p:pic>
        <p:nvPicPr>
          <p:cNvPr id="3" name="Picture 2">
            <a:extLst>
              <a:ext uri="{FF2B5EF4-FFF2-40B4-BE49-F238E27FC236}">
                <a16:creationId xmlns:a16="http://schemas.microsoft.com/office/drawing/2014/main" id="{1B4DE7F2-4C3F-4932-B02E-677EDE091489}"/>
              </a:ext>
            </a:extLst>
          </p:cNvPr>
          <p:cNvPicPr>
            <a:picLocks noChangeAspect="1"/>
          </p:cNvPicPr>
          <p:nvPr/>
        </p:nvPicPr>
        <p:blipFill>
          <a:blip r:embed="rId2"/>
          <a:stretch>
            <a:fillRect/>
          </a:stretch>
        </p:blipFill>
        <p:spPr>
          <a:xfrm>
            <a:off x="7014327" y="1144382"/>
            <a:ext cx="1827730" cy="1759361"/>
          </a:xfrm>
          <a:prstGeom prst="rect">
            <a:avLst/>
          </a:prstGeom>
        </p:spPr>
      </p:pic>
      <p:sp>
        <p:nvSpPr>
          <p:cNvPr id="4" name="TextBox 3">
            <a:extLst>
              <a:ext uri="{FF2B5EF4-FFF2-40B4-BE49-F238E27FC236}">
                <a16:creationId xmlns:a16="http://schemas.microsoft.com/office/drawing/2014/main" id="{CA3E50D1-0830-44E2-884E-56D3C7A922DC}"/>
              </a:ext>
            </a:extLst>
          </p:cNvPr>
          <p:cNvSpPr txBox="1"/>
          <p:nvPr/>
        </p:nvSpPr>
        <p:spPr>
          <a:xfrm>
            <a:off x="174504" y="984202"/>
            <a:ext cx="6114614" cy="1969770"/>
          </a:xfrm>
          <a:prstGeom prst="rect">
            <a:avLst/>
          </a:prstGeom>
          <a:noFill/>
        </p:spPr>
        <p:txBody>
          <a:bodyPr wrap="square" rtlCol="0">
            <a:spAutoFit/>
          </a:bodyPr>
          <a:lstStyle/>
          <a:p>
            <a:pPr algn="l"/>
            <a:r>
              <a:rPr lang="en-US" sz="1800" b="0" i="0" dirty="0">
                <a:solidFill>
                  <a:schemeClr val="bg2">
                    <a:lumMod val="50000"/>
                    <a:lumOff val="50000"/>
                  </a:schemeClr>
                </a:solidFill>
                <a:effectLst/>
                <a:latin typeface="Verdana" panose="020B0604030504040204" pitchFamily="34" charset="0"/>
              </a:rPr>
              <a:t>So, a tree that is 260 cm tall is added to the "250-300" range.</a:t>
            </a:r>
          </a:p>
          <a:p>
            <a:pPr algn="l"/>
            <a:endParaRPr lang="en-US" sz="1800" b="0" i="0" dirty="0">
              <a:solidFill>
                <a:schemeClr val="bg2">
                  <a:lumMod val="50000"/>
                  <a:lumOff val="50000"/>
                </a:schemeClr>
              </a:solidFill>
              <a:effectLst/>
              <a:latin typeface="Verdana" panose="020B0604030504040204" pitchFamily="34" charset="0"/>
            </a:endParaRPr>
          </a:p>
          <a:p>
            <a:pPr algn="l"/>
            <a:r>
              <a:rPr lang="en-US" sz="1800" b="0" i="0" dirty="0">
                <a:solidFill>
                  <a:schemeClr val="bg2">
                    <a:lumMod val="50000"/>
                    <a:lumOff val="50000"/>
                  </a:schemeClr>
                </a:solidFill>
                <a:effectLst/>
                <a:latin typeface="Verdana" panose="020B0604030504040204" pitchFamily="34" charset="0"/>
              </a:rPr>
              <a:t>And here is the result: </a:t>
            </a:r>
            <a:r>
              <a:rPr lang="en-US" sz="1800" dirty="0">
                <a:solidFill>
                  <a:schemeClr val="bg2">
                    <a:lumMod val="50000"/>
                    <a:lumOff val="50000"/>
                  </a:schemeClr>
                </a:solidFill>
                <a:latin typeface="Verdana" panose="020B0604030504040204" pitchFamily="34" charset="0"/>
              </a:rPr>
              <a:t>You can see (for example) that there are </a:t>
            </a:r>
            <a:r>
              <a:rPr lang="en-US" sz="1800" b="1" dirty="0">
                <a:solidFill>
                  <a:schemeClr val="bg2">
                    <a:lumMod val="50000"/>
                    <a:lumOff val="50000"/>
                  </a:schemeClr>
                </a:solidFill>
                <a:latin typeface="Verdana" panose="020B0604030504040204" pitchFamily="34" charset="0"/>
              </a:rPr>
              <a:t>30 trees </a:t>
            </a:r>
            <a:r>
              <a:rPr lang="en-US" sz="1800" dirty="0">
                <a:solidFill>
                  <a:schemeClr val="bg2">
                    <a:lumMod val="50000"/>
                    <a:lumOff val="50000"/>
                  </a:schemeClr>
                </a:solidFill>
                <a:latin typeface="Verdana" panose="020B0604030504040204" pitchFamily="34" charset="0"/>
              </a:rPr>
              <a:t>from 150 cm to just below 200 cm tall</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098595869"/>
      </p:ext>
    </p:extLst>
  </p:cSld>
  <p:clrMapOvr>
    <a:masterClrMapping/>
  </p:clrMapOvr>
  <p:transition spd="med">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9319C-B967-4DBC-B577-C36D61D4087E}"/>
              </a:ext>
            </a:extLst>
          </p:cNvPr>
          <p:cNvSpPr>
            <a:spLocks noGrp="1"/>
          </p:cNvSpPr>
          <p:nvPr>
            <p:ph type="title"/>
          </p:nvPr>
        </p:nvSpPr>
        <p:spPr>
          <a:xfrm>
            <a:off x="0" y="0"/>
            <a:ext cx="7280299" cy="640080"/>
          </a:xfrm>
        </p:spPr>
        <p:txBody>
          <a:bodyPr>
            <a:normAutofit/>
          </a:bodyPr>
          <a:lstStyle/>
          <a:p>
            <a:r>
              <a:rPr lang="en-US" sz="2200" dirty="0"/>
              <a:t>Difference between Bar chart and Histogram?</a:t>
            </a:r>
            <a:br>
              <a:rPr lang="en-US" sz="1500" dirty="0"/>
            </a:br>
            <a:endParaRPr lang="en-US" sz="1500" dirty="0"/>
          </a:p>
        </p:txBody>
      </p:sp>
      <p:pic>
        <p:nvPicPr>
          <p:cNvPr id="4" name="Picture 3">
            <a:extLst>
              <a:ext uri="{FF2B5EF4-FFF2-40B4-BE49-F238E27FC236}">
                <a16:creationId xmlns:a16="http://schemas.microsoft.com/office/drawing/2014/main" id="{2C7EC81D-861C-48BD-A0A8-B2F91ABA3322}"/>
              </a:ext>
            </a:extLst>
          </p:cNvPr>
          <p:cNvPicPr>
            <a:picLocks noChangeAspect="1"/>
          </p:cNvPicPr>
          <p:nvPr/>
        </p:nvPicPr>
        <p:blipFill>
          <a:blip r:embed="rId2"/>
          <a:stretch>
            <a:fillRect/>
          </a:stretch>
        </p:blipFill>
        <p:spPr>
          <a:xfrm>
            <a:off x="1307381" y="604652"/>
            <a:ext cx="3774169" cy="1537974"/>
          </a:xfrm>
          <a:prstGeom prst="rect">
            <a:avLst/>
          </a:prstGeom>
          <a:noFill/>
        </p:spPr>
      </p:pic>
      <p:pic>
        <p:nvPicPr>
          <p:cNvPr id="5" name="Picture 4">
            <a:extLst>
              <a:ext uri="{FF2B5EF4-FFF2-40B4-BE49-F238E27FC236}">
                <a16:creationId xmlns:a16="http://schemas.microsoft.com/office/drawing/2014/main" id="{AF69502C-67C4-4044-81C1-D6941ED26107}"/>
              </a:ext>
            </a:extLst>
          </p:cNvPr>
          <p:cNvPicPr>
            <a:picLocks noChangeAspect="1"/>
          </p:cNvPicPr>
          <p:nvPr/>
        </p:nvPicPr>
        <p:blipFill>
          <a:blip r:embed="rId3"/>
          <a:stretch>
            <a:fillRect/>
          </a:stretch>
        </p:blipFill>
        <p:spPr>
          <a:xfrm>
            <a:off x="583908" y="2304396"/>
            <a:ext cx="5321300" cy="2419350"/>
          </a:xfrm>
          <a:prstGeom prst="rect">
            <a:avLst/>
          </a:prstGeom>
        </p:spPr>
      </p:pic>
      <p:sp>
        <p:nvSpPr>
          <p:cNvPr id="6" name="TextBox 5">
            <a:extLst>
              <a:ext uri="{FF2B5EF4-FFF2-40B4-BE49-F238E27FC236}">
                <a16:creationId xmlns:a16="http://schemas.microsoft.com/office/drawing/2014/main" id="{20129627-80D3-4973-A282-9C67B56BC036}"/>
              </a:ext>
            </a:extLst>
          </p:cNvPr>
          <p:cNvSpPr txBox="1"/>
          <p:nvPr/>
        </p:nvSpPr>
        <p:spPr>
          <a:xfrm>
            <a:off x="5451499" y="565726"/>
            <a:ext cx="3471227" cy="1615827"/>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istograms are a great way to show results of </a:t>
            </a:r>
            <a:r>
              <a:rPr lang="en-US" sz="1100" b="0" i="0" dirty="0">
                <a:solidFill>
                  <a:srgbClr val="333333"/>
                </a:solidFill>
                <a:effectLst/>
                <a:latin typeface="Verdana" panose="020B0604030504040204" pitchFamily="34" charset="0"/>
                <a:hlinkClick r:id="rId4"/>
              </a:rPr>
              <a:t>continuous data</a:t>
            </a:r>
            <a:r>
              <a:rPr lang="en-US" sz="1100" b="0" i="0" dirty="0">
                <a:solidFill>
                  <a:srgbClr val="333333"/>
                </a:solidFill>
                <a:effectLst/>
                <a:latin typeface="Verdana" panose="020B0604030504040204" pitchFamily="34" charset="0"/>
              </a:rPr>
              <a:t>, such as:</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w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eight</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how much time</a:t>
            </a:r>
          </a:p>
          <a:p>
            <a:pPr algn="l">
              <a:buFont typeface="Arial" panose="020B0604020202020204" pitchFamily="34" charset="0"/>
              <a:buChar char="•"/>
            </a:pPr>
            <a:r>
              <a:rPr lang="en-US" sz="1100" b="0" i="0" dirty="0">
                <a:solidFill>
                  <a:srgbClr val="333333"/>
                </a:solidFill>
                <a:effectLst/>
                <a:latin typeface="Verdana" panose="020B0604030504040204" pitchFamily="34" charset="0"/>
              </a:rPr>
              <a:t>etc.</a:t>
            </a:r>
          </a:p>
          <a:p>
            <a:pPr algn="l"/>
            <a:r>
              <a:rPr lang="en-US" sz="1100" b="0" i="0" dirty="0">
                <a:solidFill>
                  <a:srgbClr val="333333"/>
                </a:solidFill>
                <a:effectLst/>
                <a:latin typeface="Verdana" panose="020B0604030504040204" pitchFamily="34" charset="0"/>
              </a:rPr>
              <a:t>But when the data is in </a:t>
            </a:r>
            <a:r>
              <a:rPr lang="en-US" sz="1100" b="1" i="0" dirty="0">
                <a:solidFill>
                  <a:srgbClr val="333333"/>
                </a:solidFill>
                <a:effectLst/>
                <a:latin typeface="Verdana" panose="020B0604030504040204" pitchFamily="34" charset="0"/>
              </a:rPr>
              <a:t>categories</a:t>
            </a:r>
            <a:r>
              <a:rPr lang="en-US" sz="1100" b="0" i="0" dirty="0">
                <a:solidFill>
                  <a:srgbClr val="333333"/>
                </a:solidFill>
                <a:effectLst/>
                <a:latin typeface="Verdana" panose="020B0604030504040204" pitchFamily="34" charset="0"/>
              </a:rPr>
              <a:t> (such as Country or </a:t>
            </a:r>
            <a:r>
              <a:rPr lang="en-US" sz="1100" b="0" i="0" dirty="0" err="1">
                <a:solidFill>
                  <a:srgbClr val="333333"/>
                </a:solidFill>
                <a:effectLst/>
                <a:latin typeface="Verdana" panose="020B0604030504040204" pitchFamily="34" charset="0"/>
              </a:rPr>
              <a:t>Favourite</a:t>
            </a:r>
            <a:r>
              <a:rPr lang="en-US" sz="1100" b="0" i="0" dirty="0">
                <a:solidFill>
                  <a:srgbClr val="333333"/>
                </a:solidFill>
                <a:effectLst/>
                <a:latin typeface="Verdana" panose="020B0604030504040204" pitchFamily="34" charset="0"/>
              </a:rPr>
              <a:t> Movie), we should use a </a:t>
            </a:r>
            <a:r>
              <a:rPr lang="en-US" sz="1100" b="0" i="0" dirty="0">
                <a:solidFill>
                  <a:srgbClr val="333333"/>
                </a:solidFill>
                <a:effectLst/>
                <a:latin typeface="Verdana" panose="020B0604030504040204" pitchFamily="34" charset="0"/>
                <a:hlinkClick r:id="rId5"/>
              </a:rPr>
              <a:t>Bar Chart</a:t>
            </a:r>
            <a:r>
              <a:rPr lang="en-US" sz="1100" b="0" i="0" dirty="0">
                <a:solidFill>
                  <a:srgbClr val="333333"/>
                </a:solidFill>
                <a:effectLst/>
                <a:latin typeface="Verdana" panose="020B0604030504040204" pitchFamily="34" charset="0"/>
              </a:rPr>
              <a:t>.</a:t>
            </a:r>
          </a:p>
        </p:txBody>
      </p:sp>
    </p:spTree>
    <p:extLst>
      <p:ext uri="{BB962C8B-B14F-4D97-AF65-F5344CB8AC3E}">
        <p14:creationId xmlns:p14="http://schemas.microsoft.com/office/powerpoint/2010/main" val="209970773"/>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F00B5-B4A0-49F0-B8B8-411104EA6D5A}"/>
              </a:ext>
            </a:extLst>
          </p:cNvPr>
          <p:cNvSpPr>
            <a:spLocks noGrp="1"/>
          </p:cNvSpPr>
          <p:nvPr>
            <p:ph type="title"/>
          </p:nvPr>
        </p:nvSpPr>
        <p:spPr>
          <a:xfrm>
            <a:off x="0" y="22860"/>
            <a:ext cx="4295219" cy="640080"/>
          </a:xfrm>
        </p:spPr>
        <p:txBody>
          <a:bodyPr/>
          <a:lstStyle/>
          <a:p>
            <a:r>
              <a:rPr lang="en-US" dirty="0"/>
              <a:t>Frequency Histogram</a:t>
            </a:r>
          </a:p>
        </p:txBody>
      </p:sp>
      <p:sp>
        <p:nvSpPr>
          <p:cNvPr id="3" name="Content Placeholder 2">
            <a:extLst>
              <a:ext uri="{FF2B5EF4-FFF2-40B4-BE49-F238E27FC236}">
                <a16:creationId xmlns:a16="http://schemas.microsoft.com/office/drawing/2014/main" id="{DEEEA18E-63DE-4CC5-A149-9DD21D04AE4B}"/>
              </a:ext>
            </a:extLst>
          </p:cNvPr>
          <p:cNvSpPr>
            <a:spLocks noGrp="1"/>
          </p:cNvSpPr>
          <p:nvPr>
            <p:ph sz="half" idx="13"/>
          </p:nvPr>
        </p:nvSpPr>
        <p:spPr>
          <a:xfrm>
            <a:off x="162637" y="1021894"/>
            <a:ext cx="8122804" cy="3200400"/>
          </a:xfrm>
        </p:spPr>
        <p:txBody>
          <a:bodyPr/>
          <a:lstStyle/>
          <a:p>
            <a:r>
              <a:rPr lang="en-US" b="0" i="0" dirty="0">
                <a:solidFill>
                  <a:srgbClr val="333333"/>
                </a:solidFill>
                <a:effectLst/>
                <a:latin typeface="Verdana" panose="020B0604030504040204" pitchFamily="34" charset="0"/>
              </a:rPr>
              <a:t>A Frequency Histogram is a special graph that uses vertical columns to show frequencies (how many times each score occurs):</a:t>
            </a:r>
            <a:endParaRPr lang="en-US" dirty="0"/>
          </a:p>
        </p:txBody>
      </p:sp>
      <p:pic>
        <p:nvPicPr>
          <p:cNvPr id="5" name="Picture 4">
            <a:extLst>
              <a:ext uri="{FF2B5EF4-FFF2-40B4-BE49-F238E27FC236}">
                <a16:creationId xmlns:a16="http://schemas.microsoft.com/office/drawing/2014/main" id="{F805CE92-2871-4815-B6D7-19282192ABEA}"/>
              </a:ext>
            </a:extLst>
          </p:cNvPr>
          <p:cNvPicPr>
            <a:picLocks noChangeAspect="1"/>
          </p:cNvPicPr>
          <p:nvPr/>
        </p:nvPicPr>
        <p:blipFill>
          <a:blip r:embed="rId2"/>
          <a:stretch>
            <a:fillRect/>
          </a:stretch>
        </p:blipFill>
        <p:spPr>
          <a:xfrm>
            <a:off x="2096940" y="1756207"/>
            <a:ext cx="2198279" cy="2365399"/>
          </a:xfrm>
          <a:prstGeom prst="rect">
            <a:avLst/>
          </a:prstGeom>
        </p:spPr>
      </p:pic>
      <p:sp>
        <p:nvSpPr>
          <p:cNvPr id="6" name="TextBox 5">
            <a:extLst>
              <a:ext uri="{FF2B5EF4-FFF2-40B4-BE49-F238E27FC236}">
                <a16:creationId xmlns:a16="http://schemas.microsoft.com/office/drawing/2014/main" id="{9F19E738-DFF2-4014-8A2C-7A2B1FE43B4A}"/>
              </a:ext>
            </a:extLst>
          </p:cNvPr>
          <p:cNvSpPr txBox="1"/>
          <p:nvPr/>
        </p:nvSpPr>
        <p:spPr>
          <a:xfrm>
            <a:off x="5514321" y="2324391"/>
            <a:ext cx="3148048" cy="769441"/>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Here I have added up how often 1 occurs (2 times),</a:t>
            </a:r>
            <a:br>
              <a:rPr lang="en-US" sz="1100" dirty="0"/>
            </a:br>
            <a:r>
              <a:rPr lang="en-US" sz="1100" b="0" i="0" dirty="0">
                <a:solidFill>
                  <a:srgbClr val="333333"/>
                </a:solidFill>
                <a:effectLst/>
                <a:latin typeface="Verdana" panose="020B0604030504040204" pitchFamily="34" charset="0"/>
              </a:rPr>
              <a:t>how often 2 occurs (5 times), </a:t>
            </a:r>
            <a:r>
              <a:rPr lang="en-US" sz="1100" b="0" i="0" dirty="0" err="1">
                <a:solidFill>
                  <a:srgbClr val="333333"/>
                </a:solidFill>
                <a:effectLst/>
                <a:latin typeface="Verdana" panose="020B0604030504040204" pitchFamily="34" charset="0"/>
              </a:rPr>
              <a:t>etc</a:t>
            </a:r>
            <a:r>
              <a:rPr lang="en-US" sz="1100" b="0" i="0" dirty="0">
                <a:solidFill>
                  <a:srgbClr val="333333"/>
                </a:solidFill>
                <a:effectLst/>
                <a:latin typeface="Verdana" panose="020B0604030504040204" pitchFamily="34" charset="0"/>
              </a:rPr>
              <a:t>,</a:t>
            </a:r>
            <a:br>
              <a:rPr lang="en-US" sz="1100" dirty="0"/>
            </a:br>
            <a:r>
              <a:rPr lang="en-US" sz="1100" b="0" i="0" dirty="0">
                <a:solidFill>
                  <a:srgbClr val="333333"/>
                </a:solidFill>
                <a:effectLst/>
                <a:latin typeface="Verdana" panose="020B0604030504040204" pitchFamily="34" charset="0"/>
              </a:rPr>
              <a:t>and shown them as a histogram.</a:t>
            </a:r>
            <a:endParaRPr lang="en-US" sz="1400" dirty="0">
              <a:solidFill>
                <a:schemeClr val="bg2"/>
              </a:solidFill>
              <a:latin typeface="+mn-lt"/>
            </a:endParaRPr>
          </a:p>
        </p:txBody>
      </p:sp>
    </p:spTree>
    <p:extLst>
      <p:ext uri="{BB962C8B-B14F-4D97-AF65-F5344CB8AC3E}">
        <p14:creationId xmlns:p14="http://schemas.microsoft.com/office/powerpoint/2010/main" val="2761370973"/>
      </p:ext>
    </p:extLst>
  </p:cSld>
  <p:clrMapOvr>
    <a:masterClrMapping/>
  </p:clrMapOvr>
  <p:transition spd="med">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E449-810C-4947-8A30-C5C6A047DDE9}"/>
              </a:ext>
            </a:extLst>
          </p:cNvPr>
          <p:cNvSpPr>
            <a:spLocks noGrp="1"/>
          </p:cNvSpPr>
          <p:nvPr>
            <p:ph type="title"/>
          </p:nvPr>
        </p:nvSpPr>
        <p:spPr>
          <a:xfrm>
            <a:off x="0" y="0"/>
            <a:ext cx="8298577" cy="640080"/>
          </a:xfrm>
        </p:spPr>
        <p:txBody>
          <a:bodyPr/>
          <a:lstStyle/>
          <a:p>
            <a:r>
              <a:rPr lang="en-US" dirty="0"/>
              <a:t>Normal Distribution</a:t>
            </a:r>
          </a:p>
        </p:txBody>
      </p:sp>
      <p:sp>
        <p:nvSpPr>
          <p:cNvPr id="3" name="Content Placeholder 2">
            <a:extLst>
              <a:ext uri="{FF2B5EF4-FFF2-40B4-BE49-F238E27FC236}">
                <a16:creationId xmlns:a16="http://schemas.microsoft.com/office/drawing/2014/main" id="{2B48B4E7-A91E-41DB-854D-B66CBEEBA92C}"/>
              </a:ext>
            </a:extLst>
          </p:cNvPr>
          <p:cNvSpPr>
            <a:spLocks noGrp="1"/>
          </p:cNvSpPr>
          <p:nvPr>
            <p:ph sz="half" idx="13"/>
          </p:nvPr>
        </p:nvSpPr>
        <p:spPr>
          <a:xfrm>
            <a:off x="0" y="547244"/>
            <a:ext cx="9065124" cy="3200400"/>
          </a:xfrm>
        </p:spPr>
        <p:txBody>
          <a:bodyPr/>
          <a:lstStyle/>
          <a:p>
            <a:r>
              <a:rPr lang="en-US" b="0" i="0" dirty="0">
                <a:solidFill>
                  <a:schemeClr val="bg2">
                    <a:lumMod val="50000"/>
                    <a:lumOff val="50000"/>
                  </a:schemeClr>
                </a:solidFill>
                <a:effectLst/>
                <a:latin typeface="Verdana" panose="020B0604030504040204" pitchFamily="34" charset="0"/>
              </a:rPr>
              <a:t>Data can be "distributed" (spread out) in different ways.</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0B486642-3923-4FF0-9B98-6FC95566A6AA}"/>
              </a:ext>
            </a:extLst>
          </p:cNvPr>
          <p:cNvPicPr>
            <a:picLocks noChangeAspect="1"/>
          </p:cNvPicPr>
          <p:nvPr/>
        </p:nvPicPr>
        <p:blipFill>
          <a:blip r:embed="rId2"/>
          <a:stretch>
            <a:fillRect/>
          </a:stretch>
        </p:blipFill>
        <p:spPr>
          <a:xfrm>
            <a:off x="1131584" y="911681"/>
            <a:ext cx="3440416" cy="1677083"/>
          </a:xfrm>
          <a:prstGeom prst="rect">
            <a:avLst/>
          </a:prstGeom>
        </p:spPr>
      </p:pic>
      <p:pic>
        <p:nvPicPr>
          <p:cNvPr id="7" name="Picture 6">
            <a:extLst>
              <a:ext uri="{FF2B5EF4-FFF2-40B4-BE49-F238E27FC236}">
                <a16:creationId xmlns:a16="http://schemas.microsoft.com/office/drawing/2014/main" id="{B8949DF2-72CB-4E05-BB91-D4723A9CD9FD}"/>
              </a:ext>
            </a:extLst>
          </p:cNvPr>
          <p:cNvPicPr>
            <a:picLocks noChangeAspect="1"/>
          </p:cNvPicPr>
          <p:nvPr/>
        </p:nvPicPr>
        <p:blipFill>
          <a:blip r:embed="rId3"/>
          <a:stretch>
            <a:fillRect/>
          </a:stretch>
        </p:blipFill>
        <p:spPr>
          <a:xfrm>
            <a:off x="4771115" y="1076325"/>
            <a:ext cx="1566863" cy="1495425"/>
          </a:xfrm>
          <a:prstGeom prst="rect">
            <a:avLst/>
          </a:prstGeom>
        </p:spPr>
      </p:pic>
      <p:pic>
        <p:nvPicPr>
          <p:cNvPr id="9" name="Picture 8">
            <a:extLst>
              <a:ext uri="{FF2B5EF4-FFF2-40B4-BE49-F238E27FC236}">
                <a16:creationId xmlns:a16="http://schemas.microsoft.com/office/drawing/2014/main" id="{31EBBA0A-2C14-4CC3-BC2F-11A65B17871E}"/>
              </a:ext>
            </a:extLst>
          </p:cNvPr>
          <p:cNvPicPr>
            <a:picLocks noChangeAspect="1"/>
          </p:cNvPicPr>
          <p:nvPr/>
        </p:nvPicPr>
        <p:blipFill>
          <a:blip r:embed="rId4"/>
          <a:stretch>
            <a:fillRect/>
          </a:stretch>
        </p:blipFill>
        <p:spPr>
          <a:xfrm>
            <a:off x="1986552" y="3242908"/>
            <a:ext cx="3440416" cy="1648533"/>
          </a:xfrm>
          <a:prstGeom prst="rect">
            <a:avLst/>
          </a:prstGeom>
        </p:spPr>
      </p:pic>
      <p:sp>
        <p:nvSpPr>
          <p:cNvPr id="10" name="TextBox 9">
            <a:extLst>
              <a:ext uri="{FF2B5EF4-FFF2-40B4-BE49-F238E27FC236}">
                <a16:creationId xmlns:a16="http://schemas.microsoft.com/office/drawing/2014/main" id="{E9F194E7-7F64-4C16-9487-1D5CACD12279}"/>
              </a:ext>
            </a:extLst>
          </p:cNvPr>
          <p:cNvSpPr txBox="1"/>
          <p:nvPr/>
        </p:nvSpPr>
        <p:spPr>
          <a:xfrm>
            <a:off x="0" y="2860365"/>
            <a:ext cx="2205728"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Normal Distribution : </a:t>
            </a:r>
          </a:p>
        </p:txBody>
      </p:sp>
    </p:spTree>
    <p:extLst>
      <p:ext uri="{BB962C8B-B14F-4D97-AF65-F5344CB8AC3E}">
        <p14:creationId xmlns:p14="http://schemas.microsoft.com/office/powerpoint/2010/main" val="260827549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p:spTree>
    <p:extLst>
      <p:ext uri="{BB962C8B-B14F-4D97-AF65-F5344CB8AC3E}">
        <p14:creationId xmlns:p14="http://schemas.microsoft.com/office/powerpoint/2010/main" val="1833670930"/>
      </p:ext>
    </p:extLst>
  </p:cSld>
  <p:clrMapOvr>
    <a:masterClrMapping/>
  </p:clrMapOvr>
  <p:transition spd="med">
    <p:wipe dir="r"/>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6639C-8CEC-428A-9B08-0BF1C8C1A8AE}"/>
              </a:ext>
            </a:extLst>
          </p:cNvPr>
          <p:cNvSpPr>
            <a:spLocks noGrp="1"/>
          </p:cNvSpPr>
          <p:nvPr>
            <p:ph type="title"/>
          </p:nvPr>
        </p:nvSpPr>
        <p:spPr>
          <a:xfrm>
            <a:off x="0" y="0"/>
            <a:ext cx="7782046" cy="640080"/>
          </a:xfrm>
        </p:spPr>
        <p:txBody>
          <a:bodyPr/>
          <a:lstStyle/>
          <a:p>
            <a:r>
              <a:rPr lang="en-US" dirty="0"/>
              <a:t>Normal Distribution - Continued</a:t>
            </a:r>
          </a:p>
        </p:txBody>
      </p:sp>
      <p:sp>
        <p:nvSpPr>
          <p:cNvPr id="3" name="Content Placeholder 2">
            <a:extLst>
              <a:ext uri="{FF2B5EF4-FFF2-40B4-BE49-F238E27FC236}">
                <a16:creationId xmlns:a16="http://schemas.microsoft.com/office/drawing/2014/main" id="{D6C06C03-2BE3-4DB4-AD24-8584747C8398}"/>
              </a:ext>
            </a:extLst>
          </p:cNvPr>
          <p:cNvSpPr>
            <a:spLocks noGrp="1"/>
          </p:cNvSpPr>
          <p:nvPr>
            <p:ph sz="half" idx="13"/>
          </p:nvPr>
        </p:nvSpPr>
        <p:spPr>
          <a:xfrm>
            <a:off x="57935" y="640080"/>
            <a:ext cx="7962260" cy="3200400"/>
          </a:xfrm>
        </p:spPr>
        <p:txBody>
          <a:bodyPr/>
          <a:lstStyle/>
          <a:p>
            <a:r>
              <a:rPr lang="en-US" b="0" i="0" dirty="0">
                <a:solidFill>
                  <a:srgbClr val="333333"/>
                </a:solidFill>
                <a:effectLst/>
                <a:latin typeface="Verdana" panose="020B0604030504040204" pitchFamily="34" charset="0"/>
              </a:rPr>
              <a:t>It is often called a "Bell Curve“ because it looks like a bell.</a:t>
            </a:r>
            <a:endParaRPr lang="en-US" dirty="0">
              <a:solidFill>
                <a:srgbClr val="333333"/>
              </a:solidFill>
              <a:latin typeface="Verdana" panose="020B0604030504040204" pitchFamily="34" charset="0"/>
            </a:endParaRPr>
          </a:p>
          <a:p>
            <a:pPr algn="l"/>
            <a:r>
              <a:rPr lang="en-US" b="0" i="0" dirty="0">
                <a:solidFill>
                  <a:srgbClr val="333333"/>
                </a:solidFill>
                <a:effectLst/>
                <a:latin typeface="Verdana" panose="020B0604030504040204" pitchFamily="34" charset="0"/>
              </a:rPr>
              <a:t>Many things closely follow a Normal Distribution:</a:t>
            </a:r>
          </a:p>
          <a:p>
            <a:pPr lvl="1">
              <a:buFont typeface="Arial" panose="020B0604020202020204" pitchFamily="34" charset="0"/>
              <a:buChar char="•"/>
            </a:pPr>
            <a:r>
              <a:rPr lang="en-US" b="0" i="0" dirty="0">
                <a:solidFill>
                  <a:srgbClr val="333333"/>
                </a:solidFill>
                <a:effectLst/>
                <a:latin typeface="Verdana" panose="020B0604030504040204" pitchFamily="34" charset="0"/>
              </a:rPr>
              <a:t>heights of people</a:t>
            </a:r>
          </a:p>
          <a:p>
            <a:pPr lvl="1">
              <a:buFont typeface="Arial" panose="020B0604020202020204" pitchFamily="34" charset="0"/>
              <a:buChar char="•"/>
            </a:pPr>
            <a:r>
              <a:rPr lang="en-US" b="0" i="0" dirty="0">
                <a:solidFill>
                  <a:srgbClr val="333333"/>
                </a:solidFill>
                <a:effectLst/>
                <a:latin typeface="Verdana" panose="020B0604030504040204" pitchFamily="34" charset="0"/>
              </a:rPr>
              <a:t>size of things produced by machines</a:t>
            </a:r>
          </a:p>
          <a:p>
            <a:pPr lvl="1">
              <a:buFont typeface="Arial" panose="020B0604020202020204" pitchFamily="34" charset="0"/>
              <a:buChar char="•"/>
            </a:pPr>
            <a:r>
              <a:rPr lang="en-US" b="0" i="0" dirty="0">
                <a:solidFill>
                  <a:srgbClr val="333333"/>
                </a:solidFill>
                <a:effectLst/>
                <a:latin typeface="Verdana" panose="020B0604030504040204" pitchFamily="34" charset="0"/>
              </a:rPr>
              <a:t>errors in measurements</a:t>
            </a:r>
          </a:p>
          <a:p>
            <a:pPr lvl="1">
              <a:buFont typeface="Arial" panose="020B0604020202020204" pitchFamily="34" charset="0"/>
              <a:buChar char="•"/>
            </a:pPr>
            <a:r>
              <a:rPr lang="en-US" b="0" i="0" dirty="0">
                <a:solidFill>
                  <a:srgbClr val="333333"/>
                </a:solidFill>
                <a:effectLst/>
                <a:latin typeface="Verdana" panose="020B0604030504040204" pitchFamily="34" charset="0"/>
              </a:rPr>
              <a:t>blood pressure</a:t>
            </a:r>
          </a:p>
          <a:p>
            <a:pPr lvl="1">
              <a:buFont typeface="Arial" panose="020B0604020202020204" pitchFamily="34" charset="0"/>
              <a:buChar char="•"/>
            </a:pPr>
            <a:r>
              <a:rPr lang="en-US" b="0" i="0" dirty="0">
                <a:solidFill>
                  <a:srgbClr val="333333"/>
                </a:solidFill>
                <a:effectLst/>
                <a:latin typeface="Verdana" panose="020B0604030504040204" pitchFamily="34" charset="0"/>
              </a:rPr>
              <a:t>marks on a test</a:t>
            </a:r>
          </a:p>
          <a:p>
            <a:endParaRPr lang="en-US" dirty="0"/>
          </a:p>
        </p:txBody>
      </p:sp>
      <p:pic>
        <p:nvPicPr>
          <p:cNvPr id="5" name="Picture 4">
            <a:extLst>
              <a:ext uri="{FF2B5EF4-FFF2-40B4-BE49-F238E27FC236}">
                <a16:creationId xmlns:a16="http://schemas.microsoft.com/office/drawing/2014/main" id="{323A7D53-51A0-43DB-B005-CF90D9BB7DFE}"/>
              </a:ext>
            </a:extLst>
          </p:cNvPr>
          <p:cNvPicPr>
            <a:picLocks noChangeAspect="1"/>
          </p:cNvPicPr>
          <p:nvPr/>
        </p:nvPicPr>
        <p:blipFill>
          <a:blip r:embed="rId2"/>
          <a:stretch>
            <a:fillRect/>
          </a:stretch>
        </p:blipFill>
        <p:spPr>
          <a:xfrm>
            <a:off x="1123805" y="2571750"/>
            <a:ext cx="5402732" cy="1931670"/>
          </a:xfrm>
          <a:prstGeom prst="rect">
            <a:avLst/>
          </a:prstGeom>
        </p:spPr>
      </p:pic>
    </p:spTree>
    <p:extLst>
      <p:ext uri="{BB962C8B-B14F-4D97-AF65-F5344CB8AC3E}">
        <p14:creationId xmlns:p14="http://schemas.microsoft.com/office/powerpoint/2010/main" val="1274034444"/>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76DBB-8ECF-4567-A38D-5A24476D6577}"/>
              </a:ext>
            </a:extLst>
          </p:cNvPr>
          <p:cNvSpPr>
            <a:spLocks noGrp="1"/>
          </p:cNvSpPr>
          <p:nvPr>
            <p:ph type="title"/>
          </p:nvPr>
        </p:nvSpPr>
        <p:spPr>
          <a:xfrm>
            <a:off x="0" y="22860"/>
            <a:ext cx="8598724" cy="640080"/>
          </a:xfrm>
        </p:spPr>
        <p:txBody>
          <a:bodyPr/>
          <a:lstStyle/>
          <a:p>
            <a:r>
              <a:rPr lang="en-US" dirty="0"/>
              <a:t>Correlation</a:t>
            </a:r>
          </a:p>
        </p:txBody>
      </p:sp>
      <p:sp>
        <p:nvSpPr>
          <p:cNvPr id="3" name="Content Placeholder 2">
            <a:extLst>
              <a:ext uri="{FF2B5EF4-FFF2-40B4-BE49-F238E27FC236}">
                <a16:creationId xmlns:a16="http://schemas.microsoft.com/office/drawing/2014/main" id="{B7539B1F-DF25-4AA4-977D-D1A34E8A7D99}"/>
              </a:ext>
            </a:extLst>
          </p:cNvPr>
          <p:cNvSpPr>
            <a:spLocks noGrp="1"/>
          </p:cNvSpPr>
          <p:nvPr>
            <p:ph sz="half" idx="13"/>
          </p:nvPr>
        </p:nvSpPr>
        <p:spPr>
          <a:xfrm>
            <a:off x="0" y="505363"/>
            <a:ext cx="8918541" cy="3200400"/>
          </a:xfrm>
        </p:spPr>
        <p:txBody>
          <a:bodyPr/>
          <a:lstStyle/>
          <a:p>
            <a:r>
              <a:rPr lang="en-US" b="0" i="0" dirty="0">
                <a:solidFill>
                  <a:schemeClr val="bg2">
                    <a:lumMod val="50000"/>
                    <a:lumOff val="50000"/>
                  </a:schemeClr>
                </a:solidFill>
                <a:effectLst/>
                <a:latin typeface="Verdana" panose="020B0604030504040204" pitchFamily="34" charset="0"/>
              </a:rPr>
              <a:t>When two sets of data are strongly linked together, we say they have a </a:t>
            </a:r>
            <a:r>
              <a:rPr lang="en-US" b="1" i="0" dirty="0">
                <a:solidFill>
                  <a:schemeClr val="bg2">
                    <a:lumMod val="50000"/>
                    <a:lumOff val="50000"/>
                  </a:schemeClr>
                </a:solidFill>
                <a:effectLst/>
                <a:latin typeface="Verdana" panose="020B0604030504040204" pitchFamily="34" charset="0"/>
              </a:rPr>
              <a:t>High Correlatio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7DB1435-794D-4ED8-9D47-3925A9A143B1}"/>
              </a:ext>
            </a:extLst>
          </p:cNvPr>
          <p:cNvPicPr>
            <a:picLocks noChangeAspect="1"/>
          </p:cNvPicPr>
          <p:nvPr/>
        </p:nvPicPr>
        <p:blipFill>
          <a:blip r:embed="rId2"/>
          <a:stretch>
            <a:fillRect/>
          </a:stretch>
        </p:blipFill>
        <p:spPr>
          <a:xfrm>
            <a:off x="481667" y="794865"/>
            <a:ext cx="4467225" cy="2171700"/>
          </a:xfrm>
          <a:prstGeom prst="rect">
            <a:avLst/>
          </a:prstGeom>
        </p:spPr>
      </p:pic>
      <p:pic>
        <p:nvPicPr>
          <p:cNvPr id="7" name="Picture 6">
            <a:extLst>
              <a:ext uri="{FF2B5EF4-FFF2-40B4-BE49-F238E27FC236}">
                <a16:creationId xmlns:a16="http://schemas.microsoft.com/office/drawing/2014/main" id="{DE30AE90-61F3-4883-93FA-EA1B18A2BD3C}"/>
              </a:ext>
            </a:extLst>
          </p:cNvPr>
          <p:cNvPicPr>
            <a:picLocks noChangeAspect="1"/>
          </p:cNvPicPr>
          <p:nvPr/>
        </p:nvPicPr>
        <p:blipFill>
          <a:blip r:embed="rId3"/>
          <a:stretch>
            <a:fillRect/>
          </a:stretch>
        </p:blipFill>
        <p:spPr>
          <a:xfrm>
            <a:off x="5094349" y="794865"/>
            <a:ext cx="1524000" cy="2114550"/>
          </a:xfrm>
          <a:prstGeom prst="rect">
            <a:avLst/>
          </a:prstGeom>
        </p:spPr>
      </p:pic>
      <p:pic>
        <p:nvPicPr>
          <p:cNvPr id="9" name="Picture 8">
            <a:extLst>
              <a:ext uri="{FF2B5EF4-FFF2-40B4-BE49-F238E27FC236}">
                <a16:creationId xmlns:a16="http://schemas.microsoft.com/office/drawing/2014/main" id="{340E5063-21FB-4C74-8F96-B906EFD88A76}"/>
              </a:ext>
            </a:extLst>
          </p:cNvPr>
          <p:cNvPicPr>
            <a:picLocks noChangeAspect="1"/>
          </p:cNvPicPr>
          <p:nvPr/>
        </p:nvPicPr>
        <p:blipFill>
          <a:blip r:embed="rId4"/>
          <a:stretch>
            <a:fillRect/>
          </a:stretch>
        </p:blipFill>
        <p:spPr>
          <a:xfrm>
            <a:off x="1785465" y="3000375"/>
            <a:ext cx="3896379" cy="1992467"/>
          </a:xfrm>
          <a:prstGeom prst="rect">
            <a:avLst/>
          </a:prstGeom>
        </p:spPr>
      </p:pic>
    </p:spTree>
    <p:extLst>
      <p:ext uri="{BB962C8B-B14F-4D97-AF65-F5344CB8AC3E}">
        <p14:creationId xmlns:p14="http://schemas.microsoft.com/office/powerpoint/2010/main" val="3654578520"/>
      </p:ext>
    </p:extLst>
  </p:cSld>
  <p:clrMapOvr>
    <a:masterClrMapping/>
  </p:clrMapOvr>
  <p:transition spd="med">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7B85C-624C-45F4-9762-37B9DF7C8893}"/>
              </a:ext>
            </a:extLst>
          </p:cNvPr>
          <p:cNvSpPr>
            <a:spLocks noGrp="1"/>
          </p:cNvSpPr>
          <p:nvPr>
            <p:ph type="title"/>
          </p:nvPr>
        </p:nvSpPr>
        <p:spPr>
          <a:xfrm>
            <a:off x="0" y="22860"/>
            <a:ext cx="8535903" cy="640080"/>
          </a:xfrm>
        </p:spPr>
        <p:txBody>
          <a:bodyPr/>
          <a:lstStyle/>
          <a:p>
            <a:r>
              <a:rPr lang="en-US" dirty="0"/>
              <a:t>Correlation - continued</a:t>
            </a:r>
          </a:p>
        </p:txBody>
      </p:sp>
      <p:sp>
        <p:nvSpPr>
          <p:cNvPr id="3" name="Content Placeholder 2">
            <a:extLst>
              <a:ext uri="{FF2B5EF4-FFF2-40B4-BE49-F238E27FC236}">
                <a16:creationId xmlns:a16="http://schemas.microsoft.com/office/drawing/2014/main" id="{E1B18987-248B-423A-89C7-35FA1BCB556E}"/>
              </a:ext>
            </a:extLst>
          </p:cNvPr>
          <p:cNvSpPr>
            <a:spLocks noGrp="1"/>
          </p:cNvSpPr>
          <p:nvPr>
            <p:ph sz="half" idx="13"/>
          </p:nvPr>
        </p:nvSpPr>
        <p:spPr>
          <a:xfrm>
            <a:off x="63456" y="662940"/>
            <a:ext cx="8408990" cy="3200400"/>
          </a:xfrm>
        </p:spPr>
        <p:txBody>
          <a:bodyPr/>
          <a:lstStyle/>
          <a:p>
            <a:pPr marL="0" indent="0">
              <a:buNone/>
            </a:pPr>
            <a:r>
              <a:rPr lang="en-US" b="1" dirty="0">
                <a:solidFill>
                  <a:srgbClr val="FF0000"/>
                </a:solidFill>
                <a:effectLst/>
                <a:latin typeface="champ"/>
              </a:rPr>
              <a:t>Correlation Is Not Good at Curves</a:t>
            </a:r>
          </a:p>
          <a:p>
            <a:r>
              <a:rPr lang="en-US" b="1" dirty="0">
                <a:solidFill>
                  <a:schemeClr val="bg2">
                    <a:lumMod val="50000"/>
                    <a:lumOff val="50000"/>
                  </a:schemeClr>
                </a:solidFill>
              </a:rPr>
              <a:t>Ex: </a:t>
            </a:r>
            <a:r>
              <a:rPr lang="en-US" dirty="0">
                <a:solidFill>
                  <a:schemeClr val="bg2">
                    <a:lumMod val="50000"/>
                    <a:lumOff val="50000"/>
                  </a:schemeClr>
                </a:solidFill>
              </a:rPr>
              <a:t>Ice Cream shop keeps track of how much ice cream they sell versus the temperature on that day</a:t>
            </a:r>
          </a:p>
          <a:p>
            <a:r>
              <a:rPr lang="en-US" dirty="0">
                <a:solidFill>
                  <a:schemeClr val="bg2">
                    <a:lumMod val="50000"/>
                    <a:lumOff val="50000"/>
                  </a:schemeClr>
                </a:solidFill>
              </a:rPr>
              <a:t>The correlation calculation only works properly for straight line relationships</a:t>
            </a:r>
          </a:p>
          <a:p>
            <a:r>
              <a:rPr lang="en-US" b="1" dirty="0">
                <a:solidFill>
                  <a:schemeClr val="bg2">
                    <a:lumMod val="50000"/>
                    <a:lumOff val="50000"/>
                  </a:schemeClr>
                </a:solidFill>
              </a:rPr>
              <a:t>Ex: </a:t>
            </a:r>
            <a:r>
              <a:rPr lang="en-US" dirty="0">
                <a:solidFill>
                  <a:schemeClr val="bg2">
                    <a:lumMod val="50000"/>
                    <a:lumOff val="50000"/>
                  </a:schemeClr>
                </a:solidFill>
              </a:rPr>
              <a:t>there has been a heart wave! It gets so hot that people aren’t going to the shop, and sales start dropping</a:t>
            </a:r>
          </a:p>
        </p:txBody>
      </p:sp>
    </p:spTree>
    <p:extLst>
      <p:ext uri="{BB962C8B-B14F-4D97-AF65-F5344CB8AC3E}">
        <p14:creationId xmlns:p14="http://schemas.microsoft.com/office/powerpoint/2010/main" val="2055871581"/>
      </p:ext>
    </p:extLst>
  </p:cSld>
  <p:clrMapOvr>
    <a:masterClrMapping/>
  </p:clrMapOvr>
  <p:transition spd="med">
    <p:wipe dir="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2322-AFA8-42E4-8E76-348C567AB262}"/>
              </a:ext>
            </a:extLst>
          </p:cNvPr>
          <p:cNvSpPr>
            <a:spLocks noGrp="1"/>
          </p:cNvSpPr>
          <p:nvPr>
            <p:ph type="title"/>
          </p:nvPr>
        </p:nvSpPr>
        <p:spPr>
          <a:xfrm>
            <a:off x="0" y="0"/>
            <a:ext cx="8647585"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910E7ECD-077C-4B0A-867E-43A7BDB6F0C6}"/>
              </a:ext>
            </a:extLst>
          </p:cNvPr>
          <p:cNvSpPr>
            <a:spLocks noGrp="1"/>
          </p:cNvSpPr>
          <p:nvPr>
            <p:ph sz="half" idx="13"/>
          </p:nvPr>
        </p:nvSpPr>
        <p:spPr>
          <a:xfrm>
            <a:off x="120757" y="728728"/>
            <a:ext cx="8647584" cy="3200400"/>
          </a:xfrm>
        </p:spPr>
        <p:txBody>
          <a:bodyPr/>
          <a:lstStyle/>
          <a:p>
            <a:pPr algn="l"/>
            <a:r>
              <a:rPr lang="en-US" b="0" i="0" dirty="0">
                <a:solidFill>
                  <a:schemeClr val="bg2">
                    <a:lumMod val="50000"/>
                    <a:lumOff val="50000"/>
                  </a:schemeClr>
                </a:solidFill>
                <a:effectLst/>
                <a:latin typeface="Verdana" panose="020B0604030504040204" pitchFamily="34" charset="0"/>
              </a:rPr>
              <a:t>A common saying is "Correlation Is Not Causation".</a:t>
            </a:r>
          </a:p>
          <a:p>
            <a:pPr algn="l"/>
            <a:r>
              <a:rPr lang="en-US" b="0" i="0" dirty="0">
                <a:solidFill>
                  <a:schemeClr val="bg2">
                    <a:lumMod val="50000"/>
                    <a:lumOff val="50000"/>
                  </a:schemeClr>
                </a:solidFill>
                <a:effectLst/>
                <a:latin typeface="Verdana" panose="020B0604030504040204" pitchFamily="34" charset="0"/>
              </a:rPr>
              <a:t>What it </a:t>
            </a:r>
            <a:r>
              <a:rPr lang="en-US" b="1" i="0" dirty="0">
                <a:solidFill>
                  <a:schemeClr val="bg2">
                    <a:lumMod val="50000"/>
                    <a:lumOff val="50000"/>
                  </a:schemeClr>
                </a:solidFill>
                <a:effectLst/>
                <a:latin typeface="Verdana" panose="020B0604030504040204" pitchFamily="34" charset="0"/>
              </a:rPr>
              <a:t>really</a:t>
            </a:r>
            <a:r>
              <a:rPr lang="en-US" b="0" i="0" dirty="0">
                <a:solidFill>
                  <a:schemeClr val="bg2">
                    <a:lumMod val="50000"/>
                    <a:lumOff val="50000"/>
                  </a:schemeClr>
                </a:solidFill>
                <a:effectLst/>
                <a:latin typeface="Verdana" panose="020B0604030504040204" pitchFamily="34" charset="0"/>
              </a:rPr>
              <a:t> means is that a correlation does </a:t>
            </a:r>
            <a:r>
              <a:rPr lang="en-US" b="1" i="0" dirty="0">
                <a:solidFill>
                  <a:schemeClr val="bg2">
                    <a:lumMod val="50000"/>
                    <a:lumOff val="50000"/>
                  </a:schemeClr>
                </a:solidFill>
                <a:effectLst/>
                <a:latin typeface="Verdana" panose="020B0604030504040204" pitchFamily="34" charset="0"/>
              </a:rPr>
              <a:t>not prove</a:t>
            </a:r>
            <a:r>
              <a:rPr lang="en-US" b="0" i="0" dirty="0">
                <a:solidFill>
                  <a:schemeClr val="bg2">
                    <a:lumMod val="50000"/>
                    <a:lumOff val="50000"/>
                  </a:schemeClr>
                </a:solidFill>
                <a:effectLst/>
                <a:latin typeface="Verdana" panose="020B0604030504040204" pitchFamily="34" charset="0"/>
              </a:rPr>
              <a:t> one thing causes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ne thing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other</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 other </a:t>
            </a:r>
            <a:r>
              <a:rPr lang="en-US" b="1" i="0" dirty="0">
                <a:solidFill>
                  <a:schemeClr val="bg2">
                    <a:lumMod val="50000"/>
                    <a:lumOff val="50000"/>
                  </a:schemeClr>
                </a:solidFill>
                <a:effectLst/>
                <a:latin typeface="Verdana" panose="020B0604030504040204" pitchFamily="34" charset="0"/>
              </a:rPr>
              <a:t>might</a:t>
            </a:r>
            <a:r>
              <a:rPr lang="en-US" b="0" i="0" dirty="0">
                <a:solidFill>
                  <a:schemeClr val="bg2">
                    <a:lumMod val="50000"/>
                    <a:lumOff val="50000"/>
                  </a:schemeClr>
                </a:solidFill>
                <a:effectLst/>
                <a:latin typeface="Verdana" panose="020B0604030504040204" pitchFamily="34" charset="0"/>
              </a:rPr>
              <a:t> cause the first to happen</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They may be linked by a different thing</a:t>
            </a:r>
          </a:p>
          <a:p>
            <a:pPr algn="l">
              <a:buFont typeface="Arial" panose="020B0604020202020204" pitchFamily="34" charset="0"/>
              <a:buChar char="•"/>
            </a:pPr>
            <a:r>
              <a:rPr lang="en-US" b="0" i="0" dirty="0">
                <a:solidFill>
                  <a:schemeClr val="bg2">
                    <a:lumMod val="50000"/>
                    <a:lumOff val="50000"/>
                  </a:schemeClr>
                </a:solidFill>
                <a:effectLst/>
                <a:latin typeface="Verdana" panose="020B0604030504040204" pitchFamily="34" charset="0"/>
              </a:rPr>
              <a:t>Or it could be random chance!</a:t>
            </a:r>
          </a:p>
          <a:p>
            <a:pPr algn="l"/>
            <a:r>
              <a:rPr lang="en-US" b="0" i="0" dirty="0">
                <a:solidFill>
                  <a:schemeClr val="bg2">
                    <a:lumMod val="50000"/>
                    <a:lumOff val="50000"/>
                  </a:schemeClr>
                </a:solidFill>
                <a:effectLst/>
                <a:latin typeface="Verdana" panose="020B0604030504040204" pitchFamily="34" charset="0"/>
              </a:rPr>
              <a:t>There can be many reasons the data has a good correlation.</a:t>
            </a:r>
          </a:p>
          <a:p>
            <a:endParaRPr lang="en-US" dirty="0"/>
          </a:p>
        </p:txBody>
      </p:sp>
    </p:spTree>
    <p:extLst>
      <p:ext uri="{BB962C8B-B14F-4D97-AF65-F5344CB8AC3E}">
        <p14:creationId xmlns:p14="http://schemas.microsoft.com/office/powerpoint/2010/main" val="2076917634"/>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28B9C-5A0D-4151-ADA4-DBBD1CD8C76F}"/>
              </a:ext>
            </a:extLst>
          </p:cNvPr>
          <p:cNvSpPr>
            <a:spLocks noGrp="1"/>
          </p:cNvSpPr>
          <p:nvPr>
            <p:ph type="title"/>
          </p:nvPr>
        </p:nvSpPr>
        <p:spPr>
          <a:xfrm>
            <a:off x="0" y="22860"/>
            <a:ext cx="7063090" cy="640080"/>
          </a:xfrm>
        </p:spPr>
        <p:txBody>
          <a:bodyPr/>
          <a:lstStyle/>
          <a:p>
            <a:r>
              <a:rPr lang="en-US" dirty="0"/>
              <a:t>Correlation is NOT Causation</a:t>
            </a:r>
          </a:p>
        </p:txBody>
      </p:sp>
      <p:sp>
        <p:nvSpPr>
          <p:cNvPr id="3" name="Content Placeholder 2">
            <a:extLst>
              <a:ext uri="{FF2B5EF4-FFF2-40B4-BE49-F238E27FC236}">
                <a16:creationId xmlns:a16="http://schemas.microsoft.com/office/drawing/2014/main" id="{67945CBD-392E-471D-8A2A-A5126063986A}"/>
              </a:ext>
            </a:extLst>
          </p:cNvPr>
          <p:cNvSpPr>
            <a:spLocks noGrp="1"/>
          </p:cNvSpPr>
          <p:nvPr>
            <p:ph sz="half" idx="13"/>
          </p:nvPr>
        </p:nvSpPr>
        <p:spPr>
          <a:xfrm>
            <a:off x="50955" y="662940"/>
            <a:ext cx="8332208" cy="3200400"/>
          </a:xfrm>
        </p:spPr>
        <p:txBody>
          <a:bodyPr/>
          <a:lstStyle/>
          <a:p>
            <a:r>
              <a:rPr lang="en-US" dirty="0"/>
              <a:t>Ex : Sun glass vs Ice cream</a:t>
            </a:r>
          </a:p>
          <a:p>
            <a:endParaRPr lang="en-US" dirty="0"/>
          </a:p>
          <a:p>
            <a:endParaRPr lang="en-US" dirty="0"/>
          </a:p>
          <a:p>
            <a:endParaRPr lang="en-US" dirty="0"/>
          </a:p>
          <a:p>
            <a:endParaRPr lang="en-US" dirty="0"/>
          </a:p>
          <a:p>
            <a:endParaRPr lang="en-US" dirty="0"/>
          </a:p>
          <a:p>
            <a:r>
              <a:rPr lang="en-US" dirty="0"/>
              <a:t>Ex : </a:t>
            </a:r>
            <a:r>
              <a:rPr lang="en-US" b="0" i="0" dirty="0">
                <a:solidFill>
                  <a:srgbClr val="333333"/>
                </a:solidFill>
                <a:effectLst/>
                <a:latin typeface="Verdana" panose="020B0604030504040204" pitchFamily="34" charset="0"/>
              </a:rPr>
              <a:t>Poor suburbs are more likely to have high pollution.</a:t>
            </a:r>
          </a:p>
          <a:p>
            <a:endParaRPr lang="en-US" dirty="0"/>
          </a:p>
        </p:txBody>
      </p:sp>
    </p:spTree>
    <p:extLst>
      <p:ext uri="{BB962C8B-B14F-4D97-AF65-F5344CB8AC3E}">
        <p14:creationId xmlns:p14="http://schemas.microsoft.com/office/powerpoint/2010/main" val="1698398126"/>
      </p:ext>
    </p:extLst>
  </p:cSld>
  <p:clrMapOvr>
    <a:masterClrMapping/>
  </p:clrMapOvr>
  <p:transition spd="med">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B2D5-35C4-4911-AD10-0C5D0D1708E4}"/>
              </a:ext>
            </a:extLst>
          </p:cNvPr>
          <p:cNvSpPr>
            <a:spLocks noGrp="1"/>
          </p:cNvSpPr>
          <p:nvPr>
            <p:ph type="title"/>
          </p:nvPr>
        </p:nvSpPr>
        <p:spPr>
          <a:xfrm>
            <a:off x="0" y="0"/>
            <a:ext cx="8068232" cy="640080"/>
          </a:xfrm>
        </p:spPr>
        <p:txBody>
          <a:bodyPr/>
          <a:lstStyle/>
          <a:p>
            <a:r>
              <a:rPr lang="en-US" dirty="0"/>
              <a:t>Correlation is NOT Causation </a:t>
            </a:r>
            <a:r>
              <a:rPr lang="en-US" dirty="0">
                <a:solidFill>
                  <a:schemeClr val="bg2">
                    <a:lumMod val="50000"/>
                    <a:lumOff val="50000"/>
                  </a:schemeClr>
                </a:solidFill>
              </a:rPr>
              <a:t>– </a:t>
            </a:r>
            <a:r>
              <a:rPr lang="en-US" i="1" dirty="0">
                <a:solidFill>
                  <a:schemeClr val="bg2">
                    <a:lumMod val="50000"/>
                    <a:lumOff val="50000"/>
                  </a:schemeClr>
                </a:solidFill>
              </a:rPr>
              <a:t>A real case</a:t>
            </a:r>
          </a:p>
        </p:txBody>
      </p:sp>
      <p:sp>
        <p:nvSpPr>
          <p:cNvPr id="3" name="Content Placeholder 2">
            <a:extLst>
              <a:ext uri="{FF2B5EF4-FFF2-40B4-BE49-F238E27FC236}">
                <a16:creationId xmlns:a16="http://schemas.microsoft.com/office/drawing/2014/main" id="{2E41632A-9F27-4921-A183-99DA3F674E36}"/>
              </a:ext>
            </a:extLst>
          </p:cNvPr>
          <p:cNvSpPr>
            <a:spLocks noGrp="1"/>
          </p:cNvSpPr>
          <p:nvPr>
            <p:ph sz="half" idx="13"/>
          </p:nvPr>
        </p:nvSpPr>
        <p:spPr>
          <a:xfrm>
            <a:off x="134716" y="910212"/>
            <a:ext cx="8004141" cy="3200400"/>
          </a:xfrm>
        </p:spPr>
        <p:txBody>
          <a:bodyPr/>
          <a:lstStyle/>
          <a:p>
            <a:r>
              <a:rPr lang="en-US" b="0" i="0" dirty="0">
                <a:solidFill>
                  <a:schemeClr val="bg2">
                    <a:lumMod val="50000"/>
                    <a:lumOff val="50000"/>
                  </a:schemeClr>
                </a:solidFill>
                <a:effectLst/>
                <a:latin typeface="Verdana" panose="020B0604030504040204" pitchFamily="34" charset="0"/>
              </a:rPr>
              <a:t>A few years ago, a survey of employees found a strong positive correlation between </a:t>
            </a:r>
            <a:r>
              <a:rPr lang="en-US" b="1" i="0" dirty="0">
                <a:solidFill>
                  <a:schemeClr val="bg2">
                    <a:lumMod val="50000"/>
                    <a:lumOff val="50000"/>
                  </a:schemeClr>
                </a:solidFill>
                <a:effectLst/>
                <a:latin typeface="Verdana" panose="020B0604030504040204" pitchFamily="34" charset="0"/>
              </a:rPr>
              <a:t>"Studying an external course"</a:t>
            </a:r>
            <a:r>
              <a:rPr lang="en-US" b="0" i="0" dirty="0">
                <a:solidFill>
                  <a:schemeClr val="bg2">
                    <a:lumMod val="50000"/>
                    <a:lumOff val="50000"/>
                  </a:schemeClr>
                </a:solidFill>
                <a:effectLst/>
                <a:latin typeface="Verdana" panose="020B0604030504040204" pitchFamily="34" charset="0"/>
              </a:rPr>
              <a:t> and </a:t>
            </a:r>
            <a:r>
              <a:rPr lang="en-US" b="1" i="0" dirty="0">
                <a:solidFill>
                  <a:schemeClr val="bg2">
                    <a:lumMod val="50000"/>
                    <a:lumOff val="50000"/>
                  </a:schemeClr>
                </a:solidFill>
                <a:effectLst/>
                <a:latin typeface="Verdana" panose="020B0604030504040204" pitchFamily="34" charset="0"/>
              </a:rPr>
              <a:t>Sick Days</a:t>
            </a:r>
            <a:r>
              <a:rPr lang="en-US" b="0" i="0" dirty="0">
                <a:solidFill>
                  <a:schemeClr val="bg2">
                    <a:lumMod val="50000"/>
                    <a:lumOff val="50000"/>
                  </a:schemeClr>
                </a:solidFill>
                <a:effectLst/>
                <a:latin typeface="Verdana" panose="020B0604030504040204" pitchFamily="34" charset="0"/>
              </a:rPr>
              <a:t>.</a:t>
            </a:r>
            <a:endParaRPr lang="en-US" dirty="0">
              <a:solidFill>
                <a:schemeClr val="bg2">
                  <a:lumMod val="50000"/>
                  <a:lumOff val="50000"/>
                </a:schemeClr>
              </a:solidFill>
            </a:endParaRPr>
          </a:p>
        </p:txBody>
      </p:sp>
    </p:spTree>
    <p:extLst>
      <p:ext uri="{BB962C8B-B14F-4D97-AF65-F5344CB8AC3E}">
        <p14:creationId xmlns:p14="http://schemas.microsoft.com/office/powerpoint/2010/main" val="3487960969"/>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C7D1-6911-4452-AC10-251435381AA2}"/>
              </a:ext>
            </a:extLst>
          </p:cNvPr>
          <p:cNvSpPr>
            <a:spLocks noGrp="1"/>
          </p:cNvSpPr>
          <p:nvPr>
            <p:ph type="title"/>
          </p:nvPr>
        </p:nvSpPr>
        <p:spPr>
          <a:xfrm>
            <a:off x="0" y="0"/>
            <a:ext cx="8235756" cy="640080"/>
          </a:xfrm>
        </p:spPr>
        <p:txBody>
          <a:bodyPr/>
          <a:lstStyle/>
          <a:p>
            <a:r>
              <a:rPr lang="en-US" dirty="0"/>
              <a:t>Skewness</a:t>
            </a:r>
          </a:p>
        </p:txBody>
      </p:sp>
      <p:sp>
        <p:nvSpPr>
          <p:cNvPr id="3" name="Content Placeholder 2">
            <a:extLst>
              <a:ext uri="{FF2B5EF4-FFF2-40B4-BE49-F238E27FC236}">
                <a16:creationId xmlns:a16="http://schemas.microsoft.com/office/drawing/2014/main" id="{EC2A8539-18AA-48D9-93FE-B8AA17B05C34}"/>
              </a:ext>
            </a:extLst>
          </p:cNvPr>
          <p:cNvSpPr>
            <a:spLocks noGrp="1"/>
          </p:cNvSpPr>
          <p:nvPr>
            <p:ph sz="half" idx="13"/>
          </p:nvPr>
        </p:nvSpPr>
        <p:spPr>
          <a:xfrm>
            <a:off x="155658" y="498191"/>
            <a:ext cx="8311268" cy="3200400"/>
          </a:xfrm>
        </p:spPr>
        <p:txBody>
          <a:bodyPr/>
          <a:lstStyle/>
          <a:p>
            <a:r>
              <a:rPr lang="en-US" b="0" i="0" dirty="0">
                <a:solidFill>
                  <a:schemeClr val="bg2">
                    <a:lumMod val="50000"/>
                    <a:lumOff val="50000"/>
                  </a:schemeClr>
                </a:solidFill>
                <a:effectLst/>
                <a:latin typeface="Verdana" panose="020B0604030504040204" pitchFamily="34" charset="0"/>
              </a:rPr>
              <a:t>Data can be "skewed", meaning it tends to have a </a:t>
            </a:r>
            <a:r>
              <a:rPr lang="en-US" b="1" i="0" dirty="0">
                <a:solidFill>
                  <a:schemeClr val="bg2">
                    <a:lumMod val="50000"/>
                    <a:lumOff val="50000"/>
                  </a:schemeClr>
                </a:solidFill>
                <a:effectLst/>
                <a:latin typeface="Verdana" panose="020B0604030504040204" pitchFamily="34" charset="0"/>
              </a:rPr>
              <a:t>long tail</a:t>
            </a:r>
            <a:r>
              <a:rPr lang="en-US" b="0" i="0" dirty="0">
                <a:solidFill>
                  <a:schemeClr val="bg2">
                    <a:lumMod val="50000"/>
                    <a:lumOff val="50000"/>
                  </a:schemeClr>
                </a:solidFill>
                <a:effectLst/>
                <a:latin typeface="Verdana" panose="020B0604030504040204" pitchFamily="34" charset="0"/>
              </a:rPr>
              <a:t> on one side or the other:</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8FBBD97A-BB9E-4561-B27E-EC40AECBB44A}"/>
              </a:ext>
            </a:extLst>
          </p:cNvPr>
          <p:cNvPicPr>
            <a:picLocks noChangeAspect="1"/>
          </p:cNvPicPr>
          <p:nvPr/>
        </p:nvPicPr>
        <p:blipFill>
          <a:blip r:embed="rId2"/>
          <a:stretch>
            <a:fillRect/>
          </a:stretch>
        </p:blipFill>
        <p:spPr>
          <a:xfrm>
            <a:off x="1981950" y="1102840"/>
            <a:ext cx="4495218" cy="1468910"/>
          </a:xfrm>
          <a:prstGeom prst="rect">
            <a:avLst/>
          </a:prstGeom>
        </p:spPr>
      </p:pic>
      <p:sp>
        <p:nvSpPr>
          <p:cNvPr id="6" name="TextBox 5">
            <a:extLst>
              <a:ext uri="{FF2B5EF4-FFF2-40B4-BE49-F238E27FC236}">
                <a16:creationId xmlns:a16="http://schemas.microsoft.com/office/drawing/2014/main" id="{4DDD0657-BEB3-45A9-9F5D-D0BE64ED2E00}"/>
              </a:ext>
            </a:extLst>
          </p:cNvPr>
          <p:cNvSpPr txBox="1"/>
          <p:nvPr/>
        </p:nvSpPr>
        <p:spPr>
          <a:xfrm>
            <a:off x="155658" y="3015426"/>
            <a:ext cx="8832684" cy="1446550"/>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egative Skew : </a:t>
            </a:r>
            <a:r>
              <a:rPr lang="en-US" sz="1100" dirty="0">
                <a:solidFill>
                  <a:schemeClr val="bg2">
                    <a:lumMod val="50000"/>
                    <a:lumOff val="50000"/>
                  </a:schemeClr>
                </a:solidFill>
                <a:latin typeface="Verdana" panose="020B0604030504040204" pitchFamily="34" charset="0"/>
              </a:rPr>
              <a:t>Because the long "tail" is on the negative side of the peak. Some people say it is "skewed to the left" (the long tail is on the left-hand side) </a:t>
            </a:r>
            <a:r>
              <a:rPr lang="en-US" sz="1100" b="1" dirty="0">
                <a:solidFill>
                  <a:schemeClr val="bg2">
                    <a:lumMod val="50000"/>
                    <a:lumOff val="50000"/>
                  </a:schemeClr>
                </a:solidFill>
                <a:highlight>
                  <a:srgbClr val="FFFF00"/>
                </a:highlight>
                <a:latin typeface="Verdana" panose="020B0604030504040204" pitchFamily="34" charset="0"/>
              </a:rPr>
              <a:t>Mode &gt; Median &gt; mean</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Positive Skew : </a:t>
            </a:r>
            <a:r>
              <a:rPr lang="en-US" sz="1100" dirty="0">
                <a:solidFill>
                  <a:schemeClr val="bg2">
                    <a:lumMod val="50000"/>
                    <a:lumOff val="50000"/>
                  </a:schemeClr>
                </a:solidFill>
                <a:latin typeface="Verdana" panose="020B0604030504040204" pitchFamily="34" charset="0"/>
              </a:rPr>
              <a:t>And positive skew is when the long tail is on the positive side of the peak. Some people say it is "skewed to the right". </a:t>
            </a:r>
            <a:r>
              <a:rPr lang="en-US" sz="1100" b="1" dirty="0">
                <a:solidFill>
                  <a:schemeClr val="bg2">
                    <a:lumMod val="50000"/>
                    <a:lumOff val="50000"/>
                  </a:schemeClr>
                </a:solidFill>
                <a:highlight>
                  <a:srgbClr val="FFFF00"/>
                </a:highlight>
                <a:latin typeface="Verdana" panose="020B0604030504040204" pitchFamily="34" charset="0"/>
              </a:rPr>
              <a:t>Mean &gt; Median &gt; Mode</a:t>
            </a:r>
          </a:p>
          <a:p>
            <a:pPr>
              <a:spcBef>
                <a:spcPts val="0"/>
              </a:spcBef>
              <a:spcAft>
                <a:spcPts val="0"/>
              </a:spcAft>
              <a:buClr>
                <a:schemeClr val="bg1"/>
              </a:buClr>
            </a:pPr>
            <a:endParaRPr lang="en-US" sz="11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100" b="1" dirty="0">
                <a:solidFill>
                  <a:schemeClr val="bg2">
                    <a:lumMod val="50000"/>
                    <a:lumOff val="50000"/>
                  </a:schemeClr>
                </a:solidFill>
                <a:latin typeface="Verdana" panose="020B0604030504040204" pitchFamily="34" charset="0"/>
              </a:rPr>
              <a:t>No Skew/ Normal distribution : </a:t>
            </a:r>
            <a:r>
              <a:rPr lang="en-US" sz="1100" dirty="0">
                <a:solidFill>
                  <a:schemeClr val="bg2">
                    <a:lumMod val="50000"/>
                    <a:lumOff val="50000"/>
                  </a:schemeClr>
                </a:solidFill>
                <a:latin typeface="Verdana" panose="020B0604030504040204" pitchFamily="34" charset="0"/>
              </a:rPr>
              <a:t>A </a:t>
            </a:r>
            <a:r>
              <a:rPr lang="en-US" sz="11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Normal Distribution</a:t>
            </a:r>
            <a:r>
              <a:rPr lang="en-US" sz="1100" dirty="0">
                <a:solidFill>
                  <a:schemeClr val="bg2">
                    <a:lumMod val="50000"/>
                    <a:lumOff val="50000"/>
                  </a:schemeClr>
                </a:solidFill>
                <a:latin typeface="Verdana" panose="020B0604030504040204" pitchFamily="34" charset="0"/>
              </a:rPr>
              <a:t> is not skewed. It is perfectly symmetrical. And the Mean is exactly at the peak.  </a:t>
            </a:r>
            <a:r>
              <a:rPr lang="en-US" sz="1100" b="1" dirty="0">
                <a:solidFill>
                  <a:schemeClr val="bg2">
                    <a:lumMod val="50000"/>
                    <a:lumOff val="50000"/>
                  </a:schemeClr>
                </a:solidFill>
                <a:highlight>
                  <a:srgbClr val="FFFF00"/>
                </a:highlight>
                <a:latin typeface="Verdana" panose="020B0604030504040204" pitchFamily="34" charset="0"/>
              </a:rPr>
              <a:t>Mean = Median = Mode</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D3A1CD8D-6CF5-4FF4-A0DF-FB422D8F5554}"/>
                  </a:ext>
                </a:extLst>
              </p14:cNvPr>
              <p14:cNvContentPartPr/>
              <p14:nvPr/>
            </p14:nvContentPartPr>
            <p14:xfrm>
              <a:off x="1366920" y="838080"/>
              <a:ext cx="5253480" cy="3143880"/>
            </p14:xfrm>
          </p:contentPart>
        </mc:Choice>
        <mc:Fallback>
          <p:pic>
            <p:nvPicPr>
              <p:cNvPr id="4" name="Ink 3">
                <a:extLst>
                  <a:ext uri="{FF2B5EF4-FFF2-40B4-BE49-F238E27FC236}">
                    <a16:creationId xmlns:a16="http://schemas.microsoft.com/office/drawing/2014/main" id="{D3A1CD8D-6CF5-4FF4-A0DF-FB422D8F5554}"/>
                  </a:ext>
                </a:extLst>
              </p:cNvPr>
              <p:cNvPicPr/>
              <p:nvPr/>
            </p:nvPicPr>
            <p:blipFill>
              <a:blip r:embed="rId5"/>
              <a:stretch>
                <a:fillRect/>
              </a:stretch>
            </p:blipFill>
            <p:spPr>
              <a:xfrm>
                <a:off x="1357560" y="828720"/>
                <a:ext cx="5272200" cy="3162600"/>
              </a:xfrm>
              <a:prstGeom prst="rect">
                <a:avLst/>
              </a:prstGeom>
            </p:spPr>
          </p:pic>
        </mc:Fallback>
      </mc:AlternateContent>
    </p:spTree>
    <p:extLst>
      <p:ext uri="{BB962C8B-B14F-4D97-AF65-F5344CB8AC3E}">
        <p14:creationId xmlns:p14="http://schemas.microsoft.com/office/powerpoint/2010/main" val="633646377"/>
      </p:ext>
    </p:extLst>
  </p:cSld>
  <p:clrMapOvr>
    <a:masterClrMapping/>
  </p:clrMapOvr>
  <p:transition spd="med">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E2DA9-FC9E-43CF-BAE3-A7A2B4DFF999}"/>
              </a:ext>
            </a:extLst>
          </p:cNvPr>
          <p:cNvSpPr>
            <a:spLocks noGrp="1"/>
          </p:cNvSpPr>
          <p:nvPr>
            <p:ph type="title"/>
          </p:nvPr>
        </p:nvSpPr>
        <p:spPr>
          <a:xfrm>
            <a:off x="0" y="0"/>
            <a:ext cx="4295219" cy="640080"/>
          </a:xfrm>
        </p:spPr>
        <p:txBody>
          <a:bodyPr/>
          <a:lstStyle/>
          <a:p>
            <a:r>
              <a:rPr lang="en-US" dirty="0"/>
              <a:t>Skewness</a:t>
            </a:r>
          </a:p>
        </p:txBody>
      </p:sp>
      <p:sp>
        <p:nvSpPr>
          <p:cNvPr id="3" name="Content Placeholder 2">
            <a:extLst>
              <a:ext uri="{FF2B5EF4-FFF2-40B4-BE49-F238E27FC236}">
                <a16:creationId xmlns:a16="http://schemas.microsoft.com/office/drawing/2014/main" id="{1A728B14-3F80-43DF-8D1E-D9AD7B3827AB}"/>
              </a:ext>
            </a:extLst>
          </p:cNvPr>
          <p:cNvSpPr>
            <a:spLocks noGrp="1"/>
          </p:cNvSpPr>
          <p:nvPr>
            <p:ph sz="half" idx="13"/>
          </p:nvPr>
        </p:nvSpPr>
        <p:spPr>
          <a:xfrm>
            <a:off x="97704" y="735708"/>
            <a:ext cx="8395030" cy="3200400"/>
          </a:xfrm>
        </p:spPr>
        <p:txBody>
          <a:bodyPr/>
          <a:lstStyle/>
          <a:p>
            <a:pPr marL="0" indent="0" algn="l">
              <a:buNone/>
            </a:pPr>
            <a:r>
              <a:rPr lang="en-US" sz="1800" b="1" i="1" dirty="0">
                <a:solidFill>
                  <a:schemeClr val="bg2">
                    <a:lumMod val="50000"/>
                    <a:lumOff val="50000"/>
                  </a:schemeClr>
                </a:solidFill>
                <a:effectLst/>
                <a:latin typeface="Lato" panose="020F0502020204030203" pitchFamily="34" charset="0"/>
              </a:rPr>
              <a:t>Rule of Thumb</a:t>
            </a:r>
            <a:endParaRPr lang="en-US" b="1" i="1" dirty="0">
              <a:solidFill>
                <a:schemeClr val="bg2">
                  <a:lumMod val="50000"/>
                  <a:lumOff val="50000"/>
                </a:schemeClr>
              </a:solidFill>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0.5 &amp; 0.5, the data are nearly symmetrical.</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between -1 &amp; -0.5 (negative skewed) or between 0.5 &amp; 1(positive skewed), the data are slightly skewed.</a:t>
            </a:r>
            <a:endParaRPr lang="en-US" b="0" i="0" dirty="0">
              <a:solidFill>
                <a:schemeClr val="bg2">
                  <a:lumMod val="50000"/>
                  <a:lumOff val="50000"/>
                </a:schemeClr>
              </a:solidFill>
              <a:effectLst/>
              <a:latin typeface="Lato" panose="020F0502020204030203" pitchFamily="34" charset="0"/>
            </a:endParaRPr>
          </a:p>
          <a:p>
            <a:pPr algn="l"/>
            <a:r>
              <a:rPr lang="en-US" b="1" i="1" dirty="0">
                <a:solidFill>
                  <a:schemeClr val="bg2">
                    <a:lumMod val="50000"/>
                    <a:lumOff val="50000"/>
                  </a:schemeClr>
                </a:solidFill>
                <a:effectLst/>
                <a:latin typeface="Lato" panose="020F0502020204030203" pitchFamily="34" charset="0"/>
              </a:rPr>
              <a:t>If the skewness is lower than -1 (negative skewed) or greater than 1 (positive skewed), the data are extremely skewed.</a:t>
            </a:r>
            <a:endParaRPr lang="en-US" b="0" i="0" dirty="0">
              <a:solidFill>
                <a:schemeClr val="bg2">
                  <a:lumMod val="50000"/>
                  <a:lumOff val="50000"/>
                </a:schemeClr>
              </a:solidFill>
              <a:effectLst/>
              <a:latin typeface="Lato" panose="020F0502020204030203" pitchFamily="34" charset="0"/>
            </a:endParaRPr>
          </a:p>
          <a:p>
            <a:endParaRPr lang="en-US" dirty="0"/>
          </a:p>
        </p:txBody>
      </p:sp>
      <p:pic>
        <p:nvPicPr>
          <p:cNvPr id="5" name="Picture 4">
            <a:extLst>
              <a:ext uri="{FF2B5EF4-FFF2-40B4-BE49-F238E27FC236}">
                <a16:creationId xmlns:a16="http://schemas.microsoft.com/office/drawing/2014/main" id="{C3E07149-6BD1-4596-AA71-BFF198CA823C}"/>
              </a:ext>
            </a:extLst>
          </p:cNvPr>
          <p:cNvPicPr>
            <a:picLocks noChangeAspect="1"/>
          </p:cNvPicPr>
          <p:nvPr/>
        </p:nvPicPr>
        <p:blipFill>
          <a:blip r:embed="rId2"/>
          <a:stretch>
            <a:fillRect/>
          </a:stretch>
        </p:blipFill>
        <p:spPr>
          <a:xfrm>
            <a:off x="2351446" y="2635495"/>
            <a:ext cx="3979552" cy="247202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1EB66210-A119-474D-B3DE-3C4575FFA321}"/>
                  </a:ext>
                </a:extLst>
              </p14:cNvPr>
              <p14:cNvContentPartPr/>
              <p14:nvPr/>
            </p14:nvContentPartPr>
            <p14:xfrm>
              <a:off x="557280" y="1343160"/>
              <a:ext cx="7644240" cy="1848240"/>
            </p14:xfrm>
          </p:contentPart>
        </mc:Choice>
        <mc:Fallback>
          <p:pic>
            <p:nvPicPr>
              <p:cNvPr id="4" name="Ink 3">
                <a:extLst>
                  <a:ext uri="{FF2B5EF4-FFF2-40B4-BE49-F238E27FC236}">
                    <a16:creationId xmlns:a16="http://schemas.microsoft.com/office/drawing/2014/main" id="{1EB66210-A119-474D-B3DE-3C4575FFA321}"/>
                  </a:ext>
                </a:extLst>
              </p:cNvPr>
              <p:cNvPicPr/>
              <p:nvPr/>
            </p:nvPicPr>
            <p:blipFill>
              <a:blip r:embed="rId4"/>
              <a:stretch>
                <a:fillRect/>
              </a:stretch>
            </p:blipFill>
            <p:spPr>
              <a:xfrm>
                <a:off x="547920" y="1333800"/>
                <a:ext cx="7662960" cy="1866960"/>
              </a:xfrm>
              <a:prstGeom prst="rect">
                <a:avLst/>
              </a:prstGeom>
            </p:spPr>
          </p:pic>
        </mc:Fallback>
      </mc:AlternateContent>
    </p:spTree>
    <p:extLst>
      <p:ext uri="{BB962C8B-B14F-4D97-AF65-F5344CB8AC3E}">
        <p14:creationId xmlns:p14="http://schemas.microsoft.com/office/powerpoint/2010/main" val="2357723908"/>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36DAF-09E4-47BA-9652-085B74E6F8F5}"/>
              </a:ext>
            </a:extLst>
          </p:cNvPr>
          <p:cNvSpPr>
            <a:spLocks noGrp="1"/>
          </p:cNvSpPr>
          <p:nvPr>
            <p:ph type="title"/>
          </p:nvPr>
        </p:nvSpPr>
        <p:spPr>
          <a:xfrm>
            <a:off x="0" y="0"/>
            <a:ext cx="7698284" cy="640080"/>
          </a:xfrm>
        </p:spPr>
        <p:txBody>
          <a:bodyPr/>
          <a:lstStyle/>
          <a:p>
            <a:r>
              <a:rPr lang="en-US" dirty="0"/>
              <a:t>Kurtosis</a:t>
            </a:r>
          </a:p>
        </p:txBody>
      </p:sp>
      <p:sp>
        <p:nvSpPr>
          <p:cNvPr id="3" name="Content Placeholder 2">
            <a:extLst>
              <a:ext uri="{FF2B5EF4-FFF2-40B4-BE49-F238E27FC236}">
                <a16:creationId xmlns:a16="http://schemas.microsoft.com/office/drawing/2014/main" id="{DE4415F1-A054-4D2C-B846-68D88051A638}"/>
              </a:ext>
            </a:extLst>
          </p:cNvPr>
          <p:cNvSpPr>
            <a:spLocks noGrp="1"/>
          </p:cNvSpPr>
          <p:nvPr>
            <p:ph sz="half" idx="13"/>
          </p:nvPr>
        </p:nvSpPr>
        <p:spPr>
          <a:xfrm>
            <a:off x="0" y="640080"/>
            <a:ext cx="8806859" cy="3200400"/>
          </a:xfrm>
        </p:spPr>
        <p:txBody>
          <a:bodyPr/>
          <a:lstStyle/>
          <a:p>
            <a:r>
              <a:rPr lang="en-US" dirty="0"/>
              <a:t>Kurtosis is all about the tails of distribution. Kurtosis refers to the degree of presence of outliers in the distribution.</a:t>
            </a:r>
          </a:p>
          <a:p>
            <a:r>
              <a:rPr lang="en-US" dirty="0"/>
              <a:t>Kurtosis is a statistical measure, whether the data is heavy-tailed or light-tailed in a normal distribution</a:t>
            </a:r>
          </a:p>
        </p:txBody>
      </p:sp>
      <p:pic>
        <p:nvPicPr>
          <p:cNvPr id="5" name="Picture 4">
            <a:extLst>
              <a:ext uri="{FF2B5EF4-FFF2-40B4-BE49-F238E27FC236}">
                <a16:creationId xmlns:a16="http://schemas.microsoft.com/office/drawing/2014/main" id="{970CD22C-2AFE-44F1-8CF3-3589424ED694}"/>
              </a:ext>
            </a:extLst>
          </p:cNvPr>
          <p:cNvPicPr>
            <a:picLocks noChangeAspect="1"/>
          </p:cNvPicPr>
          <p:nvPr/>
        </p:nvPicPr>
        <p:blipFill>
          <a:blip r:embed="rId2"/>
          <a:stretch>
            <a:fillRect/>
          </a:stretch>
        </p:blipFill>
        <p:spPr>
          <a:xfrm>
            <a:off x="168664" y="2067179"/>
            <a:ext cx="4234765" cy="205577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E795DD1A-4E0F-4E08-951A-4BA79C26C76A}"/>
                  </a:ext>
                </a:extLst>
              </p14:cNvPr>
              <p14:cNvContentPartPr/>
              <p14:nvPr/>
            </p14:nvContentPartPr>
            <p14:xfrm>
              <a:off x="457200" y="204840"/>
              <a:ext cx="8453880" cy="4791240"/>
            </p14:xfrm>
          </p:contentPart>
        </mc:Choice>
        <mc:Fallback>
          <p:pic>
            <p:nvPicPr>
              <p:cNvPr id="4" name="Ink 3">
                <a:extLst>
                  <a:ext uri="{FF2B5EF4-FFF2-40B4-BE49-F238E27FC236}">
                    <a16:creationId xmlns:a16="http://schemas.microsoft.com/office/drawing/2014/main" id="{E795DD1A-4E0F-4E08-951A-4BA79C26C76A}"/>
                  </a:ext>
                </a:extLst>
              </p:cNvPr>
              <p:cNvPicPr/>
              <p:nvPr/>
            </p:nvPicPr>
            <p:blipFill>
              <a:blip r:embed="rId4"/>
              <a:stretch>
                <a:fillRect/>
              </a:stretch>
            </p:blipFill>
            <p:spPr>
              <a:xfrm>
                <a:off x="447840" y="195480"/>
                <a:ext cx="8472600" cy="4809960"/>
              </a:xfrm>
              <a:prstGeom prst="rect">
                <a:avLst/>
              </a:prstGeom>
            </p:spPr>
          </p:pic>
        </mc:Fallback>
      </mc:AlternateContent>
    </p:spTree>
    <p:extLst>
      <p:ext uri="{BB962C8B-B14F-4D97-AF65-F5344CB8AC3E}">
        <p14:creationId xmlns:p14="http://schemas.microsoft.com/office/powerpoint/2010/main" val="2555396937"/>
      </p:ext>
    </p:extLst>
  </p:cSld>
  <p:clrMapOvr>
    <a:masterClrMapping/>
  </p:clrMapOvr>
  <p:transition spd="med">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C892D-1961-44E5-A4AD-FA93118FA777}"/>
              </a:ext>
            </a:extLst>
          </p:cNvPr>
          <p:cNvSpPr>
            <a:spLocks noGrp="1"/>
          </p:cNvSpPr>
          <p:nvPr>
            <p:ph type="title"/>
          </p:nvPr>
        </p:nvSpPr>
        <p:spPr>
          <a:xfrm>
            <a:off x="0" y="22860"/>
            <a:ext cx="8431200" cy="640080"/>
          </a:xfrm>
        </p:spPr>
        <p:txBody>
          <a:bodyPr/>
          <a:lstStyle/>
          <a:p>
            <a:r>
              <a:rPr lang="en-US" dirty="0"/>
              <a:t>Kurtosis - </a:t>
            </a:r>
            <a:r>
              <a:rPr lang="en-US" dirty="0">
                <a:solidFill>
                  <a:schemeClr val="bg2">
                    <a:lumMod val="50000"/>
                    <a:lumOff val="50000"/>
                  </a:schemeClr>
                </a:solidFill>
              </a:rPr>
              <a:t>Leptokurtic (kurtosis &gt; 3)</a:t>
            </a:r>
          </a:p>
        </p:txBody>
      </p:sp>
      <p:sp>
        <p:nvSpPr>
          <p:cNvPr id="3" name="Content Placeholder 2">
            <a:extLst>
              <a:ext uri="{FF2B5EF4-FFF2-40B4-BE49-F238E27FC236}">
                <a16:creationId xmlns:a16="http://schemas.microsoft.com/office/drawing/2014/main" id="{CBF641C7-38B0-421A-8550-68564CC3C5F8}"/>
              </a:ext>
            </a:extLst>
          </p:cNvPr>
          <p:cNvSpPr>
            <a:spLocks noGrp="1"/>
          </p:cNvSpPr>
          <p:nvPr>
            <p:ph sz="half" idx="13"/>
          </p:nvPr>
        </p:nvSpPr>
        <p:spPr>
          <a:xfrm>
            <a:off x="0" y="791550"/>
            <a:ext cx="8869680" cy="890667"/>
          </a:xfrm>
        </p:spPr>
        <p:txBody>
          <a:bodyPr/>
          <a:lstStyle/>
          <a:p>
            <a:r>
              <a:rPr lang="en-US" b="0" i="0" dirty="0">
                <a:solidFill>
                  <a:schemeClr val="bg2">
                    <a:lumMod val="50000"/>
                    <a:lumOff val="50000"/>
                  </a:schemeClr>
                </a:solidFill>
                <a:effectLst/>
                <a:latin typeface="Lato" panose="020F0502020204030203" pitchFamily="34" charset="0"/>
              </a:rPr>
              <a:t>Leptokurtic is having very long and skinny tails, which means there are more chances of outliers. Positive values of kurtosis indicate that distribution is peaked and possesses thick tails. An extreme positive kurtosis indicates a distribution where more of the numbers are located in the tails of the distribution instead of around the mean.</a:t>
            </a:r>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A34C54AF-5930-4EB6-95C1-86BFA7B9F549}"/>
              </a:ext>
            </a:extLst>
          </p:cNvPr>
          <p:cNvPicPr>
            <a:picLocks noChangeAspect="1"/>
          </p:cNvPicPr>
          <p:nvPr/>
        </p:nvPicPr>
        <p:blipFill>
          <a:blip r:embed="rId2"/>
          <a:stretch>
            <a:fillRect/>
          </a:stretch>
        </p:blipFill>
        <p:spPr>
          <a:xfrm>
            <a:off x="1090902" y="2058516"/>
            <a:ext cx="3534349" cy="2805536"/>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B8B7E0BC-8053-4B3A-B111-E8585344CBD2}"/>
                  </a:ext>
                </a:extLst>
              </p14:cNvPr>
              <p14:cNvContentPartPr/>
              <p14:nvPr/>
            </p14:nvContentPartPr>
            <p14:xfrm>
              <a:off x="276120" y="1243080"/>
              <a:ext cx="7839360" cy="462240"/>
            </p14:xfrm>
          </p:contentPart>
        </mc:Choice>
        <mc:Fallback>
          <p:pic>
            <p:nvPicPr>
              <p:cNvPr id="4" name="Ink 3">
                <a:extLst>
                  <a:ext uri="{FF2B5EF4-FFF2-40B4-BE49-F238E27FC236}">
                    <a16:creationId xmlns:a16="http://schemas.microsoft.com/office/drawing/2014/main" id="{B8B7E0BC-8053-4B3A-B111-E8585344CBD2}"/>
                  </a:ext>
                </a:extLst>
              </p:cNvPr>
              <p:cNvPicPr/>
              <p:nvPr/>
            </p:nvPicPr>
            <p:blipFill>
              <a:blip r:embed="rId4"/>
              <a:stretch>
                <a:fillRect/>
              </a:stretch>
            </p:blipFill>
            <p:spPr>
              <a:xfrm>
                <a:off x="266760" y="1233720"/>
                <a:ext cx="7858080" cy="480960"/>
              </a:xfrm>
              <a:prstGeom prst="rect">
                <a:avLst/>
              </a:prstGeom>
            </p:spPr>
          </p:pic>
        </mc:Fallback>
      </mc:AlternateContent>
    </p:spTree>
    <p:extLst>
      <p:ext uri="{BB962C8B-B14F-4D97-AF65-F5344CB8AC3E}">
        <p14:creationId xmlns:p14="http://schemas.microsoft.com/office/powerpoint/2010/main" val="3302442963"/>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922280354"/>
      </p:ext>
    </p:extLst>
  </p:cSld>
  <p:clrMapOvr>
    <a:masterClrMapping/>
  </p:clrMapOvr>
  <p:transition spd="med">
    <p:wipe dir="r"/>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DC36-0840-4E35-B30B-224D7E91E11B}"/>
              </a:ext>
            </a:extLst>
          </p:cNvPr>
          <p:cNvSpPr>
            <a:spLocks noGrp="1"/>
          </p:cNvSpPr>
          <p:nvPr>
            <p:ph type="title"/>
          </p:nvPr>
        </p:nvSpPr>
        <p:spPr>
          <a:xfrm>
            <a:off x="0" y="0"/>
            <a:ext cx="8110113" cy="640080"/>
          </a:xfrm>
        </p:spPr>
        <p:txBody>
          <a:bodyPr/>
          <a:lstStyle/>
          <a:p>
            <a:r>
              <a:rPr lang="en-US" dirty="0"/>
              <a:t>Kurtosis - </a:t>
            </a:r>
            <a:r>
              <a:rPr lang="en-US" dirty="0">
                <a:solidFill>
                  <a:schemeClr val="bg2">
                    <a:lumMod val="50000"/>
                    <a:lumOff val="50000"/>
                  </a:schemeClr>
                </a:solidFill>
              </a:rPr>
              <a:t>Platykurtic (kurtosis &lt; 3)</a:t>
            </a:r>
          </a:p>
        </p:txBody>
      </p:sp>
      <p:sp>
        <p:nvSpPr>
          <p:cNvPr id="3" name="Content Placeholder 2">
            <a:extLst>
              <a:ext uri="{FF2B5EF4-FFF2-40B4-BE49-F238E27FC236}">
                <a16:creationId xmlns:a16="http://schemas.microsoft.com/office/drawing/2014/main" id="{C1A348E2-3B83-4682-B9AF-C9B580C0A291}"/>
              </a:ext>
            </a:extLst>
          </p:cNvPr>
          <p:cNvSpPr>
            <a:spLocks noGrp="1"/>
          </p:cNvSpPr>
          <p:nvPr>
            <p:ph sz="half" idx="13"/>
          </p:nvPr>
        </p:nvSpPr>
        <p:spPr>
          <a:xfrm>
            <a:off x="78875" y="640080"/>
            <a:ext cx="8548593" cy="3200400"/>
          </a:xfrm>
        </p:spPr>
        <p:txBody>
          <a:bodyPr/>
          <a:lstStyle/>
          <a:p>
            <a:r>
              <a:rPr lang="en-US" dirty="0">
                <a:solidFill>
                  <a:schemeClr val="bg2">
                    <a:lumMod val="50000"/>
                    <a:lumOff val="50000"/>
                  </a:schemeClr>
                </a:solidFill>
              </a:rPr>
              <a:t>Platykurtic having a lower tail and stretched around center tails means most of the data points are present in high proximity with mean. A platykurtic distribution is flatter (less peaked) when compared with the normal distribution.</a:t>
            </a:r>
          </a:p>
        </p:txBody>
      </p:sp>
      <p:pic>
        <p:nvPicPr>
          <p:cNvPr id="8" name="Picture 7">
            <a:extLst>
              <a:ext uri="{FF2B5EF4-FFF2-40B4-BE49-F238E27FC236}">
                <a16:creationId xmlns:a16="http://schemas.microsoft.com/office/drawing/2014/main" id="{58284D4D-EB37-494A-B483-7B1DFF69FA8B}"/>
              </a:ext>
            </a:extLst>
          </p:cNvPr>
          <p:cNvPicPr>
            <a:picLocks noChangeAspect="1"/>
          </p:cNvPicPr>
          <p:nvPr/>
        </p:nvPicPr>
        <p:blipFill>
          <a:blip r:embed="rId2"/>
          <a:stretch>
            <a:fillRect/>
          </a:stretch>
        </p:blipFill>
        <p:spPr>
          <a:xfrm>
            <a:off x="2094809" y="1640118"/>
            <a:ext cx="2371725" cy="2114550"/>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5DA454B2-03F2-4418-A145-026848639F39}"/>
                  </a:ext>
                </a:extLst>
              </p14:cNvPr>
              <p14:cNvContentPartPr/>
              <p14:nvPr/>
            </p14:nvContentPartPr>
            <p14:xfrm>
              <a:off x="33480" y="847800"/>
              <a:ext cx="8253720" cy="2953080"/>
            </p14:xfrm>
          </p:contentPart>
        </mc:Choice>
        <mc:Fallback>
          <p:pic>
            <p:nvPicPr>
              <p:cNvPr id="4" name="Ink 3">
                <a:extLst>
                  <a:ext uri="{FF2B5EF4-FFF2-40B4-BE49-F238E27FC236}">
                    <a16:creationId xmlns:a16="http://schemas.microsoft.com/office/drawing/2014/main" id="{5DA454B2-03F2-4418-A145-026848639F39}"/>
                  </a:ext>
                </a:extLst>
              </p:cNvPr>
              <p:cNvPicPr/>
              <p:nvPr/>
            </p:nvPicPr>
            <p:blipFill>
              <a:blip r:embed="rId4"/>
              <a:stretch>
                <a:fillRect/>
              </a:stretch>
            </p:blipFill>
            <p:spPr>
              <a:xfrm>
                <a:off x="24120" y="838440"/>
                <a:ext cx="8272440" cy="2971800"/>
              </a:xfrm>
              <a:prstGeom prst="rect">
                <a:avLst/>
              </a:prstGeom>
            </p:spPr>
          </p:pic>
        </mc:Fallback>
      </mc:AlternateContent>
    </p:spTree>
    <p:extLst>
      <p:ext uri="{BB962C8B-B14F-4D97-AF65-F5344CB8AC3E}">
        <p14:creationId xmlns:p14="http://schemas.microsoft.com/office/powerpoint/2010/main" val="3664753248"/>
      </p:ext>
    </p:extLst>
  </p:cSld>
  <p:clrMapOvr>
    <a:masterClrMapping/>
  </p:clrMapOvr>
  <p:transition spd="med">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D3B66-C560-43BB-929F-0BCAB624A02E}"/>
              </a:ext>
            </a:extLst>
          </p:cNvPr>
          <p:cNvSpPr>
            <a:spLocks noGrp="1"/>
          </p:cNvSpPr>
          <p:nvPr>
            <p:ph type="title"/>
          </p:nvPr>
        </p:nvSpPr>
        <p:spPr>
          <a:xfrm>
            <a:off x="0" y="22860"/>
            <a:ext cx="8507982" cy="640080"/>
          </a:xfrm>
        </p:spPr>
        <p:txBody>
          <a:bodyPr/>
          <a:lstStyle/>
          <a:p>
            <a:r>
              <a:rPr lang="en-US" dirty="0"/>
              <a:t>Kurtosis - </a:t>
            </a:r>
            <a:r>
              <a:rPr lang="en-US" dirty="0">
                <a:solidFill>
                  <a:schemeClr val="bg2">
                    <a:lumMod val="50000"/>
                    <a:lumOff val="50000"/>
                  </a:schemeClr>
                </a:solidFill>
              </a:rPr>
              <a:t>Mesokurtic (kurtosis = 3)</a:t>
            </a:r>
            <a:endParaRPr lang="en-US" dirty="0"/>
          </a:p>
        </p:txBody>
      </p:sp>
      <p:sp>
        <p:nvSpPr>
          <p:cNvPr id="3" name="Content Placeholder 2">
            <a:extLst>
              <a:ext uri="{FF2B5EF4-FFF2-40B4-BE49-F238E27FC236}">
                <a16:creationId xmlns:a16="http://schemas.microsoft.com/office/drawing/2014/main" id="{42AA9797-89B3-4E5D-9561-7929FC4FB959}"/>
              </a:ext>
            </a:extLst>
          </p:cNvPr>
          <p:cNvSpPr>
            <a:spLocks noGrp="1"/>
          </p:cNvSpPr>
          <p:nvPr>
            <p:ph sz="half" idx="13"/>
          </p:nvPr>
        </p:nvSpPr>
        <p:spPr>
          <a:xfrm>
            <a:off x="78875" y="868331"/>
            <a:ext cx="8507981" cy="3200400"/>
          </a:xfrm>
        </p:spPr>
        <p:txBody>
          <a:bodyPr/>
          <a:lstStyle/>
          <a:p>
            <a:r>
              <a:rPr lang="en-US" dirty="0">
                <a:solidFill>
                  <a:schemeClr val="bg2">
                    <a:lumMod val="50000"/>
                    <a:lumOff val="50000"/>
                  </a:schemeClr>
                </a:solidFill>
              </a:rPr>
              <a:t>Mesokurtic is the same as the normal distribution, which means kurtosis is near to 0. In Mesokurtic, distributions are moderate in breadth, and curves are a medium peaked height.</a:t>
            </a:r>
          </a:p>
        </p:txBody>
      </p:sp>
      <p:pic>
        <p:nvPicPr>
          <p:cNvPr id="5" name="Picture 4">
            <a:extLst>
              <a:ext uri="{FF2B5EF4-FFF2-40B4-BE49-F238E27FC236}">
                <a16:creationId xmlns:a16="http://schemas.microsoft.com/office/drawing/2014/main" id="{0246CFAA-AEB4-42F8-9CCF-6276C5303CE0}"/>
              </a:ext>
            </a:extLst>
          </p:cNvPr>
          <p:cNvPicPr>
            <a:picLocks noChangeAspect="1"/>
          </p:cNvPicPr>
          <p:nvPr/>
        </p:nvPicPr>
        <p:blipFill>
          <a:blip r:embed="rId2"/>
          <a:stretch>
            <a:fillRect/>
          </a:stretch>
        </p:blipFill>
        <p:spPr>
          <a:xfrm>
            <a:off x="2197876" y="1662723"/>
            <a:ext cx="3225703" cy="2482942"/>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4D456715-F96F-4340-9C6C-B0E4BB32FECA}"/>
                  </a:ext>
                </a:extLst>
              </p14:cNvPr>
              <p14:cNvContentPartPr/>
              <p14:nvPr/>
            </p14:nvContentPartPr>
            <p14:xfrm>
              <a:off x="4214880" y="461880"/>
              <a:ext cx="1810080" cy="862560"/>
            </p14:xfrm>
          </p:contentPart>
        </mc:Choice>
        <mc:Fallback>
          <p:pic>
            <p:nvPicPr>
              <p:cNvPr id="4" name="Ink 3">
                <a:extLst>
                  <a:ext uri="{FF2B5EF4-FFF2-40B4-BE49-F238E27FC236}">
                    <a16:creationId xmlns:a16="http://schemas.microsoft.com/office/drawing/2014/main" id="{4D456715-F96F-4340-9C6C-B0E4BB32FECA}"/>
                  </a:ext>
                </a:extLst>
              </p:cNvPr>
              <p:cNvPicPr/>
              <p:nvPr/>
            </p:nvPicPr>
            <p:blipFill>
              <a:blip r:embed="rId4"/>
              <a:stretch>
                <a:fillRect/>
              </a:stretch>
            </p:blipFill>
            <p:spPr>
              <a:xfrm>
                <a:off x="4205520" y="452520"/>
                <a:ext cx="1828800" cy="881280"/>
              </a:xfrm>
              <a:prstGeom prst="rect">
                <a:avLst/>
              </a:prstGeom>
            </p:spPr>
          </p:pic>
        </mc:Fallback>
      </mc:AlternateContent>
    </p:spTree>
    <p:extLst>
      <p:ext uri="{BB962C8B-B14F-4D97-AF65-F5344CB8AC3E}">
        <p14:creationId xmlns:p14="http://schemas.microsoft.com/office/powerpoint/2010/main" val="2343888370"/>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61446-94EF-491C-91FC-F2F21BE21A13}"/>
              </a:ext>
            </a:extLst>
          </p:cNvPr>
          <p:cNvSpPr>
            <a:spLocks noGrp="1"/>
          </p:cNvSpPr>
          <p:nvPr>
            <p:ph type="title"/>
          </p:nvPr>
        </p:nvSpPr>
        <p:spPr>
          <a:xfrm>
            <a:off x="0" y="0"/>
            <a:ext cx="8570803" cy="640080"/>
          </a:xfrm>
        </p:spPr>
        <p:txBody>
          <a:bodyPr/>
          <a:lstStyle/>
          <a:p>
            <a:r>
              <a:rPr lang="en-US" dirty="0"/>
              <a:t>Skewness - Summary</a:t>
            </a:r>
          </a:p>
        </p:txBody>
      </p:sp>
      <p:sp>
        <p:nvSpPr>
          <p:cNvPr id="3" name="Content Placeholder 2">
            <a:extLst>
              <a:ext uri="{FF2B5EF4-FFF2-40B4-BE49-F238E27FC236}">
                <a16:creationId xmlns:a16="http://schemas.microsoft.com/office/drawing/2014/main" id="{949C8C3E-AC10-4C1C-B598-DEB08383D7C4}"/>
              </a:ext>
            </a:extLst>
          </p:cNvPr>
          <p:cNvSpPr>
            <a:spLocks noGrp="1"/>
          </p:cNvSpPr>
          <p:nvPr>
            <p:ph sz="half" idx="13"/>
          </p:nvPr>
        </p:nvSpPr>
        <p:spPr>
          <a:xfrm>
            <a:off x="137160" y="791549"/>
            <a:ext cx="8869680" cy="3200400"/>
          </a:xfrm>
        </p:spPr>
        <p:txBody>
          <a:bodyPr/>
          <a:lstStyle/>
          <a:p>
            <a:r>
              <a:rPr lang="en-US" b="0" i="0" dirty="0">
                <a:solidFill>
                  <a:schemeClr val="bg2">
                    <a:lumMod val="50000"/>
                    <a:lumOff val="50000"/>
                  </a:schemeClr>
                </a:solidFill>
                <a:effectLst/>
                <a:latin typeface="Lato" panose="020F0502020204030203" pitchFamily="34" charset="0"/>
              </a:rPr>
              <a:t>The skewness is a measure of symmetry or asymmetry of data distribution, and kurtosis measures whether data is heavy-tailed or light-tailed in a normal distribution. Data can be positive-skewed (data-pushed towards the right side) or negative-skewed (data-pushed towards the left side).</a:t>
            </a:r>
          </a:p>
          <a:p>
            <a:r>
              <a:rPr lang="en-US" dirty="0">
                <a:solidFill>
                  <a:schemeClr val="bg2">
                    <a:lumMod val="50000"/>
                    <a:lumOff val="50000"/>
                  </a:schemeClr>
                </a:solidFill>
              </a:rPr>
              <a:t>When data skewed, the tail region may behave as an outlier for the statistical model, and outliers unsympathetically affect the model’s performance especially regression-based models. Some statistical models are hardy to outliers like Tree-based models, but it will limit the possibility to try other models. So there is a necessity to transform the skewed data to close enough to a Normal distribution.</a:t>
            </a:r>
          </a:p>
          <a:p>
            <a:r>
              <a:rPr lang="en-US" dirty="0">
                <a:solidFill>
                  <a:schemeClr val="bg2">
                    <a:lumMod val="50000"/>
                    <a:lumOff val="50000"/>
                  </a:schemeClr>
                </a:solidFill>
              </a:rPr>
              <a:t>Excess kurtosis can be positive (Leptokurtic distribution), negative (Platykurtic distribution), or near to zero (Mesokurtic distribution). Leptokurtic distribution (kurtosis more than normal distribution).Mesokurtic distribution (kurtosis same as the normal distribution).Platykurtic distribution (kurtosis less than normal distribution).</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AD2065A3-C4AA-43DD-A098-BCD2C39AF572}"/>
                  </a:ext>
                </a:extLst>
              </p14:cNvPr>
              <p14:cNvContentPartPr/>
              <p14:nvPr/>
            </p14:nvContentPartPr>
            <p14:xfrm>
              <a:off x="409680" y="433440"/>
              <a:ext cx="8286840" cy="4253400"/>
            </p14:xfrm>
          </p:contentPart>
        </mc:Choice>
        <mc:Fallback>
          <p:pic>
            <p:nvPicPr>
              <p:cNvPr id="4" name="Ink 3">
                <a:extLst>
                  <a:ext uri="{FF2B5EF4-FFF2-40B4-BE49-F238E27FC236}">
                    <a16:creationId xmlns:a16="http://schemas.microsoft.com/office/drawing/2014/main" id="{AD2065A3-C4AA-43DD-A098-BCD2C39AF572}"/>
                  </a:ext>
                </a:extLst>
              </p:cNvPr>
              <p:cNvPicPr/>
              <p:nvPr/>
            </p:nvPicPr>
            <p:blipFill>
              <a:blip r:embed="rId3"/>
              <a:stretch>
                <a:fillRect/>
              </a:stretch>
            </p:blipFill>
            <p:spPr>
              <a:xfrm>
                <a:off x="400320" y="424080"/>
                <a:ext cx="8305560" cy="4272120"/>
              </a:xfrm>
              <a:prstGeom prst="rect">
                <a:avLst/>
              </a:prstGeom>
            </p:spPr>
          </p:pic>
        </mc:Fallback>
      </mc:AlternateContent>
    </p:spTree>
    <p:extLst>
      <p:ext uri="{BB962C8B-B14F-4D97-AF65-F5344CB8AC3E}">
        <p14:creationId xmlns:p14="http://schemas.microsoft.com/office/powerpoint/2010/main" val="110353803"/>
      </p:ext>
    </p:extLst>
  </p:cSld>
  <p:clrMapOvr>
    <a:masterClrMapping/>
  </p:clrMapOvr>
  <p:transition spd="med">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B5E8E-0FC2-467C-ACC7-31AA2A7D23A1}"/>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1E42B404-3C93-4717-84A2-789D9E19B5A9}"/>
              </a:ext>
            </a:extLst>
          </p:cNvPr>
          <p:cNvSpPr>
            <a:spLocks noGrp="1"/>
          </p:cNvSpPr>
          <p:nvPr>
            <p:ph sz="half" idx="13"/>
          </p:nvPr>
        </p:nvSpPr>
        <p:spPr>
          <a:xfrm>
            <a:off x="148677" y="1116824"/>
            <a:ext cx="5756532" cy="1354150"/>
          </a:xfrm>
        </p:spPr>
        <p:txBody>
          <a:bodyPr/>
          <a:lstStyle/>
          <a:p>
            <a:r>
              <a:rPr lang="en-US" dirty="0"/>
              <a:t>Population of Used cars in a Secondhand Showroom</a:t>
            </a:r>
          </a:p>
        </p:txBody>
      </p:sp>
      <p:pic>
        <p:nvPicPr>
          <p:cNvPr id="5" name="Picture 4" descr="A picture containing text, outdoor, transport, car&#10;&#10;Description automatically generated">
            <a:extLst>
              <a:ext uri="{FF2B5EF4-FFF2-40B4-BE49-F238E27FC236}">
                <a16:creationId xmlns:a16="http://schemas.microsoft.com/office/drawing/2014/main" id="{91959E16-0A26-438F-B3C1-3AD51EC490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990310"/>
            <a:ext cx="3039420" cy="3039420"/>
          </a:xfrm>
          <a:prstGeom prst="rect">
            <a:avLst/>
          </a:prstGeom>
        </p:spPr>
      </p:pic>
      <p:sp>
        <p:nvSpPr>
          <p:cNvPr id="6" name="TextBox 5">
            <a:extLst>
              <a:ext uri="{FF2B5EF4-FFF2-40B4-BE49-F238E27FC236}">
                <a16:creationId xmlns:a16="http://schemas.microsoft.com/office/drawing/2014/main" id="{851D58E5-1FCE-41F7-8B41-23CFC995BD7C}"/>
              </a:ext>
            </a:extLst>
          </p:cNvPr>
          <p:cNvSpPr txBox="1"/>
          <p:nvPr/>
        </p:nvSpPr>
        <p:spPr>
          <a:xfrm>
            <a:off x="328066" y="1758127"/>
            <a:ext cx="2959586"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1 : $2617.23 </a:t>
            </a:r>
          </a:p>
        </p:txBody>
      </p:sp>
      <p:sp>
        <p:nvSpPr>
          <p:cNvPr id="7" name="TextBox 6">
            <a:extLst>
              <a:ext uri="{FF2B5EF4-FFF2-40B4-BE49-F238E27FC236}">
                <a16:creationId xmlns:a16="http://schemas.microsoft.com/office/drawing/2014/main" id="{85A983D6-527A-429C-B134-A010221CAEE0}"/>
              </a:ext>
            </a:extLst>
          </p:cNvPr>
          <p:cNvSpPr txBox="1"/>
          <p:nvPr/>
        </p:nvSpPr>
        <p:spPr>
          <a:xfrm>
            <a:off x="328066" y="2177983"/>
            <a:ext cx="2959586"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Sample #2 : $3201.34</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Sample #3 : $2844.33 </a:t>
            </a:r>
          </a:p>
        </p:txBody>
      </p:sp>
      <p:sp>
        <p:nvSpPr>
          <p:cNvPr id="8" name="TextBox 7">
            <a:extLst>
              <a:ext uri="{FF2B5EF4-FFF2-40B4-BE49-F238E27FC236}">
                <a16:creationId xmlns:a16="http://schemas.microsoft.com/office/drawing/2014/main" id="{6517C1CF-0DF0-48F6-961F-48ECB36C5393}"/>
              </a:ext>
            </a:extLst>
          </p:cNvPr>
          <p:cNvSpPr txBox="1"/>
          <p:nvPr/>
        </p:nvSpPr>
        <p:spPr>
          <a:xfrm>
            <a:off x="148677" y="3304800"/>
            <a:ext cx="5236923" cy="646331"/>
          </a:xfrm>
          <a:prstGeom prst="rect">
            <a:avLst/>
          </a:prstGeom>
          <a:noFill/>
        </p:spPr>
        <p:txBody>
          <a:bodyPr wrap="square" rtlCol="0">
            <a:spAutoFit/>
          </a:bodyPr>
          <a:lstStyle/>
          <a:p>
            <a:pPr>
              <a:spcBef>
                <a:spcPts val="0"/>
              </a:spcBef>
              <a:spcAft>
                <a:spcPts val="0"/>
              </a:spcAft>
              <a:buClr>
                <a:schemeClr val="bg1"/>
              </a:buClr>
            </a:pPr>
            <a:r>
              <a:rPr lang="en-US" sz="1800" b="1" i="1" dirty="0">
                <a:solidFill>
                  <a:schemeClr val="bg2"/>
                </a:solidFill>
                <a:latin typeface="+mn-lt"/>
              </a:rPr>
              <a:t>Taking a single value, as we did in descriptive statistics is sub optimal </a:t>
            </a:r>
          </a:p>
        </p:txBody>
      </p:sp>
      <mc:AlternateContent xmlns:mc="http://schemas.openxmlformats.org/markup-compatibility/2006">
        <mc:Choice xmlns:p14="http://schemas.microsoft.com/office/powerpoint/2010/main" Requires="p14">
          <p:contentPart p14:bwMode="auto" r:id="rId4">
            <p14:nvContentPartPr>
              <p14:cNvPr id="9" name="Ink 8">
                <a:extLst>
                  <a:ext uri="{FF2B5EF4-FFF2-40B4-BE49-F238E27FC236}">
                    <a16:creationId xmlns:a16="http://schemas.microsoft.com/office/drawing/2014/main" id="{20E87388-9746-4CEC-AC37-66408C9C3C16}"/>
                  </a:ext>
                </a:extLst>
              </p14:cNvPr>
              <p14:cNvContentPartPr/>
              <p14:nvPr/>
            </p14:nvContentPartPr>
            <p14:xfrm>
              <a:off x="4680" y="133200"/>
              <a:ext cx="8772840" cy="4305960"/>
            </p14:xfrm>
          </p:contentPart>
        </mc:Choice>
        <mc:Fallback>
          <p:pic>
            <p:nvPicPr>
              <p:cNvPr id="9" name="Ink 8">
                <a:extLst>
                  <a:ext uri="{FF2B5EF4-FFF2-40B4-BE49-F238E27FC236}">
                    <a16:creationId xmlns:a16="http://schemas.microsoft.com/office/drawing/2014/main" id="{20E87388-9746-4CEC-AC37-66408C9C3C16}"/>
                  </a:ext>
                </a:extLst>
              </p:cNvPr>
              <p:cNvPicPr/>
              <p:nvPr/>
            </p:nvPicPr>
            <p:blipFill>
              <a:blip r:embed="rId5"/>
              <a:stretch>
                <a:fillRect/>
              </a:stretch>
            </p:blipFill>
            <p:spPr>
              <a:xfrm>
                <a:off x="-4680" y="123840"/>
                <a:ext cx="8791560" cy="4324680"/>
              </a:xfrm>
              <a:prstGeom prst="rect">
                <a:avLst/>
              </a:prstGeom>
            </p:spPr>
          </p:pic>
        </mc:Fallback>
      </mc:AlternateContent>
    </p:spTree>
    <p:extLst>
      <p:ext uri="{BB962C8B-B14F-4D97-AF65-F5344CB8AC3E}">
        <p14:creationId xmlns:p14="http://schemas.microsoft.com/office/powerpoint/2010/main" val="4038918390"/>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45E7C5-1311-4947-B72A-F232CF1C1D4B}"/>
              </a:ext>
            </a:extLst>
          </p:cNvPr>
          <p:cNvSpPr>
            <a:spLocks noGrp="1"/>
          </p:cNvSpPr>
          <p:nvPr>
            <p:ph sz="half" idx="13"/>
          </p:nvPr>
        </p:nvSpPr>
        <p:spPr>
          <a:xfrm>
            <a:off x="274320" y="662940"/>
            <a:ext cx="2831848" cy="3817620"/>
          </a:xfrm>
        </p:spPr>
        <p:txBody>
          <a:bodyPr>
            <a:normAutofit fontScale="85000" lnSpcReduction="20000"/>
          </a:bodyPr>
          <a:lstStyle/>
          <a:p>
            <a:r>
              <a:rPr lang="en-US" dirty="0"/>
              <a:t>We can draw many, many samples </a:t>
            </a:r>
          </a:p>
          <a:p>
            <a:pPr marL="0" indent="0">
              <a:buNone/>
            </a:pPr>
            <a:r>
              <a:rPr lang="en-US" dirty="0"/>
              <a:t>$2521</a:t>
            </a:r>
          </a:p>
          <a:p>
            <a:pPr marL="0" indent="0">
              <a:buNone/>
            </a:pPr>
            <a:r>
              <a:rPr lang="en-US" dirty="0"/>
              <a:t>$2551</a:t>
            </a:r>
          </a:p>
          <a:p>
            <a:pPr marL="0" indent="0">
              <a:buNone/>
            </a:pPr>
            <a:r>
              <a:rPr lang="en-US" dirty="0"/>
              <a:t>$2568</a:t>
            </a:r>
          </a:p>
          <a:p>
            <a:pPr marL="0" indent="0">
              <a:buNone/>
            </a:pPr>
            <a:r>
              <a:rPr lang="en-US" dirty="0"/>
              <a:t>$2594</a:t>
            </a:r>
          </a:p>
          <a:p>
            <a:pPr marL="0" indent="0">
              <a:buNone/>
            </a:pPr>
            <a:r>
              <a:rPr lang="en-US" dirty="0"/>
              <a:t>$ 2617</a:t>
            </a:r>
          </a:p>
          <a:p>
            <a:pPr marL="0" indent="0">
              <a:buNone/>
            </a:pPr>
            <a:r>
              <a:rPr lang="en-US" dirty="0"/>
              <a:t>$ 2620</a:t>
            </a:r>
          </a:p>
          <a:p>
            <a:pPr marL="0" indent="0">
              <a:buNone/>
            </a:pPr>
            <a:r>
              <a:rPr lang="en-US" dirty="0"/>
              <a:t>$ 2623</a:t>
            </a:r>
          </a:p>
          <a:p>
            <a:pPr marL="0" indent="0">
              <a:buNone/>
            </a:pPr>
            <a:r>
              <a:rPr lang="en-US" dirty="0"/>
              <a:t>$ 2661</a:t>
            </a:r>
          </a:p>
          <a:p>
            <a:pPr marL="0" indent="0">
              <a:buNone/>
            </a:pPr>
            <a:r>
              <a:rPr lang="en-US" dirty="0"/>
              <a:t>$ 2685</a:t>
            </a:r>
          </a:p>
          <a:p>
            <a:pPr marL="0" indent="0">
              <a:buNone/>
            </a:pPr>
            <a:r>
              <a:rPr lang="en-US" dirty="0"/>
              <a:t>$ 2687</a:t>
            </a:r>
          </a:p>
          <a:p>
            <a:pPr marL="0" indent="0">
              <a:buNone/>
            </a:pPr>
            <a:r>
              <a:rPr lang="en-US" dirty="0"/>
              <a:t>$ 2711</a:t>
            </a:r>
          </a:p>
          <a:p>
            <a:pPr marL="0" indent="0">
              <a:buNone/>
            </a:pPr>
            <a:r>
              <a:rPr lang="en-US" dirty="0"/>
              <a:t>$ 2744</a:t>
            </a:r>
          </a:p>
        </p:txBody>
      </p:sp>
      <p:sp>
        <p:nvSpPr>
          <p:cNvPr id="4" name="Title 1">
            <a:extLst>
              <a:ext uri="{FF2B5EF4-FFF2-40B4-BE49-F238E27FC236}">
                <a16:creationId xmlns:a16="http://schemas.microsoft.com/office/drawing/2014/main" id="{489B247C-E2C1-4166-AA50-55CCE0E1B8EA}"/>
              </a:ext>
            </a:extLst>
          </p:cNvPr>
          <p:cNvSpPr>
            <a:spLocks noGrp="1"/>
          </p:cNvSpPr>
          <p:nvPr>
            <p:ph type="title"/>
          </p:nvPr>
        </p:nvSpPr>
        <p:spPr>
          <a:xfrm>
            <a:off x="0" y="22860"/>
            <a:ext cx="4295219" cy="640080"/>
          </a:xfrm>
        </p:spPr>
        <p:txBody>
          <a:bodyPr/>
          <a:lstStyle/>
          <a:p>
            <a:r>
              <a:rPr lang="en-US" dirty="0"/>
              <a:t>Central Limit Theorem</a:t>
            </a:r>
          </a:p>
        </p:txBody>
      </p:sp>
      <p:sp>
        <p:nvSpPr>
          <p:cNvPr id="6" name="TextBox 5">
            <a:extLst>
              <a:ext uri="{FF2B5EF4-FFF2-40B4-BE49-F238E27FC236}">
                <a16:creationId xmlns:a16="http://schemas.microsoft.com/office/drawing/2014/main" id="{936752CE-B540-442A-8A29-57A8B0CDDBCE}"/>
              </a:ext>
            </a:extLst>
          </p:cNvPr>
          <p:cNvSpPr txBox="1"/>
          <p:nvPr/>
        </p:nvSpPr>
        <p:spPr>
          <a:xfrm>
            <a:off x="3280673" y="914400"/>
            <a:ext cx="2757161" cy="3471720"/>
          </a:xfrm>
          <a:prstGeom prst="rect">
            <a:avLst/>
          </a:prstGeom>
          <a:noFill/>
        </p:spPr>
        <p:txBody>
          <a:bodyPr wrap="square" rtlCol="0">
            <a:spAutoFit/>
          </a:bodyPr>
          <a:lstStyle/>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48</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786</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0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3</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844</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269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030</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01</a:t>
            </a:r>
          </a:p>
          <a:p>
            <a:pPr>
              <a:lnSpc>
                <a:spcPct val="80000"/>
              </a:lnSpc>
              <a:spcBef>
                <a:spcPts val="1200"/>
              </a:spcBef>
              <a:spcAft>
                <a:spcPts val="0"/>
              </a:spcAft>
              <a:buClr>
                <a:srgbClr val="AAAAAA"/>
              </a:buClr>
            </a:pPr>
            <a:r>
              <a:rPr lang="en-US" sz="1200" dirty="0">
                <a:solidFill>
                  <a:srgbClr val="000000"/>
                </a:solidFill>
                <a:latin typeface="Arial" panose="020B0604020202020204" pitchFamily="34" charset="0"/>
                <a:cs typeface="Arial" panose="020B0604020202020204" pitchFamily="34" charset="0"/>
              </a:rPr>
              <a:t>$ 3240</a:t>
            </a:r>
          </a:p>
          <a:p>
            <a:pPr>
              <a:spcBef>
                <a:spcPts val="0"/>
              </a:spcBef>
              <a:spcAft>
                <a:spcPts val="0"/>
              </a:spcAft>
              <a:buClr>
                <a:schemeClr val="bg1"/>
              </a:buClr>
            </a:pPr>
            <a:endParaRPr lang="en-US" sz="1400" dirty="0" err="1">
              <a:solidFill>
                <a:schemeClr val="bg2"/>
              </a:solidFill>
              <a:latin typeface="+mn-lt"/>
            </a:endParaRPr>
          </a:p>
        </p:txBody>
      </p:sp>
      <p:sp>
        <p:nvSpPr>
          <p:cNvPr id="7" name="TextBox 6">
            <a:extLst>
              <a:ext uri="{FF2B5EF4-FFF2-40B4-BE49-F238E27FC236}">
                <a16:creationId xmlns:a16="http://schemas.microsoft.com/office/drawing/2014/main" id="{1286DED4-90BF-4713-B38A-8856560A5254}"/>
              </a:ext>
            </a:extLst>
          </p:cNvPr>
          <p:cNvSpPr txBox="1"/>
          <p:nvPr/>
        </p:nvSpPr>
        <p:spPr>
          <a:xfrm>
            <a:off x="5612043" y="1233343"/>
            <a:ext cx="2708299"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a:t>
            </a:r>
          </a:p>
        </p:txBody>
      </p:sp>
      <p:sp>
        <p:nvSpPr>
          <p:cNvPr id="8" name="TextBox 7">
            <a:extLst>
              <a:ext uri="{FF2B5EF4-FFF2-40B4-BE49-F238E27FC236}">
                <a16:creationId xmlns:a16="http://schemas.microsoft.com/office/drawing/2014/main" id="{E42D2C4B-4211-4231-8EC0-380586F19B71}"/>
              </a:ext>
            </a:extLst>
          </p:cNvPr>
          <p:cNvSpPr txBox="1"/>
          <p:nvPr/>
        </p:nvSpPr>
        <p:spPr>
          <a:xfrm>
            <a:off x="5318878" y="2167841"/>
            <a:ext cx="340631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ampling Distribution of the MEAN</a:t>
            </a:r>
          </a:p>
        </p:txBody>
      </p:sp>
      <p:sp>
        <p:nvSpPr>
          <p:cNvPr id="9" name="TextBox 8">
            <a:extLst>
              <a:ext uri="{FF2B5EF4-FFF2-40B4-BE49-F238E27FC236}">
                <a16:creationId xmlns:a16="http://schemas.microsoft.com/office/drawing/2014/main" id="{EEA44317-DB50-4076-8EE0-9C5D8519EFBF}"/>
              </a:ext>
            </a:extLst>
          </p:cNvPr>
          <p:cNvSpPr txBox="1"/>
          <p:nvPr/>
        </p:nvSpPr>
        <p:spPr>
          <a:xfrm>
            <a:off x="1537728" y="1598455"/>
            <a:ext cx="1054003" cy="1446550"/>
          </a:xfrm>
          <a:prstGeom prst="rect">
            <a:avLst/>
          </a:prstGeom>
          <a:noFill/>
        </p:spPr>
        <p:txBody>
          <a:bodyPr wrap="square" rtlCol="0">
            <a:spAutoFit/>
          </a:bodyPr>
          <a:lstStyle/>
          <a:p>
            <a:pPr>
              <a:spcBef>
                <a:spcPts val="0"/>
              </a:spcBef>
              <a:spcAft>
                <a:spcPts val="0"/>
              </a:spcAft>
              <a:buClr>
                <a:schemeClr val="bg1"/>
              </a:buClr>
            </a:pPr>
            <a:r>
              <a:rPr lang="en-US" sz="8800" dirty="0">
                <a:solidFill>
                  <a:schemeClr val="accent4"/>
                </a:solidFill>
                <a:latin typeface="+mn-lt"/>
              </a:rPr>
              <a:t>µ</a:t>
            </a:r>
          </a:p>
        </p:txBody>
      </p:sp>
      <p:sp>
        <p:nvSpPr>
          <p:cNvPr id="10" name="TextBox 9">
            <a:extLst>
              <a:ext uri="{FF2B5EF4-FFF2-40B4-BE49-F238E27FC236}">
                <a16:creationId xmlns:a16="http://schemas.microsoft.com/office/drawing/2014/main" id="{B52C6D56-86EB-414B-AB95-0E81E6A00153}"/>
              </a:ext>
            </a:extLst>
          </p:cNvPr>
          <p:cNvSpPr txBox="1"/>
          <p:nvPr/>
        </p:nvSpPr>
        <p:spPr>
          <a:xfrm>
            <a:off x="1280509" y="1598455"/>
            <a:ext cx="156844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 2800</a:t>
            </a:r>
            <a:endParaRPr lang="en-US" sz="1400" b="1" dirty="0">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11" name="Ink 10">
                <a:extLst>
                  <a:ext uri="{FF2B5EF4-FFF2-40B4-BE49-F238E27FC236}">
                    <a16:creationId xmlns:a16="http://schemas.microsoft.com/office/drawing/2014/main" id="{9673AAF7-956F-4F4D-BBC5-B9811FF9E516}"/>
                  </a:ext>
                </a:extLst>
              </p14:cNvPr>
              <p14:cNvContentPartPr/>
              <p14:nvPr/>
            </p14:nvContentPartPr>
            <p14:xfrm>
              <a:off x="42840" y="195120"/>
              <a:ext cx="8853840" cy="4300920"/>
            </p14:xfrm>
          </p:contentPart>
        </mc:Choice>
        <mc:Fallback>
          <p:pic>
            <p:nvPicPr>
              <p:cNvPr id="11" name="Ink 10">
                <a:extLst>
                  <a:ext uri="{FF2B5EF4-FFF2-40B4-BE49-F238E27FC236}">
                    <a16:creationId xmlns:a16="http://schemas.microsoft.com/office/drawing/2014/main" id="{9673AAF7-956F-4F4D-BBC5-B9811FF9E516}"/>
                  </a:ext>
                </a:extLst>
              </p:cNvPr>
              <p:cNvPicPr/>
              <p:nvPr/>
            </p:nvPicPr>
            <p:blipFill>
              <a:blip r:embed="rId3"/>
              <a:stretch>
                <a:fillRect/>
              </a:stretch>
            </p:blipFill>
            <p:spPr>
              <a:xfrm>
                <a:off x="33480" y="185760"/>
                <a:ext cx="8872560" cy="4319640"/>
              </a:xfrm>
              <a:prstGeom prst="rect">
                <a:avLst/>
              </a:prstGeom>
            </p:spPr>
          </p:pic>
        </mc:Fallback>
      </mc:AlternateContent>
    </p:spTree>
    <p:extLst>
      <p:ext uri="{BB962C8B-B14F-4D97-AF65-F5344CB8AC3E}">
        <p14:creationId xmlns:p14="http://schemas.microsoft.com/office/powerpoint/2010/main" val="835954562"/>
      </p:ext>
    </p:extLst>
  </p:cSld>
  <p:clrMapOvr>
    <a:masterClrMapping/>
  </p:clrMapOvr>
  <p:transition spd="med">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57D56-95C5-4D0C-A949-1A487B245503}"/>
              </a:ext>
            </a:extLst>
          </p:cNvPr>
          <p:cNvSpPr>
            <a:spLocks noGrp="1"/>
          </p:cNvSpPr>
          <p:nvPr>
            <p:ph type="title"/>
          </p:nvPr>
        </p:nvSpPr>
        <p:spPr>
          <a:xfrm>
            <a:off x="0" y="22860"/>
            <a:ext cx="4295219" cy="640080"/>
          </a:xfrm>
        </p:spPr>
        <p:txBody>
          <a:bodyPr/>
          <a:lstStyle/>
          <a:p>
            <a:r>
              <a:rPr lang="en-US" dirty="0"/>
              <a:t>Central Limit Theorem</a:t>
            </a:r>
          </a:p>
        </p:txBody>
      </p:sp>
      <p:sp>
        <p:nvSpPr>
          <p:cNvPr id="3" name="Content Placeholder 2">
            <a:extLst>
              <a:ext uri="{FF2B5EF4-FFF2-40B4-BE49-F238E27FC236}">
                <a16:creationId xmlns:a16="http://schemas.microsoft.com/office/drawing/2014/main" id="{B39ECE88-325C-4E0B-A7D7-FFA8F4710CDF}"/>
              </a:ext>
            </a:extLst>
          </p:cNvPr>
          <p:cNvSpPr>
            <a:spLocks noGrp="1"/>
          </p:cNvSpPr>
          <p:nvPr>
            <p:ph sz="half" idx="13"/>
          </p:nvPr>
        </p:nvSpPr>
        <p:spPr>
          <a:xfrm>
            <a:off x="332604" y="1415242"/>
            <a:ext cx="8478791" cy="1930711"/>
          </a:xfrm>
        </p:spPr>
        <p:txBody>
          <a:bodyPr>
            <a:normAutofit/>
          </a:bodyPr>
          <a:lstStyle/>
          <a:p>
            <a:pPr marL="0" indent="0">
              <a:buNone/>
            </a:pPr>
            <a:r>
              <a:rPr lang="en-US" sz="1800" b="1" dirty="0"/>
              <a:t>Distribution of Car Prices</a:t>
            </a:r>
          </a:p>
        </p:txBody>
      </p:sp>
      <p:grpSp>
        <p:nvGrpSpPr>
          <p:cNvPr id="12" name="Group 11">
            <a:extLst>
              <a:ext uri="{FF2B5EF4-FFF2-40B4-BE49-F238E27FC236}">
                <a16:creationId xmlns:a16="http://schemas.microsoft.com/office/drawing/2014/main" id="{BCF523DF-06F8-4B59-8DB3-E70C4ADA19D8}"/>
              </a:ext>
            </a:extLst>
          </p:cNvPr>
          <p:cNvGrpSpPr/>
          <p:nvPr/>
        </p:nvGrpSpPr>
        <p:grpSpPr>
          <a:xfrm>
            <a:off x="1004944" y="2178783"/>
            <a:ext cx="2478600" cy="1243080"/>
            <a:chOff x="669897" y="1521278"/>
            <a:chExt cx="2478600" cy="1243080"/>
          </a:xfrm>
        </p:grpSpPr>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6D113C73-2B8D-434A-9DC1-B0D7EDEADD9B}"/>
                    </a:ext>
                  </a:extLst>
                </p14:cNvPr>
                <p14:cNvContentPartPr/>
                <p14:nvPr/>
              </p14:nvContentPartPr>
              <p14:xfrm>
                <a:off x="836937" y="1521278"/>
                <a:ext cx="63720" cy="1243080"/>
              </p14:xfrm>
            </p:contentPart>
          </mc:Choice>
          <mc:Fallback>
            <p:pic>
              <p:nvPicPr>
                <p:cNvPr id="4" name="Ink 3">
                  <a:extLst>
                    <a:ext uri="{FF2B5EF4-FFF2-40B4-BE49-F238E27FC236}">
                      <a16:creationId xmlns:a16="http://schemas.microsoft.com/office/drawing/2014/main" id="{6D113C73-2B8D-434A-9DC1-B0D7EDEADD9B}"/>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0AE3159E-170F-4FE1-94E0-C7264AABDE24}"/>
                    </a:ext>
                  </a:extLst>
                </p14:cNvPr>
                <p14:cNvContentPartPr/>
                <p14:nvPr/>
              </p14:nvContentPartPr>
              <p14:xfrm>
                <a:off x="669897" y="2587598"/>
                <a:ext cx="1758600" cy="36720"/>
              </p14:xfrm>
            </p:contentPart>
          </mc:Choice>
          <mc:Fallback>
            <p:pic>
              <p:nvPicPr>
                <p:cNvPr id="5" name="Ink 4">
                  <a:extLst>
                    <a:ext uri="{FF2B5EF4-FFF2-40B4-BE49-F238E27FC236}">
                      <a16:creationId xmlns:a16="http://schemas.microsoft.com/office/drawing/2014/main" id="{0AE3159E-170F-4FE1-94E0-C7264AABDE24}"/>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11" name="Ink 10">
                  <a:extLst>
                    <a:ext uri="{FF2B5EF4-FFF2-40B4-BE49-F238E27FC236}">
                      <a16:creationId xmlns:a16="http://schemas.microsoft.com/office/drawing/2014/main" id="{3EFB8835-00BE-4C34-83CE-6457FE475CBA}"/>
                    </a:ext>
                  </a:extLst>
                </p14:cNvPr>
                <p14:cNvContentPartPr/>
                <p14:nvPr/>
              </p14:nvContentPartPr>
              <p14:xfrm>
                <a:off x="921177" y="1540718"/>
                <a:ext cx="2227320" cy="839880"/>
              </p14:xfrm>
            </p:contentPart>
          </mc:Choice>
          <mc:Fallback>
            <p:pic>
              <p:nvPicPr>
                <p:cNvPr id="11" name="Ink 10">
                  <a:extLst>
                    <a:ext uri="{FF2B5EF4-FFF2-40B4-BE49-F238E27FC236}">
                      <a16:creationId xmlns:a16="http://schemas.microsoft.com/office/drawing/2014/main" id="{3EFB8835-00BE-4C34-83CE-6457FE475CBA}"/>
                    </a:ext>
                  </a:extLst>
                </p:cNvPr>
                <p:cNvPicPr/>
                <p:nvPr/>
              </p:nvPicPr>
              <p:blipFill>
                <a:blip r:embed="rId7"/>
                <a:stretch>
                  <a:fillRect/>
                </a:stretch>
              </p:blipFill>
              <p:spPr>
                <a:xfrm>
                  <a:off x="912177" y="1531718"/>
                  <a:ext cx="2244960" cy="857520"/>
                </a:xfrm>
                <a:prstGeom prst="rect">
                  <a:avLst/>
                </a:prstGeom>
              </p:spPr>
            </p:pic>
          </mc:Fallback>
        </mc:AlternateContent>
      </p:grpSp>
      <p:sp>
        <p:nvSpPr>
          <p:cNvPr id="13" name="TextBox 12">
            <a:extLst>
              <a:ext uri="{FF2B5EF4-FFF2-40B4-BE49-F238E27FC236}">
                <a16:creationId xmlns:a16="http://schemas.microsoft.com/office/drawing/2014/main" id="{0D28BA63-1A90-4469-A39F-F78CD717646F}"/>
              </a:ext>
            </a:extLst>
          </p:cNvPr>
          <p:cNvSpPr txBox="1"/>
          <p:nvPr/>
        </p:nvSpPr>
        <p:spPr>
          <a:xfrm>
            <a:off x="4571999" y="2484935"/>
            <a:ext cx="2757160"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Right Skewed</a:t>
            </a:r>
          </a:p>
        </p:txBody>
      </p:sp>
      <mc:AlternateContent xmlns:mc="http://schemas.openxmlformats.org/markup-compatibility/2006">
        <mc:Choice xmlns:p14="http://schemas.microsoft.com/office/powerpoint/2010/main" Requires="p14">
          <p:contentPart p14:bwMode="auto" r:id="rId8">
            <p14:nvContentPartPr>
              <p14:cNvPr id="14" name="Ink 13">
                <a:extLst>
                  <a:ext uri="{FF2B5EF4-FFF2-40B4-BE49-F238E27FC236}">
                    <a16:creationId xmlns:a16="http://schemas.microsoft.com/office/drawing/2014/main" id="{9A0B58B9-3F7D-43AE-B72E-E24722CFBA9A}"/>
                  </a:ext>
                </a:extLst>
              </p14:cNvPr>
              <p14:cNvContentPartPr/>
              <p14:nvPr/>
            </p14:nvContentPartPr>
            <p14:xfrm>
              <a:off x="490680" y="561960"/>
              <a:ext cx="8420400" cy="3719880"/>
            </p14:xfrm>
          </p:contentPart>
        </mc:Choice>
        <mc:Fallback>
          <p:pic>
            <p:nvPicPr>
              <p:cNvPr id="14" name="Ink 13">
                <a:extLst>
                  <a:ext uri="{FF2B5EF4-FFF2-40B4-BE49-F238E27FC236}">
                    <a16:creationId xmlns:a16="http://schemas.microsoft.com/office/drawing/2014/main" id="{9A0B58B9-3F7D-43AE-B72E-E24722CFBA9A}"/>
                  </a:ext>
                </a:extLst>
              </p:cNvPr>
              <p:cNvPicPr/>
              <p:nvPr/>
            </p:nvPicPr>
            <p:blipFill>
              <a:blip r:embed="rId9"/>
              <a:stretch>
                <a:fillRect/>
              </a:stretch>
            </p:blipFill>
            <p:spPr>
              <a:xfrm>
                <a:off x="481320" y="552600"/>
                <a:ext cx="8439120" cy="3738600"/>
              </a:xfrm>
              <a:prstGeom prst="rect">
                <a:avLst/>
              </a:prstGeom>
            </p:spPr>
          </p:pic>
        </mc:Fallback>
      </mc:AlternateContent>
    </p:spTree>
    <p:extLst>
      <p:ext uri="{BB962C8B-B14F-4D97-AF65-F5344CB8AC3E}">
        <p14:creationId xmlns:p14="http://schemas.microsoft.com/office/powerpoint/2010/main" val="3240609061"/>
      </p:ext>
    </p:extLst>
  </p:cSld>
  <p:clrMapOvr>
    <a:masterClrMapping/>
  </p:clrMapOvr>
  <p:transition spd="med">
    <p:wipe dir="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6BCF2-946B-4D76-B942-09464C8F5A28}"/>
              </a:ext>
            </a:extLst>
          </p:cNvPr>
          <p:cNvSpPr>
            <a:spLocks noGrp="1"/>
          </p:cNvSpPr>
          <p:nvPr>
            <p:ph type="title"/>
          </p:nvPr>
        </p:nvSpPr>
        <p:spPr>
          <a:xfrm>
            <a:off x="0" y="0"/>
            <a:ext cx="6183591" cy="640080"/>
          </a:xfrm>
        </p:spPr>
        <p:txBody>
          <a:bodyPr/>
          <a:lstStyle/>
          <a:p>
            <a:r>
              <a:rPr lang="en-US" dirty="0"/>
              <a:t>Central Limit Theorem</a:t>
            </a:r>
          </a:p>
        </p:txBody>
      </p:sp>
      <p:pic>
        <p:nvPicPr>
          <p:cNvPr id="5" name="Picture 4">
            <a:extLst>
              <a:ext uri="{FF2B5EF4-FFF2-40B4-BE49-F238E27FC236}">
                <a16:creationId xmlns:a16="http://schemas.microsoft.com/office/drawing/2014/main" id="{38C663EE-8F58-49A3-868B-07019BA122D8}"/>
              </a:ext>
            </a:extLst>
          </p:cNvPr>
          <p:cNvPicPr>
            <a:picLocks noChangeAspect="1"/>
          </p:cNvPicPr>
          <p:nvPr/>
        </p:nvPicPr>
        <p:blipFill>
          <a:blip r:embed="rId2"/>
          <a:stretch>
            <a:fillRect/>
          </a:stretch>
        </p:blipFill>
        <p:spPr>
          <a:xfrm>
            <a:off x="931924" y="888548"/>
            <a:ext cx="7362825" cy="2838450"/>
          </a:xfrm>
          <a:prstGeom prst="rect">
            <a:avLst/>
          </a:prstGeom>
        </p:spPr>
      </p:pic>
      <p:grpSp>
        <p:nvGrpSpPr>
          <p:cNvPr id="9" name="Group 8">
            <a:extLst>
              <a:ext uri="{FF2B5EF4-FFF2-40B4-BE49-F238E27FC236}">
                <a16:creationId xmlns:a16="http://schemas.microsoft.com/office/drawing/2014/main" id="{88629BA1-AC80-43C2-B2AD-52ECC66571A9}"/>
              </a:ext>
            </a:extLst>
          </p:cNvPr>
          <p:cNvGrpSpPr/>
          <p:nvPr/>
        </p:nvGrpSpPr>
        <p:grpSpPr>
          <a:xfrm>
            <a:off x="4494897" y="1002518"/>
            <a:ext cx="446400" cy="225720"/>
            <a:chOff x="4494897" y="1002518"/>
            <a:chExt cx="446400" cy="225720"/>
          </a:xfrm>
        </p:grpSpPr>
        <mc:AlternateContent xmlns:mc="http://schemas.openxmlformats.org/markup-compatibility/2006">
          <mc:Choice xmlns:p14="http://schemas.microsoft.com/office/powerpoint/2010/main" Requires="p14">
            <p:contentPart p14:bwMode="auto" r:id="rId3">
              <p14:nvContentPartPr>
                <p14:cNvPr id="6" name="Ink 5">
                  <a:extLst>
                    <a:ext uri="{FF2B5EF4-FFF2-40B4-BE49-F238E27FC236}">
                      <a16:creationId xmlns:a16="http://schemas.microsoft.com/office/drawing/2014/main" id="{0C6F922E-A081-4A53-BFA0-BCE0D3D61496}"/>
                    </a:ext>
                  </a:extLst>
                </p14:cNvPr>
                <p14:cNvContentPartPr/>
                <p14:nvPr/>
              </p14:nvContentPartPr>
              <p14:xfrm>
                <a:off x="4494897" y="1002518"/>
                <a:ext cx="236880" cy="225720"/>
              </p14:xfrm>
            </p:contentPart>
          </mc:Choice>
          <mc:Fallback>
            <p:pic>
              <p:nvPicPr>
                <p:cNvPr id="6" name="Ink 5">
                  <a:extLst>
                    <a:ext uri="{FF2B5EF4-FFF2-40B4-BE49-F238E27FC236}">
                      <a16:creationId xmlns:a16="http://schemas.microsoft.com/office/drawing/2014/main" id="{0C6F922E-A081-4A53-BFA0-BCE0D3D61496}"/>
                    </a:ext>
                  </a:extLst>
                </p:cNvPr>
                <p:cNvPicPr/>
                <p:nvPr/>
              </p:nvPicPr>
              <p:blipFill>
                <a:blip r:embed="rId4"/>
                <a:stretch>
                  <a:fillRect/>
                </a:stretch>
              </p:blipFill>
              <p:spPr>
                <a:xfrm>
                  <a:off x="4486257" y="993878"/>
                  <a:ext cx="254520" cy="24336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7" name="Ink 6">
                  <a:extLst>
                    <a:ext uri="{FF2B5EF4-FFF2-40B4-BE49-F238E27FC236}">
                      <a16:creationId xmlns:a16="http://schemas.microsoft.com/office/drawing/2014/main" id="{266B8148-6813-48A6-94F1-2AC9A3A53823}"/>
                    </a:ext>
                  </a:extLst>
                </p14:cNvPr>
                <p14:cNvContentPartPr/>
                <p14:nvPr/>
              </p14:nvContentPartPr>
              <p14:xfrm>
                <a:off x="4836897" y="1011158"/>
                <a:ext cx="90720" cy="21960"/>
              </p14:xfrm>
            </p:contentPart>
          </mc:Choice>
          <mc:Fallback>
            <p:pic>
              <p:nvPicPr>
                <p:cNvPr id="7" name="Ink 6">
                  <a:extLst>
                    <a:ext uri="{FF2B5EF4-FFF2-40B4-BE49-F238E27FC236}">
                      <a16:creationId xmlns:a16="http://schemas.microsoft.com/office/drawing/2014/main" id="{266B8148-6813-48A6-94F1-2AC9A3A53823}"/>
                    </a:ext>
                  </a:extLst>
                </p:cNvPr>
                <p:cNvPicPr/>
                <p:nvPr/>
              </p:nvPicPr>
              <p:blipFill>
                <a:blip r:embed="rId6"/>
                <a:stretch>
                  <a:fillRect/>
                </a:stretch>
              </p:blipFill>
              <p:spPr>
                <a:xfrm>
                  <a:off x="4827897" y="1002158"/>
                  <a:ext cx="108360" cy="396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8" name="Ink 7">
                  <a:extLst>
                    <a:ext uri="{FF2B5EF4-FFF2-40B4-BE49-F238E27FC236}">
                      <a16:creationId xmlns:a16="http://schemas.microsoft.com/office/drawing/2014/main" id="{B709F09D-A4B7-4EF5-A186-22BA8E308DAA}"/>
                    </a:ext>
                  </a:extLst>
                </p14:cNvPr>
                <p14:cNvContentPartPr/>
                <p14:nvPr/>
              </p14:nvContentPartPr>
              <p14:xfrm>
                <a:off x="4857777" y="1074878"/>
                <a:ext cx="83520" cy="20880"/>
              </p14:xfrm>
            </p:contentPart>
          </mc:Choice>
          <mc:Fallback>
            <p:pic>
              <p:nvPicPr>
                <p:cNvPr id="8" name="Ink 7">
                  <a:extLst>
                    <a:ext uri="{FF2B5EF4-FFF2-40B4-BE49-F238E27FC236}">
                      <a16:creationId xmlns:a16="http://schemas.microsoft.com/office/drawing/2014/main" id="{B709F09D-A4B7-4EF5-A186-22BA8E308DAA}"/>
                    </a:ext>
                  </a:extLst>
                </p:cNvPr>
                <p:cNvPicPr/>
                <p:nvPr/>
              </p:nvPicPr>
              <p:blipFill>
                <a:blip r:embed="rId8"/>
                <a:stretch>
                  <a:fillRect/>
                </a:stretch>
              </p:blipFill>
              <p:spPr>
                <a:xfrm>
                  <a:off x="4849137" y="1065878"/>
                  <a:ext cx="101160" cy="38520"/>
                </a:xfrm>
                <a:prstGeom prst="rect">
                  <a:avLst/>
                </a:prstGeom>
              </p:spPr>
            </p:pic>
          </mc:Fallback>
        </mc:AlternateContent>
      </p:grpSp>
      <p:grpSp>
        <p:nvGrpSpPr>
          <p:cNvPr id="15" name="Group 14">
            <a:extLst>
              <a:ext uri="{FF2B5EF4-FFF2-40B4-BE49-F238E27FC236}">
                <a16:creationId xmlns:a16="http://schemas.microsoft.com/office/drawing/2014/main" id="{45DE6F01-9B6D-430D-942D-4D94F44CAAB1}"/>
              </a:ext>
            </a:extLst>
          </p:cNvPr>
          <p:cNvGrpSpPr/>
          <p:nvPr/>
        </p:nvGrpSpPr>
        <p:grpSpPr>
          <a:xfrm>
            <a:off x="5220657" y="782558"/>
            <a:ext cx="782640" cy="229320"/>
            <a:chOff x="5220657" y="782558"/>
            <a:chExt cx="782640" cy="229320"/>
          </a:xfrm>
        </p:grpSpPr>
        <mc:AlternateContent xmlns:mc="http://schemas.openxmlformats.org/markup-compatibility/2006">
          <mc:Choice xmlns:p14="http://schemas.microsoft.com/office/powerpoint/2010/main" Requires="p14">
            <p:contentPart p14:bwMode="auto" r:id="rId9">
              <p14:nvContentPartPr>
                <p14:cNvPr id="10" name="Ink 9">
                  <a:extLst>
                    <a:ext uri="{FF2B5EF4-FFF2-40B4-BE49-F238E27FC236}">
                      <a16:creationId xmlns:a16="http://schemas.microsoft.com/office/drawing/2014/main" id="{80F7496D-D19C-49CB-8BDB-209256FF51DE}"/>
                    </a:ext>
                  </a:extLst>
                </p14:cNvPr>
                <p14:cNvContentPartPr/>
                <p14:nvPr/>
              </p14:nvContentPartPr>
              <p14:xfrm>
                <a:off x="5220657" y="933038"/>
                <a:ext cx="154440" cy="78840"/>
              </p14:xfrm>
            </p:contentPart>
          </mc:Choice>
          <mc:Fallback>
            <p:pic>
              <p:nvPicPr>
                <p:cNvPr id="10" name="Ink 9">
                  <a:extLst>
                    <a:ext uri="{FF2B5EF4-FFF2-40B4-BE49-F238E27FC236}">
                      <a16:creationId xmlns:a16="http://schemas.microsoft.com/office/drawing/2014/main" id="{80F7496D-D19C-49CB-8BDB-209256FF51DE}"/>
                    </a:ext>
                  </a:extLst>
                </p:cNvPr>
                <p:cNvPicPr/>
                <p:nvPr/>
              </p:nvPicPr>
              <p:blipFill>
                <a:blip r:embed="rId10"/>
                <a:stretch>
                  <a:fillRect/>
                </a:stretch>
              </p:blipFill>
              <p:spPr>
                <a:xfrm>
                  <a:off x="5212017" y="924398"/>
                  <a:ext cx="172080" cy="9648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1" name="Ink 10">
                  <a:extLst>
                    <a:ext uri="{FF2B5EF4-FFF2-40B4-BE49-F238E27FC236}">
                      <a16:creationId xmlns:a16="http://schemas.microsoft.com/office/drawing/2014/main" id="{2BF2182C-1498-4331-AE41-8404108C73A7}"/>
                    </a:ext>
                  </a:extLst>
                </p14:cNvPr>
                <p14:cNvContentPartPr/>
                <p14:nvPr/>
              </p14:nvContentPartPr>
              <p14:xfrm>
                <a:off x="5458257" y="864638"/>
                <a:ext cx="114120" cy="104760"/>
              </p14:xfrm>
            </p:contentPart>
          </mc:Choice>
          <mc:Fallback>
            <p:pic>
              <p:nvPicPr>
                <p:cNvPr id="11" name="Ink 10">
                  <a:extLst>
                    <a:ext uri="{FF2B5EF4-FFF2-40B4-BE49-F238E27FC236}">
                      <a16:creationId xmlns:a16="http://schemas.microsoft.com/office/drawing/2014/main" id="{2BF2182C-1498-4331-AE41-8404108C73A7}"/>
                    </a:ext>
                  </a:extLst>
                </p:cNvPr>
                <p:cNvPicPr/>
                <p:nvPr/>
              </p:nvPicPr>
              <p:blipFill>
                <a:blip r:embed="rId12"/>
                <a:stretch>
                  <a:fillRect/>
                </a:stretch>
              </p:blipFill>
              <p:spPr>
                <a:xfrm>
                  <a:off x="5449257" y="855638"/>
                  <a:ext cx="131760" cy="1224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2" name="Ink 11">
                  <a:extLst>
                    <a:ext uri="{FF2B5EF4-FFF2-40B4-BE49-F238E27FC236}">
                      <a16:creationId xmlns:a16="http://schemas.microsoft.com/office/drawing/2014/main" id="{B6B183EF-78D5-4AC5-A4F9-29040B28AC31}"/>
                    </a:ext>
                  </a:extLst>
                </p14:cNvPr>
                <p14:cNvContentPartPr/>
                <p14:nvPr/>
              </p14:nvContentPartPr>
              <p14:xfrm>
                <a:off x="5607297" y="814238"/>
                <a:ext cx="90000" cy="121320"/>
              </p14:xfrm>
            </p:contentPart>
          </mc:Choice>
          <mc:Fallback>
            <p:pic>
              <p:nvPicPr>
                <p:cNvPr id="12" name="Ink 11">
                  <a:extLst>
                    <a:ext uri="{FF2B5EF4-FFF2-40B4-BE49-F238E27FC236}">
                      <a16:creationId xmlns:a16="http://schemas.microsoft.com/office/drawing/2014/main" id="{B6B183EF-78D5-4AC5-A4F9-29040B28AC31}"/>
                    </a:ext>
                  </a:extLst>
                </p:cNvPr>
                <p:cNvPicPr/>
                <p:nvPr/>
              </p:nvPicPr>
              <p:blipFill>
                <a:blip r:embed="rId14"/>
                <a:stretch>
                  <a:fillRect/>
                </a:stretch>
              </p:blipFill>
              <p:spPr>
                <a:xfrm>
                  <a:off x="5598297" y="805238"/>
                  <a:ext cx="107640" cy="13896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3" name="Ink 12">
                  <a:extLst>
                    <a:ext uri="{FF2B5EF4-FFF2-40B4-BE49-F238E27FC236}">
                      <a16:creationId xmlns:a16="http://schemas.microsoft.com/office/drawing/2014/main" id="{A95CEDD0-517E-468A-B2D6-D3124148AA6A}"/>
                    </a:ext>
                  </a:extLst>
                </p14:cNvPr>
                <p14:cNvContentPartPr/>
                <p14:nvPr/>
              </p14:nvContentPartPr>
              <p14:xfrm>
                <a:off x="5730777" y="816398"/>
                <a:ext cx="84600" cy="93240"/>
              </p14:xfrm>
            </p:contentPart>
          </mc:Choice>
          <mc:Fallback>
            <p:pic>
              <p:nvPicPr>
                <p:cNvPr id="13" name="Ink 12">
                  <a:extLst>
                    <a:ext uri="{FF2B5EF4-FFF2-40B4-BE49-F238E27FC236}">
                      <a16:creationId xmlns:a16="http://schemas.microsoft.com/office/drawing/2014/main" id="{A95CEDD0-517E-468A-B2D6-D3124148AA6A}"/>
                    </a:ext>
                  </a:extLst>
                </p:cNvPr>
                <p:cNvPicPr/>
                <p:nvPr/>
              </p:nvPicPr>
              <p:blipFill>
                <a:blip r:embed="rId16"/>
                <a:stretch>
                  <a:fillRect/>
                </a:stretch>
              </p:blipFill>
              <p:spPr>
                <a:xfrm>
                  <a:off x="5722137" y="807758"/>
                  <a:ext cx="102240" cy="110880"/>
                </a:xfrm>
                <a:prstGeom prst="rect">
                  <a:avLst/>
                </a:prstGeom>
              </p:spPr>
            </p:pic>
          </mc:Fallback>
        </mc:AlternateContent>
        <mc:AlternateContent xmlns:mc="http://schemas.openxmlformats.org/markup-compatibility/2006">
          <mc:Choice xmlns:p14="http://schemas.microsoft.com/office/powerpoint/2010/main" Requires="p14">
            <p:contentPart p14:bwMode="auto" r:id="rId17">
              <p14:nvContentPartPr>
                <p14:cNvPr id="14" name="Ink 13">
                  <a:extLst>
                    <a:ext uri="{FF2B5EF4-FFF2-40B4-BE49-F238E27FC236}">
                      <a16:creationId xmlns:a16="http://schemas.microsoft.com/office/drawing/2014/main" id="{0CB74518-5A5C-465B-8267-97BFA5A162A2}"/>
                    </a:ext>
                  </a:extLst>
                </p14:cNvPr>
                <p14:cNvContentPartPr/>
                <p14:nvPr/>
              </p14:nvContentPartPr>
              <p14:xfrm>
                <a:off x="5876937" y="782558"/>
                <a:ext cx="126360" cy="77400"/>
              </p14:xfrm>
            </p:contentPart>
          </mc:Choice>
          <mc:Fallback>
            <p:pic>
              <p:nvPicPr>
                <p:cNvPr id="14" name="Ink 13">
                  <a:extLst>
                    <a:ext uri="{FF2B5EF4-FFF2-40B4-BE49-F238E27FC236}">
                      <a16:creationId xmlns:a16="http://schemas.microsoft.com/office/drawing/2014/main" id="{0CB74518-5A5C-465B-8267-97BFA5A162A2}"/>
                    </a:ext>
                  </a:extLst>
                </p:cNvPr>
                <p:cNvPicPr/>
                <p:nvPr/>
              </p:nvPicPr>
              <p:blipFill>
                <a:blip r:embed="rId18"/>
                <a:stretch>
                  <a:fillRect/>
                </a:stretch>
              </p:blipFill>
              <p:spPr>
                <a:xfrm>
                  <a:off x="5868297" y="773558"/>
                  <a:ext cx="144000" cy="95040"/>
                </a:xfrm>
                <a:prstGeom prst="rect">
                  <a:avLst/>
                </a:prstGeom>
              </p:spPr>
            </p:pic>
          </mc:Fallback>
        </mc:AlternateContent>
      </p:grpSp>
      <p:grpSp>
        <p:nvGrpSpPr>
          <p:cNvPr id="25" name="Group 24">
            <a:extLst>
              <a:ext uri="{FF2B5EF4-FFF2-40B4-BE49-F238E27FC236}">
                <a16:creationId xmlns:a16="http://schemas.microsoft.com/office/drawing/2014/main" id="{EB167237-1F68-427C-98FD-BD56EBDB8BAE}"/>
              </a:ext>
            </a:extLst>
          </p:cNvPr>
          <p:cNvGrpSpPr/>
          <p:nvPr/>
        </p:nvGrpSpPr>
        <p:grpSpPr>
          <a:xfrm>
            <a:off x="871497" y="3739958"/>
            <a:ext cx="657360" cy="147240"/>
            <a:chOff x="871497" y="3739958"/>
            <a:chExt cx="657360" cy="147240"/>
          </a:xfrm>
        </p:grpSpPr>
        <mc:AlternateContent xmlns:mc="http://schemas.openxmlformats.org/markup-compatibility/2006">
          <mc:Choice xmlns:p14="http://schemas.microsoft.com/office/powerpoint/2010/main" Requires="p14">
            <p:contentPart p14:bwMode="auto" r:id="rId19">
              <p14:nvContentPartPr>
                <p14:cNvPr id="16" name="Ink 15">
                  <a:extLst>
                    <a:ext uri="{FF2B5EF4-FFF2-40B4-BE49-F238E27FC236}">
                      <a16:creationId xmlns:a16="http://schemas.microsoft.com/office/drawing/2014/main" id="{2854C8C6-64F8-428F-B2A7-895C8DA8688F}"/>
                    </a:ext>
                  </a:extLst>
                </p14:cNvPr>
                <p14:cNvContentPartPr/>
                <p14:nvPr/>
              </p14:nvContentPartPr>
              <p14:xfrm>
                <a:off x="871497" y="3739958"/>
                <a:ext cx="87840" cy="113400"/>
              </p14:xfrm>
            </p:contentPart>
          </mc:Choice>
          <mc:Fallback>
            <p:pic>
              <p:nvPicPr>
                <p:cNvPr id="16" name="Ink 15">
                  <a:extLst>
                    <a:ext uri="{FF2B5EF4-FFF2-40B4-BE49-F238E27FC236}">
                      <a16:creationId xmlns:a16="http://schemas.microsoft.com/office/drawing/2014/main" id="{2854C8C6-64F8-428F-B2A7-895C8DA8688F}"/>
                    </a:ext>
                  </a:extLst>
                </p:cNvPr>
                <p:cNvPicPr/>
                <p:nvPr/>
              </p:nvPicPr>
              <p:blipFill>
                <a:blip r:embed="rId20"/>
                <a:stretch>
                  <a:fillRect/>
                </a:stretch>
              </p:blipFill>
              <p:spPr>
                <a:xfrm>
                  <a:off x="862857" y="3730958"/>
                  <a:ext cx="105480" cy="131040"/>
                </a:xfrm>
                <a:prstGeom prst="rect">
                  <a:avLst/>
                </a:prstGeom>
              </p:spPr>
            </p:pic>
          </mc:Fallback>
        </mc:AlternateContent>
        <mc:AlternateContent xmlns:mc="http://schemas.openxmlformats.org/markup-compatibility/2006">
          <mc:Choice xmlns:p14="http://schemas.microsoft.com/office/powerpoint/2010/main" Requires="p14">
            <p:contentPart p14:bwMode="auto" r:id="rId21">
              <p14:nvContentPartPr>
                <p14:cNvPr id="17" name="Ink 16">
                  <a:extLst>
                    <a:ext uri="{FF2B5EF4-FFF2-40B4-BE49-F238E27FC236}">
                      <a16:creationId xmlns:a16="http://schemas.microsoft.com/office/drawing/2014/main" id="{F0A01810-D8AC-441E-ABD1-7E837EF8EAC1}"/>
                    </a:ext>
                  </a:extLst>
                </p14:cNvPr>
                <p14:cNvContentPartPr/>
                <p14:nvPr/>
              </p14:nvContentPartPr>
              <p14:xfrm>
                <a:off x="998937" y="3754358"/>
                <a:ext cx="65160" cy="99360"/>
              </p14:xfrm>
            </p:contentPart>
          </mc:Choice>
          <mc:Fallback>
            <p:pic>
              <p:nvPicPr>
                <p:cNvPr id="17" name="Ink 16">
                  <a:extLst>
                    <a:ext uri="{FF2B5EF4-FFF2-40B4-BE49-F238E27FC236}">
                      <a16:creationId xmlns:a16="http://schemas.microsoft.com/office/drawing/2014/main" id="{F0A01810-D8AC-441E-ABD1-7E837EF8EAC1}"/>
                    </a:ext>
                  </a:extLst>
                </p:cNvPr>
                <p:cNvPicPr/>
                <p:nvPr/>
              </p:nvPicPr>
              <p:blipFill>
                <a:blip r:embed="rId22"/>
                <a:stretch>
                  <a:fillRect/>
                </a:stretch>
              </p:blipFill>
              <p:spPr>
                <a:xfrm>
                  <a:off x="989937" y="3745718"/>
                  <a:ext cx="82800" cy="117000"/>
                </a:xfrm>
                <a:prstGeom prst="rect">
                  <a:avLst/>
                </a:prstGeom>
              </p:spPr>
            </p:pic>
          </mc:Fallback>
        </mc:AlternateContent>
        <mc:AlternateContent xmlns:mc="http://schemas.openxmlformats.org/markup-compatibility/2006">
          <mc:Choice xmlns:p14="http://schemas.microsoft.com/office/powerpoint/2010/main" Requires="p14">
            <p:contentPart p14:bwMode="auto" r:id="rId23">
              <p14:nvContentPartPr>
                <p14:cNvPr id="18" name="Ink 17">
                  <a:extLst>
                    <a:ext uri="{FF2B5EF4-FFF2-40B4-BE49-F238E27FC236}">
                      <a16:creationId xmlns:a16="http://schemas.microsoft.com/office/drawing/2014/main" id="{15CB8345-16CA-4F97-AFF3-65866029A4C5}"/>
                    </a:ext>
                  </a:extLst>
                </p14:cNvPr>
                <p14:cNvContentPartPr/>
                <p14:nvPr/>
              </p14:nvContentPartPr>
              <p14:xfrm>
                <a:off x="1082097" y="3761918"/>
                <a:ext cx="70200" cy="91440"/>
              </p14:xfrm>
            </p:contentPart>
          </mc:Choice>
          <mc:Fallback>
            <p:pic>
              <p:nvPicPr>
                <p:cNvPr id="18" name="Ink 17">
                  <a:extLst>
                    <a:ext uri="{FF2B5EF4-FFF2-40B4-BE49-F238E27FC236}">
                      <a16:creationId xmlns:a16="http://schemas.microsoft.com/office/drawing/2014/main" id="{15CB8345-16CA-4F97-AFF3-65866029A4C5}"/>
                    </a:ext>
                  </a:extLst>
                </p:cNvPr>
                <p:cNvPicPr/>
                <p:nvPr/>
              </p:nvPicPr>
              <p:blipFill>
                <a:blip r:embed="rId24"/>
                <a:stretch>
                  <a:fillRect/>
                </a:stretch>
              </p:blipFill>
              <p:spPr>
                <a:xfrm>
                  <a:off x="1073457" y="3752918"/>
                  <a:ext cx="87840" cy="109080"/>
                </a:xfrm>
                <a:prstGeom prst="rect">
                  <a:avLst/>
                </a:prstGeom>
              </p:spPr>
            </p:pic>
          </mc:Fallback>
        </mc:AlternateContent>
        <mc:AlternateContent xmlns:mc="http://schemas.openxmlformats.org/markup-compatibility/2006">
          <mc:Choice xmlns:p14="http://schemas.microsoft.com/office/powerpoint/2010/main" Requires="p14">
            <p:contentPart p14:bwMode="auto" r:id="rId25">
              <p14:nvContentPartPr>
                <p14:cNvPr id="19" name="Ink 18">
                  <a:extLst>
                    <a:ext uri="{FF2B5EF4-FFF2-40B4-BE49-F238E27FC236}">
                      <a16:creationId xmlns:a16="http://schemas.microsoft.com/office/drawing/2014/main" id="{F74A6F8D-2725-47CD-80FD-304BA15A52D1}"/>
                    </a:ext>
                  </a:extLst>
                </p14:cNvPr>
                <p14:cNvContentPartPr/>
                <p14:nvPr/>
              </p14:nvContentPartPr>
              <p14:xfrm>
                <a:off x="1221417" y="3775598"/>
                <a:ext cx="20880" cy="76320"/>
              </p14:xfrm>
            </p:contentPart>
          </mc:Choice>
          <mc:Fallback>
            <p:pic>
              <p:nvPicPr>
                <p:cNvPr id="19" name="Ink 18">
                  <a:extLst>
                    <a:ext uri="{FF2B5EF4-FFF2-40B4-BE49-F238E27FC236}">
                      <a16:creationId xmlns:a16="http://schemas.microsoft.com/office/drawing/2014/main" id="{F74A6F8D-2725-47CD-80FD-304BA15A52D1}"/>
                    </a:ext>
                  </a:extLst>
                </p:cNvPr>
                <p:cNvPicPr/>
                <p:nvPr/>
              </p:nvPicPr>
              <p:blipFill>
                <a:blip r:embed="rId26"/>
                <a:stretch>
                  <a:fillRect/>
                </a:stretch>
              </p:blipFill>
              <p:spPr>
                <a:xfrm>
                  <a:off x="1212417" y="3766958"/>
                  <a:ext cx="38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27">
              <p14:nvContentPartPr>
                <p14:cNvPr id="20" name="Ink 19">
                  <a:extLst>
                    <a:ext uri="{FF2B5EF4-FFF2-40B4-BE49-F238E27FC236}">
                      <a16:creationId xmlns:a16="http://schemas.microsoft.com/office/drawing/2014/main" id="{CAABF79A-38F4-48BD-A99B-CD74A0BB9685}"/>
                    </a:ext>
                  </a:extLst>
                </p14:cNvPr>
                <p14:cNvContentPartPr/>
                <p14:nvPr/>
              </p14:nvContentPartPr>
              <p14:xfrm>
                <a:off x="1309257" y="3820598"/>
                <a:ext cx="3240" cy="4680"/>
              </p14:xfrm>
            </p:contentPart>
          </mc:Choice>
          <mc:Fallback>
            <p:pic>
              <p:nvPicPr>
                <p:cNvPr id="20" name="Ink 19">
                  <a:extLst>
                    <a:ext uri="{FF2B5EF4-FFF2-40B4-BE49-F238E27FC236}">
                      <a16:creationId xmlns:a16="http://schemas.microsoft.com/office/drawing/2014/main" id="{CAABF79A-38F4-48BD-A99B-CD74A0BB9685}"/>
                    </a:ext>
                  </a:extLst>
                </p:cNvPr>
                <p:cNvPicPr/>
                <p:nvPr/>
              </p:nvPicPr>
              <p:blipFill>
                <a:blip r:embed="rId28"/>
                <a:stretch>
                  <a:fillRect/>
                </a:stretch>
              </p:blipFill>
              <p:spPr>
                <a:xfrm>
                  <a:off x="1300617" y="3811598"/>
                  <a:ext cx="20880" cy="22320"/>
                </a:xfrm>
                <a:prstGeom prst="rect">
                  <a:avLst/>
                </a:prstGeom>
              </p:spPr>
            </p:pic>
          </mc:Fallback>
        </mc:AlternateContent>
        <mc:AlternateContent xmlns:mc="http://schemas.openxmlformats.org/markup-compatibility/2006">
          <mc:Choice xmlns:p14="http://schemas.microsoft.com/office/powerpoint/2010/main" Requires="p14">
            <p:contentPart p14:bwMode="auto" r:id="rId29">
              <p14:nvContentPartPr>
                <p14:cNvPr id="21" name="Ink 20">
                  <a:extLst>
                    <a:ext uri="{FF2B5EF4-FFF2-40B4-BE49-F238E27FC236}">
                      <a16:creationId xmlns:a16="http://schemas.microsoft.com/office/drawing/2014/main" id="{2F808A1C-2C90-4214-A8C3-B7A338B68AEB}"/>
                    </a:ext>
                  </a:extLst>
                </p14:cNvPr>
                <p14:cNvContentPartPr/>
                <p14:nvPr/>
              </p14:nvContentPartPr>
              <p14:xfrm>
                <a:off x="1379817" y="3769118"/>
                <a:ext cx="57960" cy="78120"/>
              </p14:xfrm>
            </p:contentPart>
          </mc:Choice>
          <mc:Fallback>
            <p:pic>
              <p:nvPicPr>
                <p:cNvPr id="21" name="Ink 20">
                  <a:extLst>
                    <a:ext uri="{FF2B5EF4-FFF2-40B4-BE49-F238E27FC236}">
                      <a16:creationId xmlns:a16="http://schemas.microsoft.com/office/drawing/2014/main" id="{2F808A1C-2C90-4214-A8C3-B7A338B68AEB}"/>
                    </a:ext>
                  </a:extLst>
                </p:cNvPr>
                <p:cNvPicPr/>
                <p:nvPr/>
              </p:nvPicPr>
              <p:blipFill>
                <a:blip r:embed="rId30"/>
                <a:stretch>
                  <a:fillRect/>
                </a:stretch>
              </p:blipFill>
              <p:spPr>
                <a:xfrm>
                  <a:off x="1371177" y="3760118"/>
                  <a:ext cx="75600" cy="95760"/>
                </a:xfrm>
                <a:prstGeom prst="rect">
                  <a:avLst/>
                </a:prstGeom>
              </p:spPr>
            </p:pic>
          </mc:Fallback>
        </mc:AlternateContent>
        <mc:AlternateContent xmlns:mc="http://schemas.openxmlformats.org/markup-compatibility/2006">
          <mc:Choice xmlns:p14="http://schemas.microsoft.com/office/powerpoint/2010/main" Requires="p14">
            <p:contentPart p14:bwMode="auto" r:id="rId31">
              <p14:nvContentPartPr>
                <p14:cNvPr id="22" name="Ink 21">
                  <a:extLst>
                    <a:ext uri="{FF2B5EF4-FFF2-40B4-BE49-F238E27FC236}">
                      <a16:creationId xmlns:a16="http://schemas.microsoft.com/office/drawing/2014/main" id="{EB3689F8-04CE-4502-924D-126F3F825817}"/>
                    </a:ext>
                  </a:extLst>
                </p14:cNvPr>
                <p14:cNvContentPartPr/>
                <p14:nvPr/>
              </p14:nvContentPartPr>
              <p14:xfrm>
                <a:off x="1396737" y="3789998"/>
                <a:ext cx="34560" cy="77400"/>
              </p14:xfrm>
            </p:contentPart>
          </mc:Choice>
          <mc:Fallback>
            <p:pic>
              <p:nvPicPr>
                <p:cNvPr id="22" name="Ink 21">
                  <a:extLst>
                    <a:ext uri="{FF2B5EF4-FFF2-40B4-BE49-F238E27FC236}">
                      <a16:creationId xmlns:a16="http://schemas.microsoft.com/office/drawing/2014/main" id="{EB3689F8-04CE-4502-924D-126F3F825817}"/>
                    </a:ext>
                  </a:extLst>
                </p:cNvPr>
                <p:cNvPicPr/>
                <p:nvPr/>
              </p:nvPicPr>
              <p:blipFill>
                <a:blip r:embed="rId32"/>
                <a:stretch>
                  <a:fillRect/>
                </a:stretch>
              </p:blipFill>
              <p:spPr>
                <a:xfrm>
                  <a:off x="1387737" y="3780998"/>
                  <a:ext cx="52200" cy="95040"/>
                </a:xfrm>
                <a:prstGeom prst="rect">
                  <a:avLst/>
                </a:prstGeom>
              </p:spPr>
            </p:pic>
          </mc:Fallback>
        </mc:AlternateContent>
        <mc:AlternateContent xmlns:mc="http://schemas.openxmlformats.org/markup-compatibility/2006">
          <mc:Choice xmlns:p14="http://schemas.microsoft.com/office/powerpoint/2010/main" Requires="p14">
            <p:contentPart p14:bwMode="auto" r:id="rId33">
              <p14:nvContentPartPr>
                <p14:cNvPr id="23" name="Ink 22">
                  <a:extLst>
                    <a:ext uri="{FF2B5EF4-FFF2-40B4-BE49-F238E27FC236}">
                      <a16:creationId xmlns:a16="http://schemas.microsoft.com/office/drawing/2014/main" id="{CA3527CE-2D01-4684-AB65-845A36C6E455}"/>
                    </a:ext>
                  </a:extLst>
                </p14:cNvPr>
                <p14:cNvContentPartPr/>
                <p14:nvPr/>
              </p14:nvContentPartPr>
              <p14:xfrm>
                <a:off x="1487817" y="3775598"/>
                <a:ext cx="41040" cy="47880"/>
              </p14:xfrm>
            </p:contentPart>
          </mc:Choice>
          <mc:Fallback>
            <p:pic>
              <p:nvPicPr>
                <p:cNvPr id="23" name="Ink 22">
                  <a:extLst>
                    <a:ext uri="{FF2B5EF4-FFF2-40B4-BE49-F238E27FC236}">
                      <a16:creationId xmlns:a16="http://schemas.microsoft.com/office/drawing/2014/main" id="{CA3527CE-2D01-4684-AB65-845A36C6E455}"/>
                    </a:ext>
                  </a:extLst>
                </p:cNvPr>
                <p:cNvPicPr/>
                <p:nvPr/>
              </p:nvPicPr>
              <p:blipFill>
                <a:blip r:embed="rId34"/>
                <a:stretch>
                  <a:fillRect/>
                </a:stretch>
              </p:blipFill>
              <p:spPr>
                <a:xfrm>
                  <a:off x="1478817" y="3766958"/>
                  <a:ext cx="58680" cy="65520"/>
                </a:xfrm>
                <a:prstGeom prst="rect">
                  <a:avLst/>
                </a:prstGeom>
              </p:spPr>
            </p:pic>
          </mc:Fallback>
        </mc:AlternateContent>
        <mc:AlternateContent xmlns:mc="http://schemas.openxmlformats.org/markup-compatibility/2006">
          <mc:Choice xmlns:p14="http://schemas.microsoft.com/office/powerpoint/2010/main" Requires="p14">
            <p:contentPart p14:bwMode="auto" r:id="rId35">
              <p14:nvContentPartPr>
                <p14:cNvPr id="24" name="Ink 23">
                  <a:extLst>
                    <a:ext uri="{FF2B5EF4-FFF2-40B4-BE49-F238E27FC236}">
                      <a16:creationId xmlns:a16="http://schemas.microsoft.com/office/drawing/2014/main" id="{32CD4FBE-2033-4D9B-BBCF-4B9267D82887}"/>
                    </a:ext>
                  </a:extLst>
                </p14:cNvPr>
                <p14:cNvContentPartPr/>
                <p14:nvPr/>
              </p14:nvContentPartPr>
              <p14:xfrm>
                <a:off x="1486737" y="3777398"/>
                <a:ext cx="27720" cy="109800"/>
              </p14:xfrm>
            </p:contentPart>
          </mc:Choice>
          <mc:Fallback>
            <p:pic>
              <p:nvPicPr>
                <p:cNvPr id="24" name="Ink 23">
                  <a:extLst>
                    <a:ext uri="{FF2B5EF4-FFF2-40B4-BE49-F238E27FC236}">
                      <a16:creationId xmlns:a16="http://schemas.microsoft.com/office/drawing/2014/main" id="{32CD4FBE-2033-4D9B-BBCF-4B9267D82887}"/>
                    </a:ext>
                  </a:extLst>
                </p:cNvPr>
                <p:cNvPicPr/>
                <p:nvPr/>
              </p:nvPicPr>
              <p:blipFill>
                <a:blip r:embed="rId36"/>
                <a:stretch>
                  <a:fillRect/>
                </a:stretch>
              </p:blipFill>
              <p:spPr>
                <a:xfrm>
                  <a:off x="1478097" y="3768758"/>
                  <a:ext cx="45360" cy="127440"/>
                </a:xfrm>
                <a:prstGeom prst="rect">
                  <a:avLst/>
                </a:prstGeom>
              </p:spPr>
            </p:pic>
          </mc:Fallback>
        </mc:AlternateContent>
      </p:grpSp>
      <p:grpSp>
        <p:nvGrpSpPr>
          <p:cNvPr id="28" name="Group 27">
            <a:extLst>
              <a:ext uri="{FF2B5EF4-FFF2-40B4-BE49-F238E27FC236}">
                <a16:creationId xmlns:a16="http://schemas.microsoft.com/office/drawing/2014/main" id="{DE01CD0B-A892-4F17-86F8-47CCB68DF535}"/>
              </a:ext>
            </a:extLst>
          </p:cNvPr>
          <p:cNvGrpSpPr/>
          <p:nvPr/>
        </p:nvGrpSpPr>
        <p:grpSpPr>
          <a:xfrm>
            <a:off x="738297" y="3713318"/>
            <a:ext cx="78120" cy="204120"/>
            <a:chOff x="738297" y="3713318"/>
            <a:chExt cx="78120" cy="204120"/>
          </a:xfrm>
        </p:grpSpPr>
        <mc:AlternateContent xmlns:mc="http://schemas.openxmlformats.org/markup-compatibility/2006">
          <mc:Choice xmlns:p14="http://schemas.microsoft.com/office/powerpoint/2010/main" Requires="p14">
            <p:contentPart p14:bwMode="auto" r:id="rId37">
              <p14:nvContentPartPr>
                <p14:cNvPr id="26" name="Ink 25">
                  <a:extLst>
                    <a:ext uri="{FF2B5EF4-FFF2-40B4-BE49-F238E27FC236}">
                      <a16:creationId xmlns:a16="http://schemas.microsoft.com/office/drawing/2014/main" id="{CF1AAA03-0D2F-446A-971A-61796BC43002}"/>
                    </a:ext>
                  </a:extLst>
                </p14:cNvPr>
                <p14:cNvContentPartPr/>
                <p14:nvPr/>
              </p14:nvContentPartPr>
              <p14:xfrm>
                <a:off x="747657" y="3761918"/>
                <a:ext cx="68760" cy="89280"/>
              </p14:xfrm>
            </p:contentPart>
          </mc:Choice>
          <mc:Fallback>
            <p:pic>
              <p:nvPicPr>
                <p:cNvPr id="26" name="Ink 25">
                  <a:extLst>
                    <a:ext uri="{FF2B5EF4-FFF2-40B4-BE49-F238E27FC236}">
                      <a16:creationId xmlns:a16="http://schemas.microsoft.com/office/drawing/2014/main" id="{CF1AAA03-0D2F-446A-971A-61796BC43002}"/>
                    </a:ext>
                  </a:extLst>
                </p:cNvPr>
                <p:cNvPicPr/>
                <p:nvPr/>
              </p:nvPicPr>
              <p:blipFill>
                <a:blip r:embed="rId38"/>
                <a:stretch>
                  <a:fillRect/>
                </a:stretch>
              </p:blipFill>
              <p:spPr>
                <a:xfrm>
                  <a:off x="739017" y="3752918"/>
                  <a:ext cx="86400" cy="106920"/>
                </a:xfrm>
                <a:prstGeom prst="rect">
                  <a:avLst/>
                </a:prstGeom>
              </p:spPr>
            </p:pic>
          </mc:Fallback>
        </mc:AlternateContent>
        <mc:AlternateContent xmlns:mc="http://schemas.openxmlformats.org/markup-compatibility/2006">
          <mc:Choice xmlns:p14="http://schemas.microsoft.com/office/powerpoint/2010/main" Requires="p14">
            <p:contentPart p14:bwMode="auto" r:id="rId39">
              <p14:nvContentPartPr>
                <p14:cNvPr id="27" name="Ink 26">
                  <a:extLst>
                    <a:ext uri="{FF2B5EF4-FFF2-40B4-BE49-F238E27FC236}">
                      <a16:creationId xmlns:a16="http://schemas.microsoft.com/office/drawing/2014/main" id="{4F8E0924-A70A-40AE-9FC2-06196E73BC19}"/>
                    </a:ext>
                  </a:extLst>
                </p14:cNvPr>
                <p14:cNvContentPartPr/>
                <p14:nvPr/>
              </p14:nvContentPartPr>
              <p14:xfrm>
                <a:off x="738297" y="3713318"/>
                <a:ext cx="43560" cy="204120"/>
              </p14:xfrm>
            </p:contentPart>
          </mc:Choice>
          <mc:Fallback>
            <p:pic>
              <p:nvPicPr>
                <p:cNvPr id="27" name="Ink 26">
                  <a:extLst>
                    <a:ext uri="{FF2B5EF4-FFF2-40B4-BE49-F238E27FC236}">
                      <a16:creationId xmlns:a16="http://schemas.microsoft.com/office/drawing/2014/main" id="{4F8E0924-A70A-40AE-9FC2-06196E73BC19}"/>
                    </a:ext>
                  </a:extLst>
                </p:cNvPr>
                <p:cNvPicPr/>
                <p:nvPr/>
              </p:nvPicPr>
              <p:blipFill>
                <a:blip r:embed="rId40"/>
                <a:stretch>
                  <a:fillRect/>
                </a:stretch>
              </p:blipFill>
              <p:spPr>
                <a:xfrm>
                  <a:off x="729297" y="3704318"/>
                  <a:ext cx="61200" cy="221760"/>
                </a:xfrm>
                <a:prstGeom prst="rect">
                  <a:avLst/>
                </a:prstGeom>
              </p:spPr>
            </p:pic>
          </mc:Fallback>
        </mc:AlternateContent>
      </p:grpSp>
      <p:grpSp>
        <p:nvGrpSpPr>
          <p:cNvPr id="38" name="Group 37">
            <a:extLst>
              <a:ext uri="{FF2B5EF4-FFF2-40B4-BE49-F238E27FC236}">
                <a16:creationId xmlns:a16="http://schemas.microsoft.com/office/drawing/2014/main" id="{08DAA599-E224-45C6-940E-430E70231EA8}"/>
              </a:ext>
            </a:extLst>
          </p:cNvPr>
          <p:cNvGrpSpPr/>
          <p:nvPr/>
        </p:nvGrpSpPr>
        <p:grpSpPr>
          <a:xfrm>
            <a:off x="2302137" y="3719798"/>
            <a:ext cx="706320" cy="224280"/>
            <a:chOff x="2302137" y="3719798"/>
            <a:chExt cx="706320" cy="224280"/>
          </a:xfrm>
        </p:grpSpPr>
        <mc:AlternateContent xmlns:mc="http://schemas.openxmlformats.org/markup-compatibility/2006">
          <mc:Choice xmlns:p14="http://schemas.microsoft.com/office/powerpoint/2010/main" Requires="p14">
            <p:contentPart p14:bwMode="auto" r:id="rId41">
              <p14:nvContentPartPr>
                <p14:cNvPr id="29" name="Ink 28">
                  <a:extLst>
                    <a:ext uri="{FF2B5EF4-FFF2-40B4-BE49-F238E27FC236}">
                      <a16:creationId xmlns:a16="http://schemas.microsoft.com/office/drawing/2014/main" id="{4E010658-DF2F-47A4-9132-8BEE1C4CDC94}"/>
                    </a:ext>
                  </a:extLst>
                </p14:cNvPr>
                <p14:cNvContentPartPr/>
                <p14:nvPr/>
              </p14:nvContentPartPr>
              <p14:xfrm>
                <a:off x="2318337" y="3754358"/>
                <a:ext cx="104040" cy="84600"/>
              </p14:xfrm>
            </p:contentPart>
          </mc:Choice>
          <mc:Fallback>
            <p:pic>
              <p:nvPicPr>
                <p:cNvPr id="29" name="Ink 28">
                  <a:extLst>
                    <a:ext uri="{FF2B5EF4-FFF2-40B4-BE49-F238E27FC236}">
                      <a16:creationId xmlns:a16="http://schemas.microsoft.com/office/drawing/2014/main" id="{4E010658-DF2F-47A4-9132-8BEE1C4CDC94}"/>
                    </a:ext>
                  </a:extLst>
                </p:cNvPr>
                <p:cNvPicPr/>
                <p:nvPr/>
              </p:nvPicPr>
              <p:blipFill>
                <a:blip r:embed="rId42"/>
                <a:stretch>
                  <a:fillRect/>
                </a:stretch>
              </p:blipFill>
              <p:spPr>
                <a:xfrm>
                  <a:off x="2309337" y="3745718"/>
                  <a:ext cx="12168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43">
              <p14:nvContentPartPr>
                <p14:cNvPr id="30" name="Ink 29">
                  <a:extLst>
                    <a:ext uri="{FF2B5EF4-FFF2-40B4-BE49-F238E27FC236}">
                      <a16:creationId xmlns:a16="http://schemas.microsoft.com/office/drawing/2014/main" id="{8188ABE6-B443-4E69-8BB5-FD5F977B3EEF}"/>
                    </a:ext>
                  </a:extLst>
                </p14:cNvPr>
                <p14:cNvContentPartPr/>
                <p14:nvPr/>
              </p14:nvContentPartPr>
              <p14:xfrm>
                <a:off x="2302137" y="3719798"/>
                <a:ext cx="71280" cy="224280"/>
              </p14:xfrm>
            </p:contentPart>
          </mc:Choice>
          <mc:Fallback>
            <p:pic>
              <p:nvPicPr>
                <p:cNvPr id="30" name="Ink 29">
                  <a:extLst>
                    <a:ext uri="{FF2B5EF4-FFF2-40B4-BE49-F238E27FC236}">
                      <a16:creationId xmlns:a16="http://schemas.microsoft.com/office/drawing/2014/main" id="{8188ABE6-B443-4E69-8BB5-FD5F977B3EEF}"/>
                    </a:ext>
                  </a:extLst>
                </p:cNvPr>
                <p:cNvPicPr/>
                <p:nvPr/>
              </p:nvPicPr>
              <p:blipFill>
                <a:blip r:embed="rId44"/>
                <a:stretch>
                  <a:fillRect/>
                </a:stretch>
              </p:blipFill>
              <p:spPr>
                <a:xfrm>
                  <a:off x="2293137" y="3711158"/>
                  <a:ext cx="88920" cy="241920"/>
                </a:xfrm>
                <a:prstGeom prst="rect">
                  <a:avLst/>
                </a:prstGeom>
              </p:spPr>
            </p:pic>
          </mc:Fallback>
        </mc:AlternateContent>
        <mc:AlternateContent xmlns:mc="http://schemas.openxmlformats.org/markup-compatibility/2006">
          <mc:Choice xmlns:p14="http://schemas.microsoft.com/office/powerpoint/2010/main" Requires="p14">
            <p:contentPart p14:bwMode="auto" r:id="rId45">
              <p14:nvContentPartPr>
                <p14:cNvPr id="31" name="Ink 30">
                  <a:extLst>
                    <a:ext uri="{FF2B5EF4-FFF2-40B4-BE49-F238E27FC236}">
                      <a16:creationId xmlns:a16="http://schemas.microsoft.com/office/drawing/2014/main" id="{47A1E986-8DA7-4066-A15D-B7CE2A61E4D8}"/>
                    </a:ext>
                  </a:extLst>
                </p14:cNvPr>
                <p14:cNvContentPartPr/>
                <p14:nvPr/>
              </p14:nvContentPartPr>
              <p14:xfrm>
                <a:off x="2459457" y="3754358"/>
                <a:ext cx="63720" cy="81720"/>
              </p14:xfrm>
            </p:contentPart>
          </mc:Choice>
          <mc:Fallback>
            <p:pic>
              <p:nvPicPr>
                <p:cNvPr id="31" name="Ink 30">
                  <a:extLst>
                    <a:ext uri="{FF2B5EF4-FFF2-40B4-BE49-F238E27FC236}">
                      <a16:creationId xmlns:a16="http://schemas.microsoft.com/office/drawing/2014/main" id="{47A1E986-8DA7-4066-A15D-B7CE2A61E4D8}"/>
                    </a:ext>
                  </a:extLst>
                </p:cNvPr>
                <p:cNvPicPr/>
                <p:nvPr/>
              </p:nvPicPr>
              <p:blipFill>
                <a:blip r:embed="rId46"/>
                <a:stretch>
                  <a:fillRect/>
                </a:stretch>
              </p:blipFill>
              <p:spPr>
                <a:xfrm>
                  <a:off x="2450817" y="3745718"/>
                  <a:ext cx="8136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47">
              <p14:nvContentPartPr>
                <p14:cNvPr id="32" name="Ink 31">
                  <a:extLst>
                    <a:ext uri="{FF2B5EF4-FFF2-40B4-BE49-F238E27FC236}">
                      <a16:creationId xmlns:a16="http://schemas.microsoft.com/office/drawing/2014/main" id="{21DD7CA3-940F-4C3C-AD44-AC59C377C5CF}"/>
                    </a:ext>
                  </a:extLst>
                </p14:cNvPr>
                <p14:cNvContentPartPr/>
                <p14:nvPr/>
              </p14:nvContentPartPr>
              <p14:xfrm>
                <a:off x="2589417" y="3740678"/>
                <a:ext cx="70560" cy="104400"/>
              </p14:xfrm>
            </p:contentPart>
          </mc:Choice>
          <mc:Fallback>
            <p:pic>
              <p:nvPicPr>
                <p:cNvPr id="32" name="Ink 31">
                  <a:extLst>
                    <a:ext uri="{FF2B5EF4-FFF2-40B4-BE49-F238E27FC236}">
                      <a16:creationId xmlns:a16="http://schemas.microsoft.com/office/drawing/2014/main" id="{21DD7CA3-940F-4C3C-AD44-AC59C377C5CF}"/>
                    </a:ext>
                  </a:extLst>
                </p:cNvPr>
                <p:cNvPicPr/>
                <p:nvPr/>
              </p:nvPicPr>
              <p:blipFill>
                <a:blip r:embed="rId48"/>
                <a:stretch>
                  <a:fillRect/>
                </a:stretch>
              </p:blipFill>
              <p:spPr>
                <a:xfrm>
                  <a:off x="2580777" y="3731678"/>
                  <a:ext cx="88200" cy="122040"/>
                </a:xfrm>
                <a:prstGeom prst="rect">
                  <a:avLst/>
                </a:prstGeom>
              </p:spPr>
            </p:pic>
          </mc:Fallback>
        </mc:AlternateContent>
        <mc:AlternateContent xmlns:mc="http://schemas.openxmlformats.org/markup-compatibility/2006">
          <mc:Choice xmlns:p14="http://schemas.microsoft.com/office/powerpoint/2010/main" Requires="p14">
            <p:contentPart p14:bwMode="auto" r:id="rId49">
              <p14:nvContentPartPr>
                <p14:cNvPr id="33" name="Ink 32">
                  <a:extLst>
                    <a:ext uri="{FF2B5EF4-FFF2-40B4-BE49-F238E27FC236}">
                      <a16:creationId xmlns:a16="http://schemas.microsoft.com/office/drawing/2014/main" id="{269A00FB-4399-4704-ABB8-D77C5D28A32C}"/>
                    </a:ext>
                  </a:extLst>
                </p14:cNvPr>
                <p14:cNvContentPartPr/>
                <p14:nvPr/>
              </p14:nvContentPartPr>
              <p14:xfrm>
                <a:off x="2617137" y="3803678"/>
                <a:ext cx="55080" cy="360"/>
              </p14:xfrm>
            </p:contentPart>
          </mc:Choice>
          <mc:Fallback>
            <p:pic>
              <p:nvPicPr>
                <p:cNvPr id="33" name="Ink 32">
                  <a:extLst>
                    <a:ext uri="{FF2B5EF4-FFF2-40B4-BE49-F238E27FC236}">
                      <a16:creationId xmlns:a16="http://schemas.microsoft.com/office/drawing/2014/main" id="{269A00FB-4399-4704-ABB8-D77C5D28A32C}"/>
                    </a:ext>
                  </a:extLst>
                </p:cNvPr>
                <p:cNvPicPr/>
                <p:nvPr/>
              </p:nvPicPr>
              <p:blipFill>
                <a:blip r:embed="rId50"/>
                <a:stretch>
                  <a:fillRect/>
                </a:stretch>
              </p:blipFill>
              <p:spPr>
                <a:xfrm>
                  <a:off x="2608497" y="3795038"/>
                  <a:ext cx="7272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1">
              <p14:nvContentPartPr>
                <p14:cNvPr id="34" name="Ink 33">
                  <a:extLst>
                    <a:ext uri="{FF2B5EF4-FFF2-40B4-BE49-F238E27FC236}">
                      <a16:creationId xmlns:a16="http://schemas.microsoft.com/office/drawing/2014/main" id="{36087166-214C-4B32-9BF2-0D9A53DC6D3A}"/>
                    </a:ext>
                  </a:extLst>
                </p14:cNvPr>
                <p14:cNvContentPartPr/>
                <p14:nvPr/>
              </p14:nvContentPartPr>
              <p14:xfrm>
                <a:off x="2751057" y="3754718"/>
                <a:ext cx="61920" cy="83880"/>
              </p14:xfrm>
            </p:contentPart>
          </mc:Choice>
          <mc:Fallback>
            <p:pic>
              <p:nvPicPr>
                <p:cNvPr id="34" name="Ink 33">
                  <a:extLst>
                    <a:ext uri="{FF2B5EF4-FFF2-40B4-BE49-F238E27FC236}">
                      <a16:creationId xmlns:a16="http://schemas.microsoft.com/office/drawing/2014/main" id="{36087166-214C-4B32-9BF2-0D9A53DC6D3A}"/>
                    </a:ext>
                  </a:extLst>
                </p:cNvPr>
                <p:cNvPicPr/>
                <p:nvPr/>
              </p:nvPicPr>
              <p:blipFill>
                <a:blip r:embed="rId52"/>
                <a:stretch>
                  <a:fillRect/>
                </a:stretch>
              </p:blipFill>
              <p:spPr>
                <a:xfrm>
                  <a:off x="2742057" y="3746078"/>
                  <a:ext cx="79560" cy="101520"/>
                </a:xfrm>
                <a:prstGeom prst="rect">
                  <a:avLst/>
                </a:prstGeom>
              </p:spPr>
            </p:pic>
          </mc:Fallback>
        </mc:AlternateContent>
        <mc:AlternateContent xmlns:mc="http://schemas.openxmlformats.org/markup-compatibility/2006">
          <mc:Choice xmlns:p14="http://schemas.microsoft.com/office/powerpoint/2010/main" Requires="p14">
            <p:contentPart p14:bwMode="auto" r:id="rId53">
              <p14:nvContentPartPr>
                <p14:cNvPr id="35" name="Ink 34">
                  <a:extLst>
                    <a:ext uri="{FF2B5EF4-FFF2-40B4-BE49-F238E27FC236}">
                      <a16:creationId xmlns:a16="http://schemas.microsoft.com/office/drawing/2014/main" id="{1B0C57C6-2901-4384-9326-DC7C10841057}"/>
                    </a:ext>
                  </a:extLst>
                </p14:cNvPr>
                <p14:cNvContentPartPr/>
                <p14:nvPr/>
              </p14:nvContentPartPr>
              <p14:xfrm>
                <a:off x="2847537" y="3831758"/>
                <a:ext cx="360" cy="360"/>
              </p14:xfrm>
            </p:contentPart>
          </mc:Choice>
          <mc:Fallback>
            <p:pic>
              <p:nvPicPr>
                <p:cNvPr id="35" name="Ink 34">
                  <a:extLst>
                    <a:ext uri="{FF2B5EF4-FFF2-40B4-BE49-F238E27FC236}">
                      <a16:creationId xmlns:a16="http://schemas.microsoft.com/office/drawing/2014/main" id="{1B0C57C6-2901-4384-9326-DC7C10841057}"/>
                    </a:ext>
                  </a:extLst>
                </p:cNvPr>
                <p:cNvPicPr/>
                <p:nvPr/>
              </p:nvPicPr>
              <p:blipFill>
                <a:blip r:embed="rId28"/>
                <a:stretch>
                  <a:fillRect/>
                </a:stretch>
              </p:blipFill>
              <p:spPr>
                <a:xfrm>
                  <a:off x="2838537" y="3823118"/>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6" name="Ink 35">
                  <a:extLst>
                    <a:ext uri="{FF2B5EF4-FFF2-40B4-BE49-F238E27FC236}">
                      <a16:creationId xmlns:a16="http://schemas.microsoft.com/office/drawing/2014/main" id="{E276AE82-905C-4DA3-B62D-8150BEACA652}"/>
                    </a:ext>
                  </a:extLst>
                </p14:cNvPr>
                <p14:cNvContentPartPr/>
                <p14:nvPr/>
              </p14:nvContentPartPr>
              <p14:xfrm>
                <a:off x="2884257" y="3768758"/>
                <a:ext cx="34920" cy="78480"/>
              </p14:xfrm>
            </p:contentPart>
          </mc:Choice>
          <mc:Fallback>
            <p:pic>
              <p:nvPicPr>
                <p:cNvPr id="36" name="Ink 35">
                  <a:extLst>
                    <a:ext uri="{FF2B5EF4-FFF2-40B4-BE49-F238E27FC236}">
                      <a16:creationId xmlns:a16="http://schemas.microsoft.com/office/drawing/2014/main" id="{E276AE82-905C-4DA3-B62D-8150BEACA652}"/>
                    </a:ext>
                  </a:extLst>
                </p:cNvPr>
                <p:cNvPicPr/>
                <p:nvPr/>
              </p:nvPicPr>
              <p:blipFill>
                <a:blip r:embed="rId55"/>
                <a:stretch>
                  <a:fillRect/>
                </a:stretch>
              </p:blipFill>
              <p:spPr>
                <a:xfrm>
                  <a:off x="2875257" y="3760118"/>
                  <a:ext cx="52560" cy="961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7" name="Ink 36">
                  <a:extLst>
                    <a:ext uri="{FF2B5EF4-FFF2-40B4-BE49-F238E27FC236}">
                      <a16:creationId xmlns:a16="http://schemas.microsoft.com/office/drawing/2014/main" id="{6BF56829-DA29-4335-8AF0-BFD357231CEA}"/>
                    </a:ext>
                  </a:extLst>
                </p14:cNvPr>
                <p14:cNvContentPartPr/>
                <p14:nvPr/>
              </p14:nvContentPartPr>
              <p14:xfrm>
                <a:off x="2954817" y="3769118"/>
                <a:ext cx="53640" cy="63720"/>
              </p14:xfrm>
            </p:contentPart>
          </mc:Choice>
          <mc:Fallback>
            <p:pic>
              <p:nvPicPr>
                <p:cNvPr id="37" name="Ink 36">
                  <a:extLst>
                    <a:ext uri="{FF2B5EF4-FFF2-40B4-BE49-F238E27FC236}">
                      <a16:creationId xmlns:a16="http://schemas.microsoft.com/office/drawing/2014/main" id="{6BF56829-DA29-4335-8AF0-BFD357231CEA}"/>
                    </a:ext>
                  </a:extLst>
                </p:cNvPr>
                <p:cNvPicPr/>
                <p:nvPr/>
              </p:nvPicPr>
              <p:blipFill>
                <a:blip r:embed="rId57"/>
                <a:stretch>
                  <a:fillRect/>
                </a:stretch>
              </p:blipFill>
              <p:spPr>
                <a:xfrm>
                  <a:off x="2946177" y="3760118"/>
                  <a:ext cx="71280" cy="81360"/>
                </a:xfrm>
                <a:prstGeom prst="rect">
                  <a:avLst/>
                </a:prstGeom>
              </p:spPr>
            </p:pic>
          </mc:Fallback>
        </mc:AlternateContent>
      </p:grpSp>
      <p:grpSp>
        <p:nvGrpSpPr>
          <p:cNvPr id="47" name="Group 46">
            <a:extLst>
              <a:ext uri="{FF2B5EF4-FFF2-40B4-BE49-F238E27FC236}">
                <a16:creationId xmlns:a16="http://schemas.microsoft.com/office/drawing/2014/main" id="{6600F404-00A8-43E3-838A-01D1B3291E3B}"/>
              </a:ext>
            </a:extLst>
          </p:cNvPr>
          <p:cNvGrpSpPr/>
          <p:nvPr/>
        </p:nvGrpSpPr>
        <p:grpSpPr>
          <a:xfrm>
            <a:off x="5005377" y="3723398"/>
            <a:ext cx="578880" cy="206640"/>
            <a:chOff x="5005377" y="3723398"/>
            <a:chExt cx="578880" cy="206640"/>
          </a:xfrm>
        </p:grpSpPr>
        <mc:AlternateContent xmlns:mc="http://schemas.openxmlformats.org/markup-compatibility/2006">
          <mc:Choice xmlns:p14="http://schemas.microsoft.com/office/powerpoint/2010/main" Requires="p14">
            <p:contentPart p14:bwMode="auto" r:id="rId58">
              <p14:nvContentPartPr>
                <p14:cNvPr id="39" name="Ink 38">
                  <a:extLst>
                    <a:ext uri="{FF2B5EF4-FFF2-40B4-BE49-F238E27FC236}">
                      <a16:creationId xmlns:a16="http://schemas.microsoft.com/office/drawing/2014/main" id="{3A41C3FA-BB5F-4B63-9BA4-52DFB19243B6}"/>
                    </a:ext>
                  </a:extLst>
                </p14:cNvPr>
                <p14:cNvContentPartPr/>
                <p14:nvPr/>
              </p14:nvContentPartPr>
              <p14:xfrm>
                <a:off x="5081337" y="3742118"/>
                <a:ext cx="132120" cy="75240"/>
              </p14:xfrm>
            </p:contentPart>
          </mc:Choice>
          <mc:Fallback>
            <p:pic>
              <p:nvPicPr>
                <p:cNvPr id="39" name="Ink 38">
                  <a:extLst>
                    <a:ext uri="{FF2B5EF4-FFF2-40B4-BE49-F238E27FC236}">
                      <a16:creationId xmlns:a16="http://schemas.microsoft.com/office/drawing/2014/main" id="{3A41C3FA-BB5F-4B63-9BA4-52DFB19243B6}"/>
                    </a:ext>
                  </a:extLst>
                </p:cNvPr>
                <p:cNvPicPr/>
                <p:nvPr/>
              </p:nvPicPr>
              <p:blipFill>
                <a:blip r:embed="rId59"/>
                <a:stretch>
                  <a:fillRect/>
                </a:stretch>
              </p:blipFill>
              <p:spPr>
                <a:xfrm>
                  <a:off x="5072697" y="3733118"/>
                  <a:ext cx="149760" cy="928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0" name="Ink 39">
                  <a:extLst>
                    <a:ext uri="{FF2B5EF4-FFF2-40B4-BE49-F238E27FC236}">
                      <a16:creationId xmlns:a16="http://schemas.microsoft.com/office/drawing/2014/main" id="{C0F22371-391C-4262-918C-DF42F3C332DF}"/>
                    </a:ext>
                  </a:extLst>
                </p14:cNvPr>
                <p14:cNvContentPartPr/>
                <p14:nvPr/>
              </p14:nvContentPartPr>
              <p14:xfrm>
                <a:off x="5284377" y="3723398"/>
                <a:ext cx="65880" cy="70200"/>
              </p14:xfrm>
            </p:contentPart>
          </mc:Choice>
          <mc:Fallback>
            <p:pic>
              <p:nvPicPr>
                <p:cNvPr id="40" name="Ink 39">
                  <a:extLst>
                    <a:ext uri="{FF2B5EF4-FFF2-40B4-BE49-F238E27FC236}">
                      <a16:creationId xmlns:a16="http://schemas.microsoft.com/office/drawing/2014/main" id="{C0F22371-391C-4262-918C-DF42F3C332DF}"/>
                    </a:ext>
                  </a:extLst>
                </p:cNvPr>
                <p:cNvPicPr/>
                <p:nvPr/>
              </p:nvPicPr>
              <p:blipFill>
                <a:blip r:embed="rId61"/>
                <a:stretch>
                  <a:fillRect/>
                </a:stretch>
              </p:blipFill>
              <p:spPr>
                <a:xfrm>
                  <a:off x="5275737" y="3714398"/>
                  <a:ext cx="83520" cy="878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1" name="Ink 40">
                  <a:extLst>
                    <a:ext uri="{FF2B5EF4-FFF2-40B4-BE49-F238E27FC236}">
                      <a16:creationId xmlns:a16="http://schemas.microsoft.com/office/drawing/2014/main" id="{94190B63-4B54-4147-86A0-65257F79D3E3}"/>
                    </a:ext>
                  </a:extLst>
                </p14:cNvPr>
                <p14:cNvContentPartPr/>
                <p14:nvPr/>
              </p14:nvContentPartPr>
              <p14:xfrm>
                <a:off x="5381937" y="3747878"/>
                <a:ext cx="103680" cy="64440"/>
              </p14:xfrm>
            </p:contentPart>
          </mc:Choice>
          <mc:Fallback>
            <p:pic>
              <p:nvPicPr>
                <p:cNvPr id="41" name="Ink 40">
                  <a:extLst>
                    <a:ext uri="{FF2B5EF4-FFF2-40B4-BE49-F238E27FC236}">
                      <a16:creationId xmlns:a16="http://schemas.microsoft.com/office/drawing/2014/main" id="{94190B63-4B54-4147-86A0-65257F79D3E3}"/>
                    </a:ext>
                  </a:extLst>
                </p:cNvPr>
                <p:cNvPicPr/>
                <p:nvPr/>
              </p:nvPicPr>
              <p:blipFill>
                <a:blip r:embed="rId63"/>
                <a:stretch>
                  <a:fillRect/>
                </a:stretch>
              </p:blipFill>
              <p:spPr>
                <a:xfrm>
                  <a:off x="5373297" y="3739238"/>
                  <a:ext cx="121320" cy="8208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2" name="Ink 41">
                  <a:extLst>
                    <a:ext uri="{FF2B5EF4-FFF2-40B4-BE49-F238E27FC236}">
                      <a16:creationId xmlns:a16="http://schemas.microsoft.com/office/drawing/2014/main" id="{BE73B064-3CDF-4E8C-83B8-4175A14353D5}"/>
                    </a:ext>
                  </a:extLst>
                </p14:cNvPr>
                <p14:cNvContentPartPr/>
                <p14:nvPr/>
              </p14:nvContentPartPr>
              <p14:xfrm>
                <a:off x="5413257" y="3747878"/>
                <a:ext cx="38520" cy="76320"/>
              </p14:xfrm>
            </p:contentPart>
          </mc:Choice>
          <mc:Fallback>
            <p:pic>
              <p:nvPicPr>
                <p:cNvPr id="42" name="Ink 41">
                  <a:extLst>
                    <a:ext uri="{FF2B5EF4-FFF2-40B4-BE49-F238E27FC236}">
                      <a16:creationId xmlns:a16="http://schemas.microsoft.com/office/drawing/2014/main" id="{BE73B064-3CDF-4E8C-83B8-4175A14353D5}"/>
                    </a:ext>
                  </a:extLst>
                </p:cNvPr>
                <p:cNvPicPr/>
                <p:nvPr/>
              </p:nvPicPr>
              <p:blipFill>
                <a:blip r:embed="rId65"/>
                <a:stretch>
                  <a:fillRect/>
                </a:stretch>
              </p:blipFill>
              <p:spPr>
                <a:xfrm>
                  <a:off x="5404257" y="3739238"/>
                  <a:ext cx="5616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43" name="Ink 42">
                  <a:extLst>
                    <a:ext uri="{FF2B5EF4-FFF2-40B4-BE49-F238E27FC236}">
                      <a16:creationId xmlns:a16="http://schemas.microsoft.com/office/drawing/2014/main" id="{BBE1ED31-2BC8-4433-A402-C46FAC25EDA7}"/>
                    </a:ext>
                  </a:extLst>
                </p14:cNvPr>
                <p14:cNvContentPartPr/>
                <p14:nvPr/>
              </p14:nvContentPartPr>
              <p14:xfrm>
                <a:off x="5514417" y="3789998"/>
                <a:ext cx="63000" cy="50400"/>
              </p14:xfrm>
            </p:contentPart>
          </mc:Choice>
          <mc:Fallback>
            <p:pic>
              <p:nvPicPr>
                <p:cNvPr id="43" name="Ink 42">
                  <a:extLst>
                    <a:ext uri="{FF2B5EF4-FFF2-40B4-BE49-F238E27FC236}">
                      <a16:creationId xmlns:a16="http://schemas.microsoft.com/office/drawing/2014/main" id="{BBE1ED31-2BC8-4433-A402-C46FAC25EDA7}"/>
                    </a:ext>
                  </a:extLst>
                </p:cNvPr>
                <p:cNvPicPr/>
                <p:nvPr/>
              </p:nvPicPr>
              <p:blipFill>
                <a:blip r:embed="rId67"/>
                <a:stretch>
                  <a:fillRect/>
                </a:stretch>
              </p:blipFill>
              <p:spPr>
                <a:xfrm>
                  <a:off x="5505417" y="3780998"/>
                  <a:ext cx="80640" cy="6804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44" name="Ink 43">
                  <a:extLst>
                    <a:ext uri="{FF2B5EF4-FFF2-40B4-BE49-F238E27FC236}">
                      <a16:creationId xmlns:a16="http://schemas.microsoft.com/office/drawing/2014/main" id="{5B703E1B-19B1-4888-ABE8-637D91767CDB}"/>
                    </a:ext>
                  </a:extLst>
                </p14:cNvPr>
                <p14:cNvContentPartPr/>
                <p14:nvPr/>
              </p14:nvContentPartPr>
              <p14:xfrm>
                <a:off x="5548617" y="3782798"/>
                <a:ext cx="35640" cy="97560"/>
              </p14:xfrm>
            </p:contentPart>
          </mc:Choice>
          <mc:Fallback>
            <p:pic>
              <p:nvPicPr>
                <p:cNvPr id="44" name="Ink 43">
                  <a:extLst>
                    <a:ext uri="{FF2B5EF4-FFF2-40B4-BE49-F238E27FC236}">
                      <a16:creationId xmlns:a16="http://schemas.microsoft.com/office/drawing/2014/main" id="{5B703E1B-19B1-4888-ABE8-637D91767CDB}"/>
                    </a:ext>
                  </a:extLst>
                </p:cNvPr>
                <p:cNvPicPr/>
                <p:nvPr/>
              </p:nvPicPr>
              <p:blipFill>
                <a:blip r:embed="rId69"/>
                <a:stretch>
                  <a:fillRect/>
                </a:stretch>
              </p:blipFill>
              <p:spPr>
                <a:xfrm>
                  <a:off x="5539617" y="3774158"/>
                  <a:ext cx="53280" cy="11520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45" name="Ink 44">
                  <a:extLst>
                    <a:ext uri="{FF2B5EF4-FFF2-40B4-BE49-F238E27FC236}">
                      <a16:creationId xmlns:a16="http://schemas.microsoft.com/office/drawing/2014/main" id="{EEC625EA-A709-4029-97BA-433033071599}"/>
                    </a:ext>
                  </a:extLst>
                </p14:cNvPr>
                <p14:cNvContentPartPr/>
                <p14:nvPr/>
              </p14:nvContentPartPr>
              <p14:xfrm>
                <a:off x="5027337" y="3754718"/>
                <a:ext cx="47520" cy="91800"/>
              </p14:xfrm>
            </p:contentPart>
          </mc:Choice>
          <mc:Fallback>
            <p:pic>
              <p:nvPicPr>
                <p:cNvPr id="45" name="Ink 44">
                  <a:extLst>
                    <a:ext uri="{FF2B5EF4-FFF2-40B4-BE49-F238E27FC236}">
                      <a16:creationId xmlns:a16="http://schemas.microsoft.com/office/drawing/2014/main" id="{EEC625EA-A709-4029-97BA-433033071599}"/>
                    </a:ext>
                  </a:extLst>
                </p:cNvPr>
                <p:cNvPicPr/>
                <p:nvPr/>
              </p:nvPicPr>
              <p:blipFill>
                <a:blip r:embed="rId71"/>
                <a:stretch>
                  <a:fillRect/>
                </a:stretch>
              </p:blipFill>
              <p:spPr>
                <a:xfrm>
                  <a:off x="5018337" y="3746078"/>
                  <a:ext cx="65160" cy="1094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46" name="Ink 45">
                  <a:extLst>
                    <a:ext uri="{FF2B5EF4-FFF2-40B4-BE49-F238E27FC236}">
                      <a16:creationId xmlns:a16="http://schemas.microsoft.com/office/drawing/2014/main" id="{6CE2A0C2-A56C-4337-A6CD-5D2BC8A65F24}"/>
                    </a:ext>
                  </a:extLst>
                </p14:cNvPr>
                <p14:cNvContentPartPr/>
                <p14:nvPr/>
              </p14:nvContentPartPr>
              <p14:xfrm>
                <a:off x="5005377" y="3761918"/>
                <a:ext cx="34560" cy="168120"/>
              </p14:xfrm>
            </p:contentPart>
          </mc:Choice>
          <mc:Fallback>
            <p:pic>
              <p:nvPicPr>
                <p:cNvPr id="46" name="Ink 45">
                  <a:extLst>
                    <a:ext uri="{FF2B5EF4-FFF2-40B4-BE49-F238E27FC236}">
                      <a16:creationId xmlns:a16="http://schemas.microsoft.com/office/drawing/2014/main" id="{6CE2A0C2-A56C-4337-A6CD-5D2BC8A65F24}"/>
                    </a:ext>
                  </a:extLst>
                </p:cNvPr>
                <p:cNvPicPr/>
                <p:nvPr/>
              </p:nvPicPr>
              <p:blipFill>
                <a:blip r:embed="rId73"/>
                <a:stretch>
                  <a:fillRect/>
                </a:stretch>
              </p:blipFill>
              <p:spPr>
                <a:xfrm>
                  <a:off x="4996737" y="3752918"/>
                  <a:ext cx="52200" cy="185760"/>
                </a:xfrm>
                <a:prstGeom prst="rect">
                  <a:avLst/>
                </a:prstGeom>
              </p:spPr>
            </p:pic>
          </mc:Fallback>
        </mc:AlternateContent>
      </p:grpSp>
      <p:grpSp>
        <p:nvGrpSpPr>
          <p:cNvPr id="57" name="Group 56">
            <a:extLst>
              <a:ext uri="{FF2B5EF4-FFF2-40B4-BE49-F238E27FC236}">
                <a16:creationId xmlns:a16="http://schemas.microsoft.com/office/drawing/2014/main" id="{5470643E-A305-443E-AC9C-EA74C5487491}"/>
              </a:ext>
            </a:extLst>
          </p:cNvPr>
          <p:cNvGrpSpPr/>
          <p:nvPr/>
        </p:nvGrpSpPr>
        <p:grpSpPr>
          <a:xfrm>
            <a:off x="3654657" y="3713318"/>
            <a:ext cx="507600" cy="235080"/>
            <a:chOff x="3654657" y="3713318"/>
            <a:chExt cx="507600" cy="235080"/>
          </a:xfrm>
        </p:grpSpPr>
        <mc:AlternateContent xmlns:mc="http://schemas.openxmlformats.org/markup-compatibility/2006">
          <mc:Choice xmlns:p14="http://schemas.microsoft.com/office/powerpoint/2010/main" Requires="p14">
            <p:contentPart p14:bwMode="auto" r:id="rId74">
              <p14:nvContentPartPr>
                <p14:cNvPr id="48" name="Ink 47">
                  <a:extLst>
                    <a:ext uri="{FF2B5EF4-FFF2-40B4-BE49-F238E27FC236}">
                      <a16:creationId xmlns:a16="http://schemas.microsoft.com/office/drawing/2014/main" id="{FADE710D-6762-4660-ADA5-90C692B3F5AE}"/>
                    </a:ext>
                  </a:extLst>
                </p14:cNvPr>
                <p14:cNvContentPartPr/>
                <p14:nvPr/>
              </p14:nvContentPartPr>
              <p14:xfrm>
                <a:off x="3749697" y="3740678"/>
                <a:ext cx="67680" cy="74160"/>
              </p14:xfrm>
            </p:contentPart>
          </mc:Choice>
          <mc:Fallback>
            <p:pic>
              <p:nvPicPr>
                <p:cNvPr id="48" name="Ink 47">
                  <a:extLst>
                    <a:ext uri="{FF2B5EF4-FFF2-40B4-BE49-F238E27FC236}">
                      <a16:creationId xmlns:a16="http://schemas.microsoft.com/office/drawing/2014/main" id="{FADE710D-6762-4660-ADA5-90C692B3F5AE}"/>
                    </a:ext>
                  </a:extLst>
                </p:cNvPr>
                <p:cNvPicPr/>
                <p:nvPr/>
              </p:nvPicPr>
              <p:blipFill>
                <a:blip r:embed="rId75"/>
                <a:stretch>
                  <a:fillRect/>
                </a:stretch>
              </p:blipFill>
              <p:spPr>
                <a:xfrm>
                  <a:off x="3741057" y="3732038"/>
                  <a:ext cx="85320" cy="9180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49" name="Ink 48">
                  <a:extLst>
                    <a:ext uri="{FF2B5EF4-FFF2-40B4-BE49-F238E27FC236}">
                      <a16:creationId xmlns:a16="http://schemas.microsoft.com/office/drawing/2014/main" id="{6C6FDDF3-30D3-418F-8E75-A282463851F6}"/>
                    </a:ext>
                  </a:extLst>
                </p14:cNvPr>
                <p14:cNvContentPartPr/>
                <p14:nvPr/>
              </p14:nvContentPartPr>
              <p14:xfrm>
                <a:off x="3915657" y="3719798"/>
                <a:ext cx="29880" cy="89280"/>
              </p14:xfrm>
            </p:contentPart>
          </mc:Choice>
          <mc:Fallback>
            <p:pic>
              <p:nvPicPr>
                <p:cNvPr id="49" name="Ink 48">
                  <a:extLst>
                    <a:ext uri="{FF2B5EF4-FFF2-40B4-BE49-F238E27FC236}">
                      <a16:creationId xmlns:a16="http://schemas.microsoft.com/office/drawing/2014/main" id="{6C6FDDF3-30D3-418F-8E75-A282463851F6}"/>
                    </a:ext>
                  </a:extLst>
                </p:cNvPr>
                <p:cNvPicPr/>
                <p:nvPr/>
              </p:nvPicPr>
              <p:blipFill>
                <a:blip r:embed="rId77"/>
                <a:stretch>
                  <a:fillRect/>
                </a:stretch>
              </p:blipFill>
              <p:spPr>
                <a:xfrm>
                  <a:off x="3906657" y="3710798"/>
                  <a:ext cx="47520" cy="1069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0" name="Ink 49">
                  <a:extLst>
                    <a:ext uri="{FF2B5EF4-FFF2-40B4-BE49-F238E27FC236}">
                      <a16:creationId xmlns:a16="http://schemas.microsoft.com/office/drawing/2014/main" id="{F9780CE2-368E-4B55-9115-420D64EFAE8C}"/>
                    </a:ext>
                  </a:extLst>
                </p14:cNvPr>
                <p14:cNvContentPartPr/>
                <p14:nvPr/>
              </p14:nvContentPartPr>
              <p14:xfrm>
                <a:off x="3880737" y="3754358"/>
                <a:ext cx="118080" cy="21600"/>
              </p14:xfrm>
            </p:contentPart>
          </mc:Choice>
          <mc:Fallback>
            <p:pic>
              <p:nvPicPr>
                <p:cNvPr id="50" name="Ink 49">
                  <a:extLst>
                    <a:ext uri="{FF2B5EF4-FFF2-40B4-BE49-F238E27FC236}">
                      <a16:creationId xmlns:a16="http://schemas.microsoft.com/office/drawing/2014/main" id="{F9780CE2-368E-4B55-9115-420D64EFAE8C}"/>
                    </a:ext>
                  </a:extLst>
                </p:cNvPr>
                <p:cNvPicPr/>
                <p:nvPr/>
              </p:nvPicPr>
              <p:blipFill>
                <a:blip r:embed="rId79"/>
                <a:stretch>
                  <a:fillRect/>
                </a:stretch>
              </p:blipFill>
              <p:spPr>
                <a:xfrm>
                  <a:off x="3872097" y="3745718"/>
                  <a:ext cx="135720" cy="39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1" name="Ink 50">
                  <a:extLst>
                    <a:ext uri="{FF2B5EF4-FFF2-40B4-BE49-F238E27FC236}">
                      <a16:creationId xmlns:a16="http://schemas.microsoft.com/office/drawing/2014/main" id="{04470E61-C6E3-4626-A297-7A83AC147616}"/>
                    </a:ext>
                  </a:extLst>
                </p14:cNvPr>
                <p14:cNvContentPartPr/>
                <p14:nvPr/>
              </p14:nvContentPartPr>
              <p14:xfrm>
                <a:off x="3993417" y="3734198"/>
                <a:ext cx="95400" cy="68400"/>
              </p14:xfrm>
            </p:contentPart>
          </mc:Choice>
          <mc:Fallback>
            <p:pic>
              <p:nvPicPr>
                <p:cNvPr id="51" name="Ink 50">
                  <a:extLst>
                    <a:ext uri="{FF2B5EF4-FFF2-40B4-BE49-F238E27FC236}">
                      <a16:creationId xmlns:a16="http://schemas.microsoft.com/office/drawing/2014/main" id="{04470E61-C6E3-4626-A297-7A83AC147616}"/>
                    </a:ext>
                  </a:extLst>
                </p:cNvPr>
                <p:cNvPicPr/>
                <p:nvPr/>
              </p:nvPicPr>
              <p:blipFill>
                <a:blip r:embed="rId81"/>
                <a:stretch>
                  <a:fillRect/>
                </a:stretch>
              </p:blipFill>
              <p:spPr>
                <a:xfrm>
                  <a:off x="3984417" y="3725198"/>
                  <a:ext cx="113040" cy="8604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3" name="Ink 52">
                  <a:extLst>
                    <a:ext uri="{FF2B5EF4-FFF2-40B4-BE49-F238E27FC236}">
                      <a16:creationId xmlns:a16="http://schemas.microsoft.com/office/drawing/2014/main" id="{351CEF47-160B-40DE-931B-857B772F755F}"/>
                    </a:ext>
                  </a:extLst>
                </p14:cNvPr>
                <p14:cNvContentPartPr/>
                <p14:nvPr/>
              </p14:nvContentPartPr>
              <p14:xfrm>
                <a:off x="4134537" y="3726998"/>
                <a:ext cx="27720" cy="51120"/>
              </p14:xfrm>
            </p:contentPart>
          </mc:Choice>
          <mc:Fallback>
            <p:pic>
              <p:nvPicPr>
                <p:cNvPr id="53" name="Ink 52">
                  <a:extLst>
                    <a:ext uri="{FF2B5EF4-FFF2-40B4-BE49-F238E27FC236}">
                      <a16:creationId xmlns:a16="http://schemas.microsoft.com/office/drawing/2014/main" id="{351CEF47-160B-40DE-931B-857B772F755F}"/>
                    </a:ext>
                  </a:extLst>
                </p:cNvPr>
                <p:cNvPicPr/>
                <p:nvPr/>
              </p:nvPicPr>
              <p:blipFill>
                <a:blip r:embed="rId83"/>
                <a:stretch>
                  <a:fillRect/>
                </a:stretch>
              </p:blipFill>
              <p:spPr>
                <a:xfrm>
                  <a:off x="4125537" y="3718358"/>
                  <a:ext cx="45360" cy="6876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4" name="Ink 53">
                  <a:extLst>
                    <a:ext uri="{FF2B5EF4-FFF2-40B4-BE49-F238E27FC236}">
                      <a16:creationId xmlns:a16="http://schemas.microsoft.com/office/drawing/2014/main" id="{C60DC7E9-2E8C-4DF3-B887-E875364519BE}"/>
                    </a:ext>
                  </a:extLst>
                </p14:cNvPr>
                <p14:cNvContentPartPr/>
                <p14:nvPr/>
              </p14:nvContentPartPr>
              <p14:xfrm>
                <a:off x="3658617" y="3719798"/>
                <a:ext cx="68760" cy="118440"/>
              </p14:xfrm>
            </p:contentPart>
          </mc:Choice>
          <mc:Fallback>
            <p:pic>
              <p:nvPicPr>
                <p:cNvPr id="54" name="Ink 53">
                  <a:extLst>
                    <a:ext uri="{FF2B5EF4-FFF2-40B4-BE49-F238E27FC236}">
                      <a16:creationId xmlns:a16="http://schemas.microsoft.com/office/drawing/2014/main" id="{C60DC7E9-2E8C-4DF3-B887-E875364519BE}"/>
                    </a:ext>
                  </a:extLst>
                </p:cNvPr>
                <p:cNvPicPr/>
                <p:nvPr/>
              </p:nvPicPr>
              <p:blipFill>
                <a:blip r:embed="rId85"/>
                <a:stretch>
                  <a:fillRect/>
                </a:stretch>
              </p:blipFill>
              <p:spPr>
                <a:xfrm>
                  <a:off x="3649977" y="3711158"/>
                  <a:ext cx="86400" cy="13608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55" name="Ink 54">
                  <a:extLst>
                    <a:ext uri="{FF2B5EF4-FFF2-40B4-BE49-F238E27FC236}">
                      <a16:creationId xmlns:a16="http://schemas.microsoft.com/office/drawing/2014/main" id="{0D2B3839-C4B6-42D7-9B9D-804C0EC70539}"/>
                    </a:ext>
                  </a:extLst>
                </p14:cNvPr>
                <p14:cNvContentPartPr/>
                <p14:nvPr/>
              </p14:nvContentPartPr>
              <p14:xfrm>
                <a:off x="3654657" y="3713318"/>
                <a:ext cx="30960" cy="235080"/>
              </p14:xfrm>
            </p:contentPart>
          </mc:Choice>
          <mc:Fallback>
            <p:pic>
              <p:nvPicPr>
                <p:cNvPr id="55" name="Ink 54">
                  <a:extLst>
                    <a:ext uri="{FF2B5EF4-FFF2-40B4-BE49-F238E27FC236}">
                      <a16:creationId xmlns:a16="http://schemas.microsoft.com/office/drawing/2014/main" id="{0D2B3839-C4B6-42D7-9B9D-804C0EC70539}"/>
                    </a:ext>
                  </a:extLst>
                </p:cNvPr>
                <p:cNvPicPr/>
                <p:nvPr/>
              </p:nvPicPr>
              <p:blipFill>
                <a:blip r:embed="rId87"/>
                <a:stretch>
                  <a:fillRect/>
                </a:stretch>
              </p:blipFill>
              <p:spPr>
                <a:xfrm>
                  <a:off x="3645657" y="3704318"/>
                  <a:ext cx="48600" cy="252720"/>
                </a:xfrm>
                <a:prstGeom prst="rect">
                  <a:avLst/>
                </a:prstGeom>
              </p:spPr>
            </p:pic>
          </mc:Fallback>
        </mc:AlternateContent>
      </p:grpSp>
      <p:grpSp>
        <p:nvGrpSpPr>
          <p:cNvPr id="64" name="Group 63">
            <a:extLst>
              <a:ext uri="{FF2B5EF4-FFF2-40B4-BE49-F238E27FC236}">
                <a16:creationId xmlns:a16="http://schemas.microsoft.com/office/drawing/2014/main" id="{606CEB9E-1C28-407A-9EF0-200905BF4043}"/>
              </a:ext>
            </a:extLst>
          </p:cNvPr>
          <p:cNvGrpSpPr/>
          <p:nvPr/>
        </p:nvGrpSpPr>
        <p:grpSpPr>
          <a:xfrm>
            <a:off x="6550497" y="3698918"/>
            <a:ext cx="410040" cy="153720"/>
            <a:chOff x="6550497" y="3698918"/>
            <a:chExt cx="410040" cy="153720"/>
          </a:xfrm>
        </p:grpSpPr>
        <mc:AlternateContent xmlns:mc="http://schemas.openxmlformats.org/markup-compatibility/2006">
          <mc:Choice xmlns:p14="http://schemas.microsoft.com/office/powerpoint/2010/main" Requires="p14">
            <p:contentPart p14:bwMode="auto" r:id="rId88">
              <p14:nvContentPartPr>
                <p14:cNvPr id="58" name="Ink 57">
                  <a:extLst>
                    <a:ext uri="{FF2B5EF4-FFF2-40B4-BE49-F238E27FC236}">
                      <a16:creationId xmlns:a16="http://schemas.microsoft.com/office/drawing/2014/main" id="{208F2072-63A7-4F5D-82A0-645E80307FE9}"/>
                    </a:ext>
                  </a:extLst>
                </p14:cNvPr>
                <p14:cNvContentPartPr/>
                <p14:nvPr/>
              </p14:nvContentPartPr>
              <p14:xfrm>
                <a:off x="6550497" y="3734198"/>
                <a:ext cx="94680" cy="91080"/>
              </p14:xfrm>
            </p:contentPart>
          </mc:Choice>
          <mc:Fallback>
            <p:pic>
              <p:nvPicPr>
                <p:cNvPr id="58" name="Ink 57">
                  <a:extLst>
                    <a:ext uri="{FF2B5EF4-FFF2-40B4-BE49-F238E27FC236}">
                      <a16:creationId xmlns:a16="http://schemas.microsoft.com/office/drawing/2014/main" id="{208F2072-63A7-4F5D-82A0-645E80307FE9}"/>
                    </a:ext>
                  </a:extLst>
                </p:cNvPr>
                <p:cNvPicPr/>
                <p:nvPr/>
              </p:nvPicPr>
              <p:blipFill>
                <a:blip r:embed="rId89"/>
                <a:stretch>
                  <a:fillRect/>
                </a:stretch>
              </p:blipFill>
              <p:spPr>
                <a:xfrm>
                  <a:off x="6541497" y="3725198"/>
                  <a:ext cx="112320" cy="10872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59" name="Ink 58">
                  <a:extLst>
                    <a:ext uri="{FF2B5EF4-FFF2-40B4-BE49-F238E27FC236}">
                      <a16:creationId xmlns:a16="http://schemas.microsoft.com/office/drawing/2014/main" id="{5B4BE1F3-A29F-4C7C-BE8D-F3038390FFFC}"/>
                    </a:ext>
                  </a:extLst>
                </p14:cNvPr>
                <p14:cNvContentPartPr/>
                <p14:nvPr/>
              </p14:nvContentPartPr>
              <p14:xfrm>
                <a:off x="6565977" y="3698918"/>
                <a:ext cx="37440" cy="153720"/>
              </p14:xfrm>
            </p:contentPart>
          </mc:Choice>
          <mc:Fallback>
            <p:pic>
              <p:nvPicPr>
                <p:cNvPr id="59" name="Ink 58">
                  <a:extLst>
                    <a:ext uri="{FF2B5EF4-FFF2-40B4-BE49-F238E27FC236}">
                      <a16:creationId xmlns:a16="http://schemas.microsoft.com/office/drawing/2014/main" id="{5B4BE1F3-A29F-4C7C-BE8D-F3038390FFFC}"/>
                    </a:ext>
                  </a:extLst>
                </p:cNvPr>
                <p:cNvPicPr/>
                <p:nvPr/>
              </p:nvPicPr>
              <p:blipFill>
                <a:blip r:embed="rId91"/>
                <a:stretch>
                  <a:fillRect/>
                </a:stretch>
              </p:blipFill>
              <p:spPr>
                <a:xfrm>
                  <a:off x="6557337" y="3690278"/>
                  <a:ext cx="55080" cy="17136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0" name="Ink 59">
                  <a:extLst>
                    <a:ext uri="{FF2B5EF4-FFF2-40B4-BE49-F238E27FC236}">
                      <a16:creationId xmlns:a16="http://schemas.microsoft.com/office/drawing/2014/main" id="{5DB084F7-BBE7-4419-8FBD-86788921F420}"/>
                    </a:ext>
                  </a:extLst>
                </p14:cNvPr>
                <p14:cNvContentPartPr/>
                <p14:nvPr/>
              </p14:nvContentPartPr>
              <p14:xfrm>
                <a:off x="6695937" y="3754718"/>
                <a:ext cx="37440" cy="89640"/>
              </p14:xfrm>
            </p:contentPart>
          </mc:Choice>
          <mc:Fallback>
            <p:pic>
              <p:nvPicPr>
                <p:cNvPr id="60" name="Ink 59">
                  <a:extLst>
                    <a:ext uri="{FF2B5EF4-FFF2-40B4-BE49-F238E27FC236}">
                      <a16:creationId xmlns:a16="http://schemas.microsoft.com/office/drawing/2014/main" id="{5DB084F7-BBE7-4419-8FBD-86788921F420}"/>
                    </a:ext>
                  </a:extLst>
                </p:cNvPr>
                <p:cNvPicPr/>
                <p:nvPr/>
              </p:nvPicPr>
              <p:blipFill>
                <a:blip r:embed="rId93"/>
                <a:stretch>
                  <a:fillRect/>
                </a:stretch>
              </p:blipFill>
              <p:spPr>
                <a:xfrm>
                  <a:off x="6686937" y="3745718"/>
                  <a:ext cx="55080" cy="1072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1" name="Ink 60">
                  <a:extLst>
                    <a:ext uri="{FF2B5EF4-FFF2-40B4-BE49-F238E27FC236}">
                      <a16:creationId xmlns:a16="http://schemas.microsoft.com/office/drawing/2014/main" id="{CCE56DF8-3F9D-43DD-999D-8F887883D809}"/>
                    </a:ext>
                  </a:extLst>
                </p14:cNvPr>
                <p14:cNvContentPartPr/>
                <p14:nvPr/>
              </p14:nvContentPartPr>
              <p14:xfrm>
                <a:off x="6756417" y="3781718"/>
                <a:ext cx="47880" cy="29880"/>
              </p14:xfrm>
            </p:contentPart>
          </mc:Choice>
          <mc:Fallback>
            <p:pic>
              <p:nvPicPr>
                <p:cNvPr id="61" name="Ink 60">
                  <a:extLst>
                    <a:ext uri="{FF2B5EF4-FFF2-40B4-BE49-F238E27FC236}">
                      <a16:creationId xmlns:a16="http://schemas.microsoft.com/office/drawing/2014/main" id="{CCE56DF8-3F9D-43DD-999D-8F887883D809}"/>
                    </a:ext>
                  </a:extLst>
                </p:cNvPr>
                <p:cNvPicPr/>
                <p:nvPr/>
              </p:nvPicPr>
              <p:blipFill>
                <a:blip r:embed="rId95"/>
                <a:stretch>
                  <a:fillRect/>
                </a:stretch>
              </p:blipFill>
              <p:spPr>
                <a:xfrm>
                  <a:off x="6747777" y="3773078"/>
                  <a:ext cx="65520" cy="475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2" name="Ink 61">
                  <a:extLst>
                    <a:ext uri="{FF2B5EF4-FFF2-40B4-BE49-F238E27FC236}">
                      <a16:creationId xmlns:a16="http://schemas.microsoft.com/office/drawing/2014/main" id="{18AB754C-5BCC-448D-89FE-C3CC9BF398C2}"/>
                    </a:ext>
                  </a:extLst>
                </p14:cNvPr>
                <p14:cNvContentPartPr/>
                <p14:nvPr/>
              </p14:nvContentPartPr>
              <p14:xfrm>
                <a:off x="6819417" y="3769118"/>
                <a:ext cx="46440" cy="28440"/>
              </p14:xfrm>
            </p:contentPart>
          </mc:Choice>
          <mc:Fallback>
            <p:pic>
              <p:nvPicPr>
                <p:cNvPr id="62" name="Ink 61">
                  <a:extLst>
                    <a:ext uri="{FF2B5EF4-FFF2-40B4-BE49-F238E27FC236}">
                      <a16:creationId xmlns:a16="http://schemas.microsoft.com/office/drawing/2014/main" id="{18AB754C-5BCC-448D-89FE-C3CC9BF398C2}"/>
                    </a:ext>
                  </a:extLst>
                </p:cNvPr>
                <p:cNvPicPr/>
                <p:nvPr/>
              </p:nvPicPr>
              <p:blipFill>
                <a:blip r:embed="rId97"/>
                <a:stretch>
                  <a:fillRect/>
                </a:stretch>
              </p:blipFill>
              <p:spPr>
                <a:xfrm>
                  <a:off x="6810777" y="3760118"/>
                  <a:ext cx="64080" cy="4608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3" name="Ink 62">
                  <a:extLst>
                    <a:ext uri="{FF2B5EF4-FFF2-40B4-BE49-F238E27FC236}">
                      <a16:creationId xmlns:a16="http://schemas.microsoft.com/office/drawing/2014/main" id="{F07B8CBA-2616-42C9-B8F2-769C93B7F732}"/>
                    </a:ext>
                  </a:extLst>
                </p14:cNvPr>
                <p14:cNvContentPartPr/>
                <p14:nvPr/>
              </p14:nvContentPartPr>
              <p14:xfrm>
                <a:off x="6896097" y="3763718"/>
                <a:ext cx="64440" cy="48240"/>
              </p14:xfrm>
            </p:contentPart>
          </mc:Choice>
          <mc:Fallback>
            <p:pic>
              <p:nvPicPr>
                <p:cNvPr id="63" name="Ink 62">
                  <a:extLst>
                    <a:ext uri="{FF2B5EF4-FFF2-40B4-BE49-F238E27FC236}">
                      <a16:creationId xmlns:a16="http://schemas.microsoft.com/office/drawing/2014/main" id="{F07B8CBA-2616-42C9-B8F2-769C93B7F732}"/>
                    </a:ext>
                  </a:extLst>
                </p:cNvPr>
                <p:cNvPicPr/>
                <p:nvPr/>
              </p:nvPicPr>
              <p:blipFill>
                <a:blip r:embed="rId99"/>
                <a:stretch>
                  <a:fillRect/>
                </a:stretch>
              </p:blipFill>
              <p:spPr>
                <a:xfrm>
                  <a:off x="6887457" y="3754718"/>
                  <a:ext cx="82080" cy="65880"/>
                </a:xfrm>
                <a:prstGeom prst="rect">
                  <a:avLst/>
                </a:prstGeom>
              </p:spPr>
            </p:pic>
          </mc:Fallback>
        </mc:AlternateContent>
      </p:grpSp>
      <p:grpSp>
        <p:nvGrpSpPr>
          <p:cNvPr id="73" name="Group 72">
            <a:extLst>
              <a:ext uri="{FF2B5EF4-FFF2-40B4-BE49-F238E27FC236}">
                <a16:creationId xmlns:a16="http://schemas.microsoft.com/office/drawing/2014/main" id="{79AAFFCA-5BC6-43BD-970D-733DBFA3EB87}"/>
              </a:ext>
            </a:extLst>
          </p:cNvPr>
          <p:cNvGrpSpPr/>
          <p:nvPr/>
        </p:nvGrpSpPr>
        <p:grpSpPr>
          <a:xfrm>
            <a:off x="7769457" y="3754718"/>
            <a:ext cx="690840" cy="174960"/>
            <a:chOff x="7769457" y="3754718"/>
            <a:chExt cx="690840" cy="174960"/>
          </a:xfrm>
        </p:grpSpPr>
        <mc:AlternateContent xmlns:mc="http://schemas.openxmlformats.org/markup-compatibility/2006">
          <mc:Choice xmlns:p14="http://schemas.microsoft.com/office/powerpoint/2010/main" Requires="p14">
            <p:contentPart p14:bwMode="auto" r:id="rId100">
              <p14:nvContentPartPr>
                <p14:cNvPr id="65" name="Ink 64">
                  <a:extLst>
                    <a:ext uri="{FF2B5EF4-FFF2-40B4-BE49-F238E27FC236}">
                      <a16:creationId xmlns:a16="http://schemas.microsoft.com/office/drawing/2014/main" id="{FD7CB692-01BA-4F77-B23F-AF988BA308CD}"/>
                    </a:ext>
                  </a:extLst>
                </p14:cNvPr>
                <p14:cNvContentPartPr/>
                <p14:nvPr/>
              </p14:nvContentPartPr>
              <p14:xfrm>
                <a:off x="7769457" y="3779558"/>
                <a:ext cx="90360" cy="78480"/>
              </p14:xfrm>
            </p:contentPart>
          </mc:Choice>
          <mc:Fallback>
            <p:pic>
              <p:nvPicPr>
                <p:cNvPr id="65" name="Ink 64">
                  <a:extLst>
                    <a:ext uri="{FF2B5EF4-FFF2-40B4-BE49-F238E27FC236}">
                      <a16:creationId xmlns:a16="http://schemas.microsoft.com/office/drawing/2014/main" id="{FD7CB692-01BA-4F77-B23F-AF988BA308CD}"/>
                    </a:ext>
                  </a:extLst>
                </p:cNvPr>
                <p:cNvPicPr/>
                <p:nvPr/>
              </p:nvPicPr>
              <p:blipFill>
                <a:blip r:embed="rId101"/>
                <a:stretch>
                  <a:fillRect/>
                </a:stretch>
              </p:blipFill>
              <p:spPr>
                <a:xfrm>
                  <a:off x="7760817" y="3770918"/>
                  <a:ext cx="108000" cy="9612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66" name="Ink 65">
                  <a:extLst>
                    <a:ext uri="{FF2B5EF4-FFF2-40B4-BE49-F238E27FC236}">
                      <a16:creationId xmlns:a16="http://schemas.microsoft.com/office/drawing/2014/main" id="{AB56431A-043E-4F93-8F8A-081D0EA0FB39}"/>
                    </a:ext>
                  </a:extLst>
                </p14:cNvPr>
                <p14:cNvContentPartPr/>
                <p14:nvPr/>
              </p14:nvContentPartPr>
              <p14:xfrm>
                <a:off x="7776297" y="3754718"/>
                <a:ext cx="52560" cy="174960"/>
              </p14:xfrm>
            </p:contentPart>
          </mc:Choice>
          <mc:Fallback>
            <p:pic>
              <p:nvPicPr>
                <p:cNvPr id="66" name="Ink 65">
                  <a:extLst>
                    <a:ext uri="{FF2B5EF4-FFF2-40B4-BE49-F238E27FC236}">
                      <a16:creationId xmlns:a16="http://schemas.microsoft.com/office/drawing/2014/main" id="{AB56431A-043E-4F93-8F8A-081D0EA0FB39}"/>
                    </a:ext>
                  </a:extLst>
                </p:cNvPr>
                <p:cNvPicPr/>
                <p:nvPr/>
              </p:nvPicPr>
              <p:blipFill>
                <a:blip r:embed="rId103"/>
                <a:stretch>
                  <a:fillRect/>
                </a:stretch>
              </p:blipFill>
              <p:spPr>
                <a:xfrm>
                  <a:off x="7767297" y="3746078"/>
                  <a:ext cx="70200" cy="1926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67" name="Ink 66">
                  <a:extLst>
                    <a:ext uri="{FF2B5EF4-FFF2-40B4-BE49-F238E27FC236}">
                      <a16:creationId xmlns:a16="http://schemas.microsoft.com/office/drawing/2014/main" id="{195A4FC3-8675-498D-AC9A-E23D89EEDFDB}"/>
                    </a:ext>
                  </a:extLst>
                </p14:cNvPr>
                <p14:cNvContentPartPr/>
                <p14:nvPr/>
              </p14:nvContentPartPr>
              <p14:xfrm>
                <a:off x="7895097" y="3796478"/>
                <a:ext cx="79560" cy="101520"/>
              </p14:xfrm>
            </p:contentPart>
          </mc:Choice>
          <mc:Fallback>
            <p:pic>
              <p:nvPicPr>
                <p:cNvPr id="67" name="Ink 66">
                  <a:extLst>
                    <a:ext uri="{FF2B5EF4-FFF2-40B4-BE49-F238E27FC236}">
                      <a16:creationId xmlns:a16="http://schemas.microsoft.com/office/drawing/2014/main" id="{195A4FC3-8675-498D-AC9A-E23D89EEDFDB}"/>
                    </a:ext>
                  </a:extLst>
                </p:cNvPr>
                <p:cNvPicPr/>
                <p:nvPr/>
              </p:nvPicPr>
              <p:blipFill>
                <a:blip r:embed="rId105"/>
                <a:stretch>
                  <a:fillRect/>
                </a:stretch>
              </p:blipFill>
              <p:spPr>
                <a:xfrm>
                  <a:off x="7886097" y="3787838"/>
                  <a:ext cx="97200" cy="11916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68" name="Ink 67">
                  <a:extLst>
                    <a:ext uri="{FF2B5EF4-FFF2-40B4-BE49-F238E27FC236}">
                      <a16:creationId xmlns:a16="http://schemas.microsoft.com/office/drawing/2014/main" id="{3585F691-F964-4A47-BFC0-63E05A9593A6}"/>
                    </a:ext>
                  </a:extLst>
                </p14:cNvPr>
                <p14:cNvContentPartPr/>
                <p14:nvPr/>
              </p14:nvContentPartPr>
              <p14:xfrm>
                <a:off x="8007777" y="3775598"/>
                <a:ext cx="74520" cy="89640"/>
              </p14:xfrm>
            </p:contentPart>
          </mc:Choice>
          <mc:Fallback>
            <p:pic>
              <p:nvPicPr>
                <p:cNvPr id="68" name="Ink 67">
                  <a:extLst>
                    <a:ext uri="{FF2B5EF4-FFF2-40B4-BE49-F238E27FC236}">
                      <a16:creationId xmlns:a16="http://schemas.microsoft.com/office/drawing/2014/main" id="{3585F691-F964-4A47-BFC0-63E05A9593A6}"/>
                    </a:ext>
                  </a:extLst>
                </p:cNvPr>
                <p:cNvPicPr/>
                <p:nvPr/>
              </p:nvPicPr>
              <p:blipFill>
                <a:blip r:embed="rId107"/>
                <a:stretch>
                  <a:fillRect/>
                </a:stretch>
              </p:blipFill>
              <p:spPr>
                <a:xfrm>
                  <a:off x="7998777" y="3766958"/>
                  <a:ext cx="92160" cy="107280"/>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69" name="Ink 68">
                  <a:extLst>
                    <a:ext uri="{FF2B5EF4-FFF2-40B4-BE49-F238E27FC236}">
                      <a16:creationId xmlns:a16="http://schemas.microsoft.com/office/drawing/2014/main" id="{4F05D166-A8A9-4399-9FC7-0DFA49A1667E}"/>
                    </a:ext>
                  </a:extLst>
                </p14:cNvPr>
                <p14:cNvContentPartPr/>
                <p14:nvPr/>
              </p14:nvContentPartPr>
              <p14:xfrm>
                <a:off x="8112537" y="3783518"/>
                <a:ext cx="47160" cy="52560"/>
              </p14:xfrm>
            </p:contentPart>
          </mc:Choice>
          <mc:Fallback>
            <p:pic>
              <p:nvPicPr>
                <p:cNvPr id="69" name="Ink 68">
                  <a:extLst>
                    <a:ext uri="{FF2B5EF4-FFF2-40B4-BE49-F238E27FC236}">
                      <a16:creationId xmlns:a16="http://schemas.microsoft.com/office/drawing/2014/main" id="{4F05D166-A8A9-4399-9FC7-0DFA49A1667E}"/>
                    </a:ext>
                  </a:extLst>
                </p:cNvPr>
                <p:cNvPicPr/>
                <p:nvPr/>
              </p:nvPicPr>
              <p:blipFill>
                <a:blip r:embed="rId109"/>
                <a:stretch>
                  <a:fillRect/>
                </a:stretch>
              </p:blipFill>
              <p:spPr>
                <a:xfrm>
                  <a:off x="8103897" y="3774878"/>
                  <a:ext cx="64800" cy="7020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0" name="Ink 69">
                  <a:extLst>
                    <a:ext uri="{FF2B5EF4-FFF2-40B4-BE49-F238E27FC236}">
                      <a16:creationId xmlns:a16="http://schemas.microsoft.com/office/drawing/2014/main" id="{FA3FD7A8-1B2F-49CF-BCAB-1C54C11825B5}"/>
                    </a:ext>
                  </a:extLst>
                </p14:cNvPr>
                <p14:cNvContentPartPr/>
                <p14:nvPr/>
              </p14:nvContentPartPr>
              <p14:xfrm>
                <a:off x="8201457" y="3782798"/>
                <a:ext cx="7920" cy="47880"/>
              </p14:xfrm>
            </p:contentPart>
          </mc:Choice>
          <mc:Fallback>
            <p:pic>
              <p:nvPicPr>
                <p:cNvPr id="70" name="Ink 69">
                  <a:extLst>
                    <a:ext uri="{FF2B5EF4-FFF2-40B4-BE49-F238E27FC236}">
                      <a16:creationId xmlns:a16="http://schemas.microsoft.com/office/drawing/2014/main" id="{FA3FD7A8-1B2F-49CF-BCAB-1C54C11825B5}"/>
                    </a:ext>
                  </a:extLst>
                </p:cNvPr>
                <p:cNvPicPr/>
                <p:nvPr/>
              </p:nvPicPr>
              <p:blipFill>
                <a:blip r:embed="rId111"/>
                <a:stretch>
                  <a:fillRect/>
                </a:stretch>
              </p:blipFill>
              <p:spPr>
                <a:xfrm>
                  <a:off x="8192457" y="3774158"/>
                  <a:ext cx="25560" cy="655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1" name="Ink 70">
                  <a:extLst>
                    <a:ext uri="{FF2B5EF4-FFF2-40B4-BE49-F238E27FC236}">
                      <a16:creationId xmlns:a16="http://schemas.microsoft.com/office/drawing/2014/main" id="{234F326F-23BD-44B9-A92E-454DBF66E1B9}"/>
                    </a:ext>
                  </a:extLst>
                </p14:cNvPr>
                <p14:cNvContentPartPr/>
                <p14:nvPr/>
              </p14:nvContentPartPr>
              <p14:xfrm>
                <a:off x="8292177" y="3817718"/>
                <a:ext cx="51840" cy="7560"/>
              </p14:xfrm>
            </p:contentPart>
          </mc:Choice>
          <mc:Fallback>
            <p:pic>
              <p:nvPicPr>
                <p:cNvPr id="71" name="Ink 70">
                  <a:extLst>
                    <a:ext uri="{FF2B5EF4-FFF2-40B4-BE49-F238E27FC236}">
                      <a16:creationId xmlns:a16="http://schemas.microsoft.com/office/drawing/2014/main" id="{234F326F-23BD-44B9-A92E-454DBF66E1B9}"/>
                    </a:ext>
                  </a:extLst>
                </p:cNvPr>
                <p:cNvPicPr/>
                <p:nvPr/>
              </p:nvPicPr>
              <p:blipFill>
                <a:blip r:embed="rId113"/>
                <a:stretch>
                  <a:fillRect/>
                </a:stretch>
              </p:blipFill>
              <p:spPr>
                <a:xfrm>
                  <a:off x="8283537" y="3808718"/>
                  <a:ext cx="694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72" name="Ink 71">
                  <a:extLst>
                    <a:ext uri="{FF2B5EF4-FFF2-40B4-BE49-F238E27FC236}">
                      <a16:creationId xmlns:a16="http://schemas.microsoft.com/office/drawing/2014/main" id="{A877D2CC-4F1F-41E6-A976-29A79B3958EE}"/>
                    </a:ext>
                  </a:extLst>
                </p14:cNvPr>
                <p14:cNvContentPartPr/>
                <p14:nvPr/>
              </p14:nvContentPartPr>
              <p14:xfrm>
                <a:off x="8452737" y="3817718"/>
                <a:ext cx="7560" cy="360"/>
              </p14:xfrm>
            </p:contentPart>
          </mc:Choice>
          <mc:Fallback>
            <p:pic>
              <p:nvPicPr>
                <p:cNvPr id="72" name="Ink 71">
                  <a:extLst>
                    <a:ext uri="{FF2B5EF4-FFF2-40B4-BE49-F238E27FC236}">
                      <a16:creationId xmlns:a16="http://schemas.microsoft.com/office/drawing/2014/main" id="{A877D2CC-4F1F-41E6-A976-29A79B3958EE}"/>
                    </a:ext>
                  </a:extLst>
                </p:cNvPr>
                <p:cNvPicPr/>
                <p:nvPr/>
              </p:nvPicPr>
              <p:blipFill>
                <a:blip r:embed="rId115"/>
                <a:stretch>
                  <a:fillRect/>
                </a:stretch>
              </p:blipFill>
              <p:spPr>
                <a:xfrm>
                  <a:off x="8443737" y="3808718"/>
                  <a:ext cx="25200" cy="18000"/>
                </a:xfrm>
                <a:prstGeom prst="rect">
                  <a:avLst/>
                </a:prstGeom>
              </p:spPr>
            </p:pic>
          </mc:Fallback>
        </mc:AlternateContent>
      </p:grpSp>
      <p:sp>
        <p:nvSpPr>
          <p:cNvPr id="74" name="TextBox 73">
            <a:extLst>
              <a:ext uri="{FF2B5EF4-FFF2-40B4-BE49-F238E27FC236}">
                <a16:creationId xmlns:a16="http://schemas.microsoft.com/office/drawing/2014/main" id="{EABD5123-7F3E-4FD8-BE01-4D02616F6FBE}"/>
              </a:ext>
            </a:extLst>
          </p:cNvPr>
          <p:cNvSpPr txBox="1"/>
          <p:nvPr/>
        </p:nvSpPr>
        <p:spPr>
          <a:xfrm>
            <a:off x="161129" y="1195102"/>
            <a:ext cx="3588568" cy="646331"/>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solidFill>
                <a:latin typeface="+mn-lt"/>
              </a:rPr>
              <a:t>Sampling Distribution of the MEAN</a:t>
            </a:r>
          </a:p>
        </p:txBody>
      </p:sp>
      <p:sp>
        <p:nvSpPr>
          <p:cNvPr id="75" name="TextBox 74">
            <a:extLst>
              <a:ext uri="{FF2B5EF4-FFF2-40B4-BE49-F238E27FC236}">
                <a16:creationId xmlns:a16="http://schemas.microsoft.com/office/drawing/2014/main" id="{981143FD-A90E-495D-BFC0-DC7E14C8A702}"/>
              </a:ext>
            </a:extLst>
          </p:cNvPr>
          <p:cNvSpPr txBox="1"/>
          <p:nvPr/>
        </p:nvSpPr>
        <p:spPr>
          <a:xfrm>
            <a:off x="6003297" y="1730768"/>
            <a:ext cx="3200807"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Normal Distribution</a:t>
            </a:r>
          </a:p>
        </p:txBody>
      </p:sp>
      <mc:AlternateContent xmlns:mc="http://schemas.openxmlformats.org/markup-compatibility/2006">
        <mc:Choice xmlns:p14="http://schemas.microsoft.com/office/powerpoint/2010/main" Requires="p14">
          <p:contentPart p14:bwMode="auto" r:id="rId116">
            <p14:nvContentPartPr>
              <p14:cNvPr id="76" name="Ink 75">
                <a:extLst>
                  <a:ext uri="{FF2B5EF4-FFF2-40B4-BE49-F238E27FC236}">
                    <a16:creationId xmlns:a16="http://schemas.microsoft.com/office/drawing/2014/main" id="{38937F9B-1ECC-49C4-BDCD-9247853CE76C}"/>
                  </a:ext>
                </a:extLst>
              </p14:cNvPr>
              <p14:cNvContentPartPr/>
              <p14:nvPr/>
            </p14:nvContentPartPr>
            <p14:xfrm>
              <a:off x="128520" y="95400"/>
              <a:ext cx="8330040" cy="1047960"/>
            </p14:xfrm>
          </p:contentPart>
        </mc:Choice>
        <mc:Fallback>
          <p:pic>
            <p:nvPicPr>
              <p:cNvPr id="76" name="Ink 75">
                <a:extLst>
                  <a:ext uri="{FF2B5EF4-FFF2-40B4-BE49-F238E27FC236}">
                    <a16:creationId xmlns:a16="http://schemas.microsoft.com/office/drawing/2014/main" id="{38937F9B-1ECC-49C4-BDCD-9247853CE76C}"/>
                  </a:ext>
                </a:extLst>
              </p:cNvPr>
              <p:cNvPicPr/>
              <p:nvPr/>
            </p:nvPicPr>
            <p:blipFill>
              <a:blip r:embed="rId117"/>
              <a:stretch>
                <a:fillRect/>
              </a:stretch>
            </p:blipFill>
            <p:spPr>
              <a:xfrm>
                <a:off x="119160" y="86040"/>
                <a:ext cx="8348760" cy="1066680"/>
              </a:xfrm>
              <a:prstGeom prst="rect">
                <a:avLst/>
              </a:prstGeom>
            </p:spPr>
          </p:pic>
        </mc:Fallback>
      </mc:AlternateContent>
    </p:spTree>
    <p:extLst>
      <p:ext uri="{BB962C8B-B14F-4D97-AF65-F5344CB8AC3E}">
        <p14:creationId xmlns:p14="http://schemas.microsoft.com/office/powerpoint/2010/main" val="30657556"/>
      </p:ext>
    </p:extLst>
  </p:cSld>
  <p:clrMapOvr>
    <a:masterClrMapping/>
  </p:clrMapOvr>
  <p:transition spd="med">
    <p:wipe dir="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F4E2-C99F-4C9A-9438-DEDE4EC9CA88}"/>
              </a:ext>
            </a:extLst>
          </p:cNvPr>
          <p:cNvSpPr>
            <a:spLocks noGrp="1"/>
          </p:cNvSpPr>
          <p:nvPr>
            <p:ph type="title"/>
          </p:nvPr>
        </p:nvSpPr>
        <p:spPr>
          <a:xfrm>
            <a:off x="0" y="22860"/>
            <a:ext cx="4295219" cy="640080"/>
          </a:xfrm>
        </p:spPr>
        <p:txBody>
          <a:bodyPr/>
          <a:lstStyle/>
          <a:p>
            <a:r>
              <a:rPr lang="en-US" dirty="0"/>
              <a:t>Central Limit Theorem</a:t>
            </a:r>
          </a:p>
        </p:txBody>
      </p:sp>
      <p:grpSp>
        <p:nvGrpSpPr>
          <p:cNvPr id="4" name="Group 3">
            <a:extLst>
              <a:ext uri="{FF2B5EF4-FFF2-40B4-BE49-F238E27FC236}">
                <a16:creationId xmlns:a16="http://schemas.microsoft.com/office/drawing/2014/main" id="{69C0FA5D-35E2-4719-8F2D-F62EF0D5CB1E}"/>
              </a:ext>
            </a:extLst>
          </p:cNvPr>
          <p:cNvGrpSpPr/>
          <p:nvPr/>
        </p:nvGrpSpPr>
        <p:grpSpPr>
          <a:xfrm>
            <a:off x="711778" y="1655272"/>
            <a:ext cx="2478600" cy="1243080"/>
            <a:chOff x="669897" y="1521278"/>
            <a:chExt cx="2478600" cy="1243080"/>
          </a:xfrm>
        </p:grpSpPr>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67DF212E-5039-4547-8E4D-9D6A04B647E4}"/>
                    </a:ext>
                  </a:extLst>
                </p14:cNvPr>
                <p14:cNvContentPartPr/>
                <p14:nvPr/>
              </p14:nvContentPartPr>
              <p14:xfrm>
                <a:off x="836937" y="1521278"/>
                <a:ext cx="63720" cy="1243080"/>
              </p14:xfrm>
            </p:contentPart>
          </mc:Choice>
          <mc:Fallback>
            <p:pic>
              <p:nvPicPr>
                <p:cNvPr id="5" name="Ink 4">
                  <a:extLst>
                    <a:ext uri="{FF2B5EF4-FFF2-40B4-BE49-F238E27FC236}">
                      <a16:creationId xmlns:a16="http://schemas.microsoft.com/office/drawing/2014/main" id="{67DF212E-5039-4547-8E4D-9D6A04B647E4}"/>
                    </a:ext>
                  </a:extLst>
                </p:cNvPr>
                <p:cNvPicPr/>
                <p:nvPr/>
              </p:nvPicPr>
              <p:blipFill>
                <a:blip r:embed="rId3"/>
                <a:stretch>
                  <a:fillRect/>
                </a:stretch>
              </p:blipFill>
              <p:spPr>
                <a:xfrm>
                  <a:off x="827937" y="1512638"/>
                  <a:ext cx="81360" cy="126072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6" name="Ink 5">
                  <a:extLst>
                    <a:ext uri="{FF2B5EF4-FFF2-40B4-BE49-F238E27FC236}">
                      <a16:creationId xmlns:a16="http://schemas.microsoft.com/office/drawing/2014/main" id="{2806D210-4605-4E8C-B08C-617A3A419530}"/>
                    </a:ext>
                  </a:extLst>
                </p14:cNvPr>
                <p14:cNvContentPartPr/>
                <p14:nvPr/>
              </p14:nvContentPartPr>
              <p14:xfrm>
                <a:off x="669897" y="2587598"/>
                <a:ext cx="1758600" cy="36720"/>
              </p14:xfrm>
            </p:contentPart>
          </mc:Choice>
          <mc:Fallback>
            <p:pic>
              <p:nvPicPr>
                <p:cNvPr id="6" name="Ink 5">
                  <a:extLst>
                    <a:ext uri="{FF2B5EF4-FFF2-40B4-BE49-F238E27FC236}">
                      <a16:creationId xmlns:a16="http://schemas.microsoft.com/office/drawing/2014/main" id="{2806D210-4605-4E8C-B08C-617A3A419530}"/>
                    </a:ext>
                  </a:extLst>
                </p:cNvPr>
                <p:cNvPicPr/>
                <p:nvPr/>
              </p:nvPicPr>
              <p:blipFill>
                <a:blip r:embed="rId5"/>
                <a:stretch>
                  <a:fillRect/>
                </a:stretch>
              </p:blipFill>
              <p:spPr>
                <a:xfrm>
                  <a:off x="660897" y="2578598"/>
                  <a:ext cx="1776240" cy="543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Ink 6">
                  <a:extLst>
                    <a:ext uri="{FF2B5EF4-FFF2-40B4-BE49-F238E27FC236}">
                      <a16:creationId xmlns:a16="http://schemas.microsoft.com/office/drawing/2014/main" id="{8161947D-9A09-4FB8-804C-D15EDB8E0502}"/>
                    </a:ext>
                  </a:extLst>
                </p14:cNvPr>
                <p14:cNvContentPartPr/>
                <p14:nvPr/>
              </p14:nvContentPartPr>
              <p14:xfrm>
                <a:off x="921177" y="1540718"/>
                <a:ext cx="2227320" cy="839880"/>
              </p14:xfrm>
            </p:contentPart>
          </mc:Choice>
          <mc:Fallback>
            <p:pic>
              <p:nvPicPr>
                <p:cNvPr id="7" name="Ink 6">
                  <a:extLst>
                    <a:ext uri="{FF2B5EF4-FFF2-40B4-BE49-F238E27FC236}">
                      <a16:creationId xmlns:a16="http://schemas.microsoft.com/office/drawing/2014/main" id="{8161947D-9A09-4FB8-804C-D15EDB8E0502}"/>
                    </a:ext>
                  </a:extLst>
                </p:cNvPr>
                <p:cNvPicPr/>
                <p:nvPr/>
              </p:nvPicPr>
              <p:blipFill>
                <a:blip r:embed="rId7"/>
                <a:stretch>
                  <a:fillRect/>
                </a:stretch>
              </p:blipFill>
              <p:spPr>
                <a:xfrm>
                  <a:off x="912177" y="1531718"/>
                  <a:ext cx="2244960" cy="857520"/>
                </a:xfrm>
                <a:prstGeom prst="rect">
                  <a:avLst/>
                </a:prstGeom>
              </p:spPr>
            </p:pic>
          </mc:Fallback>
        </mc:AlternateContent>
      </p:grpSp>
      <p:pic>
        <p:nvPicPr>
          <p:cNvPr id="8" name="Picture 7">
            <a:extLst>
              <a:ext uri="{FF2B5EF4-FFF2-40B4-BE49-F238E27FC236}">
                <a16:creationId xmlns:a16="http://schemas.microsoft.com/office/drawing/2014/main" id="{F8779B53-938C-4D0B-9920-8BDECC4AF6C2}"/>
              </a:ext>
            </a:extLst>
          </p:cNvPr>
          <p:cNvPicPr>
            <a:picLocks noChangeAspect="1"/>
          </p:cNvPicPr>
          <p:nvPr/>
        </p:nvPicPr>
        <p:blipFill>
          <a:blip r:embed="rId8"/>
          <a:stretch>
            <a:fillRect/>
          </a:stretch>
        </p:blipFill>
        <p:spPr>
          <a:xfrm>
            <a:off x="4418496" y="1320984"/>
            <a:ext cx="4013726" cy="1547336"/>
          </a:xfrm>
          <a:prstGeom prst="rect">
            <a:avLst/>
          </a:prstGeom>
        </p:spPr>
      </p:pic>
      <p:sp>
        <p:nvSpPr>
          <p:cNvPr id="9" name="TextBox 8">
            <a:extLst>
              <a:ext uri="{FF2B5EF4-FFF2-40B4-BE49-F238E27FC236}">
                <a16:creationId xmlns:a16="http://schemas.microsoft.com/office/drawing/2014/main" id="{CC24C145-5C49-4D83-81D7-EF607B9E9219}"/>
              </a:ext>
            </a:extLst>
          </p:cNvPr>
          <p:cNvSpPr txBox="1"/>
          <p:nvPr/>
        </p:nvSpPr>
        <p:spPr>
          <a:xfrm>
            <a:off x="279206" y="928273"/>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Original distribution </a:t>
            </a:r>
            <a:endParaRPr lang="en-US" sz="1400" b="1" dirty="0">
              <a:solidFill>
                <a:schemeClr val="bg2"/>
              </a:solidFill>
              <a:latin typeface="+mn-lt"/>
            </a:endParaRPr>
          </a:p>
        </p:txBody>
      </p:sp>
      <p:sp>
        <p:nvSpPr>
          <p:cNvPr id="10" name="TextBox 9">
            <a:extLst>
              <a:ext uri="{FF2B5EF4-FFF2-40B4-BE49-F238E27FC236}">
                <a16:creationId xmlns:a16="http://schemas.microsoft.com/office/drawing/2014/main" id="{8F5ED67B-8421-410F-935C-BE90D5E52911}"/>
              </a:ext>
            </a:extLst>
          </p:cNvPr>
          <p:cNvSpPr txBox="1"/>
          <p:nvPr/>
        </p:nvSpPr>
        <p:spPr>
          <a:xfrm>
            <a:off x="4948539" y="913351"/>
            <a:ext cx="3441215" cy="461665"/>
          </a:xfrm>
          <a:prstGeom prst="rect">
            <a:avLst/>
          </a:prstGeom>
          <a:noFill/>
        </p:spPr>
        <p:txBody>
          <a:bodyPr wrap="square" rtlCol="0">
            <a:spAutoFit/>
          </a:bodyPr>
          <a:lstStyle/>
          <a:p>
            <a:pPr>
              <a:spcBef>
                <a:spcPts val="0"/>
              </a:spcBef>
              <a:spcAft>
                <a:spcPts val="0"/>
              </a:spcAft>
              <a:buClr>
                <a:schemeClr val="bg1"/>
              </a:buClr>
            </a:pPr>
            <a:r>
              <a:rPr lang="en-US" b="1" dirty="0">
                <a:solidFill>
                  <a:schemeClr val="bg2"/>
                </a:solidFill>
                <a:latin typeface="+mn-lt"/>
              </a:rPr>
              <a:t>Sampling distribution </a:t>
            </a:r>
            <a:endParaRPr lang="en-US" sz="1400" b="1" dirty="0">
              <a:solidFill>
                <a:schemeClr val="bg2"/>
              </a:solidFill>
              <a:latin typeface="+mn-lt"/>
            </a:endParaRPr>
          </a:p>
        </p:txBody>
      </p:sp>
      <p:sp>
        <p:nvSpPr>
          <p:cNvPr id="11" name="TextBox 10">
            <a:extLst>
              <a:ext uri="{FF2B5EF4-FFF2-40B4-BE49-F238E27FC236}">
                <a16:creationId xmlns:a16="http://schemas.microsoft.com/office/drawing/2014/main" id="{6C91ED42-F6E8-4528-8E84-668D4C8B4008}"/>
              </a:ext>
            </a:extLst>
          </p:cNvPr>
          <p:cNvSpPr txBox="1"/>
          <p:nvPr/>
        </p:nvSpPr>
        <p:spPr>
          <a:xfrm>
            <a:off x="373438" y="3163686"/>
            <a:ext cx="6205356"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solidFill>
                <a:latin typeface="+mn-lt"/>
              </a:rPr>
              <a:t>No matter the underlying distribution, the sampling distribution approximates a normal distribution, and the mean of the sampling distribution will be same as the population mean</a:t>
            </a:r>
          </a:p>
        </p:txBody>
      </p:sp>
      <p:sp>
        <p:nvSpPr>
          <p:cNvPr id="12" name="Rectangle 11">
            <a:extLst>
              <a:ext uri="{FF2B5EF4-FFF2-40B4-BE49-F238E27FC236}">
                <a16:creationId xmlns:a16="http://schemas.microsoft.com/office/drawing/2014/main" id="{6725BC00-9303-484B-ABAB-A7945E85F11B}"/>
              </a:ext>
            </a:extLst>
          </p:cNvPr>
          <p:cNvSpPr/>
          <p:nvPr/>
        </p:nvSpPr>
        <p:spPr>
          <a:xfrm>
            <a:off x="184974" y="3218510"/>
            <a:ext cx="188464" cy="599508"/>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3" name="Rectangle 12">
            <a:extLst>
              <a:ext uri="{FF2B5EF4-FFF2-40B4-BE49-F238E27FC236}">
                <a16:creationId xmlns:a16="http://schemas.microsoft.com/office/drawing/2014/main" id="{E7772B37-3DD2-48A0-8E29-14FE716C0269}"/>
              </a:ext>
            </a:extLst>
          </p:cNvPr>
          <p:cNvSpPr/>
          <p:nvPr/>
        </p:nvSpPr>
        <p:spPr>
          <a:xfrm>
            <a:off x="6756788" y="3218510"/>
            <a:ext cx="1807859" cy="1547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1600" dirty="0">
                <a:solidFill>
                  <a:schemeClr val="tx2"/>
                </a:solidFill>
                <a:latin typeface="+mn-lt"/>
              </a:rPr>
              <a:t>Usually for CLT to be applied with need sample size of at least </a:t>
            </a:r>
            <a:r>
              <a:rPr lang="en-US" sz="1600" b="1" dirty="0">
                <a:solidFill>
                  <a:schemeClr val="tx2"/>
                </a:solidFill>
                <a:latin typeface="+mn-lt"/>
              </a:rPr>
              <a:t>30</a:t>
            </a:r>
            <a:r>
              <a:rPr lang="en-US" sz="1600" dirty="0">
                <a:solidFill>
                  <a:schemeClr val="tx2"/>
                </a:solidFill>
                <a:latin typeface="+mn-lt"/>
              </a:rPr>
              <a:t> observations</a:t>
            </a:r>
          </a:p>
        </p:txBody>
      </p:sp>
      <p:grpSp>
        <p:nvGrpSpPr>
          <p:cNvPr id="29" name="Group 28">
            <a:extLst>
              <a:ext uri="{FF2B5EF4-FFF2-40B4-BE49-F238E27FC236}">
                <a16:creationId xmlns:a16="http://schemas.microsoft.com/office/drawing/2014/main" id="{514CDB31-EDC9-4278-A60D-6B7938E9EDE0}"/>
              </a:ext>
            </a:extLst>
          </p:cNvPr>
          <p:cNvGrpSpPr/>
          <p:nvPr/>
        </p:nvGrpSpPr>
        <p:grpSpPr>
          <a:xfrm>
            <a:off x="7706097" y="1514275"/>
            <a:ext cx="1128600" cy="679320"/>
            <a:chOff x="7706097" y="1514275"/>
            <a:chExt cx="1128600" cy="679320"/>
          </a:xfrm>
        </p:grpSpPr>
        <mc:AlternateContent xmlns:mc="http://schemas.openxmlformats.org/markup-compatibility/2006">
          <mc:Choice xmlns:p14="http://schemas.microsoft.com/office/powerpoint/2010/main" Requires="p14">
            <p:contentPart p14:bwMode="auto" r:id="rId9">
              <p14:nvContentPartPr>
                <p14:cNvPr id="14" name="Ink 13">
                  <a:extLst>
                    <a:ext uri="{FF2B5EF4-FFF2-40B4-BE49-F238E27FC236}">
                      <a16:creationId xmlns:a16="http://schemas.microsoft.com/office/drawing/2014/main" id="{67B1361C-8F18-405F-B256-EE432185C2E4}"/>
                    </a:ext>
                  </a:extLst>
                </p14:cNvPr>
                <p14:cNvContentPartPr/>
                <p14:nvPr/>
              </p14:nvContentPartPr>
              <p14:xfrm>
                <a:off x="7706097" y="1710475"/>
                <a:ext cx="111960" cy="203400"/>
              </p14:xfrm>
            </p:contentPart>
          </mc:Choice>
          <mc:Fallback>
            <p:pic>
              <p:nvPicPr>
                <p:cNvPr id="14" name="Ink 13">
                  <a:extLst>
                    <a:ext uri="{FF2B5EF4-FFF2-40B4-BE49-F238E27FC236}">
                      <a16:creationId xmlns:a16="http://schemas.microsoft.com/office/drawing/2014/main" id="{67B1361C-8F18-405F-B256-EE432185C2E4}"/>
                    </a:ext>
                  </a:extLst>
                </p:cNvPr>
                <p:cNvPicPr/>
                <p:nvPr/>
              </p:nvPicPr>
              <p:blipFill>
                <a:blip r:embed="rId10"/>
                <a:stretch>
                  <a:fillRect/>
                </a:stretch>
              </p:blipFill>
              <p:spPr>
                <a:xfrm>
                  <a:off x="7697097" y="1701835"/>
                  <a:ext cx="129600" cy="22104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5" name="Ink 14">
                  <a:extLst>
                    <a:ext uri="{FF2B5EF4-FFF2-40B4-BE49-F238E27FC236}">
                      <a16:creationId xmlns:a16="http://schemas.microsoft.com/office/drawing/2014/main" id="{F08825A2-E2F9-490A-B262-08CE2F5CAD07}"/>
                    </a:ext>
                  </a:extLst>
                </p14:cNvPr>
                <p14:cNvContentPartPr/>
                <p14:nvPr/>
              </p14:nvContentPartPr>
              <p14:xfrm>
                <a:off x="7859097" y="1576195"/>
                <a:ext cx="119520" cy="490680"/>
              </p14:xfrm>
            </p:contentPart>
          </mc:Choice>
          <mc:Fallback>
            <p:pic>
              <p:nvPicPr>
                <p:cNvPr id="15" name="Ink 14">
                  <a:extLst>
                    <a:ext uri="{FF2B5EF4-FFF2-40B4-BE49-F238E27FC236}">
                      <a16:creationId xmlns:a16="http://schemas.microsoft.com/office/drawing/2014/main" id="{F08825A2-E2F9-490A-B262-08CE2F5CAD07}"/>
                    </a:ext>
                  </a:extLst>
                </p:cNvPr>
                <p:cNvPicPr/>
                <p:nvPr/>
              </p:nvPicPr>
              <p:blipFill>
                <a:blip r:embed="rId12"/>
                <a:stretch>
                  <a:fillRect/>
                </a:stretch>
              </p:blipFill>
              <p:spPr>
                <a:xfrm>
                  <a:off x="7850457" y="1567555"/>
                  <a:ext cx="137160" cy="50832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6" name="Ink 15">
                  <a:extLst>
                    <a:ext uri="{FF2B5EF4-FFF2-40B4-BE49-F238E27FC236}">
                      <a16:creationId xmlns:a16="http://schemas.microsoft.com/office/drawing/2014/main" id="{A751389F-F962-4641-86A5-48F83C3EFDCA}"/>
                    </a:ext>
                  </a:extLst>
                </p14:cNvPr>
                <p14:cNvContentPartPr/>
                <p14:nvPr/>
              </p14:nvContentPartPr>
              <p14:xfrm>
                <a:off x="7991937" y="1756915"/>
                <a:ext cx="147960" cy="148680"/>
              </p14:xfrm>
            </p:contentPart>
          </mc:Choice>
          <mc:Fallback>
            <p:pic>
              <p:nvPicPr>
                <p:cNvPr id="16" name="Ink 15">
                  <a:extLst>
                    <a:ext uri="{FF2B5EF4-FFF2-40B4-BE49-F238E27FC236}">
                      <a16:creationId xmlns:a16="http://schemas.microsoft.com/office/drawing/2014/main" id="{A751389F-F962-4641-86A5-48F83C3EFDCA}"/>
                    </a:ext>
                  </a:extLst>
                </p:cNvPr>
                <p:cNvPicPr/>
                <p:nvPr/>
              </p:nvPicPr>
              <p:blipFill>
                <a:blip r:embed="rId14"/>
                <a:stretch>
                  <a:fillRect/>
                </a:stretch>
              </p:blipFill>
              <p:spPr>
                <a:xfrm>
                  <a:off x="7983297" y="1747915"/>
                  <a:ext cx="165600" cy="16632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8" name="Ink 17">
                  <a:extLst>
                    <a:ext uri="{FF2B5EF4-FFF2-40B4-BE49-F238E27FC236}">
                      <a16:creationId xmlns:a16="http://schemas.microsoft.com/office/drawing/2014/main" id="{175F7BB1-A7C1-46E6-ADEA-A9BE7FE84043}"/>
                    </a:ext>
                  </a:extLst>
                </p14:cNvPr>
                <p14:cNvContentPartPr/>
                <p14:nvPr/>
              </p14:nvContentPartPr>
              <p14:xfrm>
                <a:off x="8209737" y="1807315"/>
                <a:ext cx="20160" cy="84960"/>
              </p14:xfrm>
            </p:contentPart>
          </mc:Choice>
          <mc:Fallback>
            <p:pic>
              <p:nvPicPr>
                <p:cNvPr id="18" name="Ink 17">
                  <a:extLst>
                    <a:ext uri="{FF2B5EF4-FFF2-40B4-BE49-F238E27FC236}">
                      <a16:creationId xmlns:a16="http://schemas.microsoft.com/office/drawing/2014/main" id="{175F7BB1-A7C1-46E6-ADEA-A9BE7FE84043}"/>
                    </a:ext>
                  </a:extLst>
                </p:cNvPr>
                <p:cNvPicPr/>
                <p:nvPr/>
              </p:nvPicPr>
              <p:blipFill>
                <a:blip r:embed="rId16"/>
                <a:stretch>
                  <a:fillRect/>
                </a:stretch>
              </p:blipFill>
              <p:spPr>
                <a:xfrm>
                  <a:off x="8200737" y="1798675"/>
                  <a:ext cx="3780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17">
              <p14:nvContentPartPr>
                <p14:cNvPr id="19" name="Ink 18">
                  <a:extLst>
                    <a:ext uri="{FF2B5EF4-FFF2-40B4-BE49-F238E27FC236}">
                      <a16:creationId xmlns:a16="http://schemas.microsoft.com/office/drawing/2014/main" id="{4CF6FB66-8AC4-4992-BBBD-150210516A4D}"/>
                    </a:ext>
                  </a:extLst>
                </p14:cNvPr>
                <p14:cNvContentPartPr/>
                <p14:nvPr/>
              </p14:nvContentPartPr>
              <p14:xfrm>
                <a:off x="8376057" y="1768435"/>
                <a:ext cx="187920" cy="50760"/>
              </p14:xfrm>
            </p:contentPart>
          </mc:Choice>
          <mc:Fallback>
            <p:pic>
              <p:nvPicPr>
                <p:cNvPr id="19" name="Ink 18">
                  <a:extLst>
                    <a:ext uri="{FF2B5EF4-FFF2-40B4-BE49-F238E27FC236}">
                      <a16:creationId xmlns:a16="http://schemas.microsoft.com/office/drawing/2014/main" id="{4CF6FB66-8AC4-4992-BBBD-150210516A4D}"/>
                    </a:ext>
                  </a:extLst>
                </p:cNvPr>
                <p:cNvPicPr/>
                <p:nvPr/>
              </p:nvPicPr>
              <p:blipFill>
                <a:blip r:embed="rId18"/>
                <a:stretch>
                  <a:fillRect/>
                </a:stretch>
              </p:blipFill>
              <p:spPr>
                <a:xfrm>
                  <a:off x="8367417" y="1759795"/>
                  <a:ext cx="205560" cy="68400"/>
                </a:xfrm>
                <a:prstGeom prst="rect">
                  <a:avLst/>
                </a:prstGeom>
              </p:spPr>
            </p:pic>
          </mc:Fallback>
        </mc:AlternateContent>
        <mc:AlternateContent xmlns:mc="http://schemas.openxmlformats.org/markup-compatibility/2006">
          <mc:Choice xmlns:p14="http://schemas.microsoft.com/office/powerpoint/2010/main" Requires="p14">
            <p:contentPart p14:bwMode="auto" r:id="rId19">
              <p14:nvContentPartPr>
                <p14:cNvPr id="20" name="Ink 19">
                  <a:extLst>
                    <a:ext uri="{FF2B5EF4-FFF2-40B4-BE49-F238E27FC236}">
                      <a16:creationId xmlns:a16="http://schemas.microsoft.com/office/drawing/2014/main" id="{4921B5F0-30BF-4B50-90E6-A3CF5FD604A5}"/>
                    </a:ext>
                  </a:extLst>
                </p14:cNvPr>
                <p14:cNvContentPartPr/>
                <p14:nvPr/>
              </p14:nvContentPartPr>
              <p14:xfrm>
                <a:off x="8585217" y="1661155"/>
                <a:ext cx="76320" cy="78120"/>
              </p14:xfrm>
            </p:contentPart>
          </mc:Choice>
          <mc:Fallback>
            <p:pic>
              <p:nvPicPr>
                <p:cNvPr id="20" name="Ink 19">
                  <a:extLst>
                    <a:ext uri="{FF2B5EF4-FFF2-40B4-BE49-F238E27FC236}">
                      <a16:creationId xmlns:a16="http://schemas.microsoft.com/office/drawing/2014/main" id="{4921B5F0-30BF-4B50-90E6-A3CF5FD604A5}"/>
                    </a:ext>
                  </a:extLst>
                </p:cNvPr>
                <p:cNvPicPr/>
                <p:nvPr/>
              </p:nvPicPr>
              <p:blipFill>
                <a:blip r:embed="rId20"/>
                <a:stretch>
                  <a:fillRect/>
                </a:stretch>
              </p:blipFill>
              <p:spPr>
                <a:xfrm>
                  <a:off x="8576217" y="1652155"/>
                  <a:ext cx="93960" cy="95760"/>
                </a:xfrm>
                <a:prstGeom prst="rect">
                  <a:avLst/>
                </a:prstGeom>
              </p:spPr>
            </p:pic>
          </mc:Fallback>
        </mc:AlternateContent>
        <mc:AlternateContent xmlns:mc="http://schemas.openxmlformats.org/markup-compatibility/2006">
          <mc:Choice xmlns:p14="http://schemas.microsoft.com/office/powerpoint/2010/main" Requires="p14">
            <p:contentPart p14:bwMode="auto" r:id="rId21">
              <p14:nvContentPartPr>
                <p14:cNvPr id="21" name="Ink 20">
                  <a:extLst>
                    <a:ext uri="{FF2B5EF4-FFF2-40B4-BE49-F238E27FC236}">
                      <a16:creationId xmlns:a16="http://schemas.microsoft.com/office/drawing/2014/main" id="{6F9ABCCC-C501-4B8E-A7CB-D400283D3D0B}"/>
                    </a:ext>
                  </a:extLst>
                </p14:cNvPr>
                <p14:cNvContentPartPr/>
                <p14:nvPr/>
              </p14:nvContentPartPr>
              <p14:xfrm>
                <a:off x="8390097" y="1877515"/>
                <a:ext cx="323280" cy="17640"/>
              </p14:xfrm>
            </p:contentPart>
          </mc:Choice>
          <mc:Fallback>
            <p:pic>
              <p:nvPicPr>
                <p:cNvPr id="21" name="Ink 20">
                  <a:extLst>
                    <a:ext uri="{FF2B5EF4-FFF2-40B4-BE49-F238E27FC236}">
                      <a16:creationId xmlns:a16="http://schemas.microsoft.com/office/drawing/2014/main" id="{6F9ABCCC-C501-4B8E-A7CB-D400283D3D0B}"/>
                    </a:ext>
                  </a:extLst>
                </p:cNvPr>
                <p:cNvPicPr/>
                <p:nvPr/>
              </p:nvPicPr>
              <p:blipFill>
                <a:blip r:embed="rId22"/>
                <a:stretch>
                  <a:fillRect/>
                </a:stretch>
              </p:blipFill>
              <p:spPr>
                <a:xfrm>
                  <a:off x="8381097" y="1868515"/>
                  <a:ext cx="340920" cy="35280"/>
                </a:xfrm>
                <a:prstGeom prst="rect">
                  <a:avLst/>
                </a:prstGeom>
              </p:spPr>
            </p:pic>
          </mc:Fallback>
        </mc:AlternateContent>
        <mc:AlternateContent xmlns:mc="http://schemas.openxmlformats.org/markup-compatibility/2006">
          <mc:Choice xmlns:p14="http://schemas.microsoft.com/office/powerpoint/2010/main" Requires="p14">
            <p:contentPart p14:bwMode="auto" r:id="rId23">
              <p14:nvContentPartPr>
                <p14:cNvPr id="24" name="Ink 23">
                  <a:extLst>
                    <a:ext uri="{FF2B5EF4-FFF2-40B4-BE49-F238E27FC236}">
                      <a16:creationId xmlns:a16="http://schemas.microsoft.com/office/drawing/2014/main" id="{3FFD77F7-F515-4ACD-B9EF-8FC78CC46E9B}"/>
                    </a:ext>
                  </a:extLst>
                </p14:cNvPr>
                <p14:cNvContentPartPr/>
                <p14:nvPr/>
              </p14:nvContentPartPr>
              <p14:xfrm>
                <a:off x="8686377" y="1514275"/>
                <a:ext cx="148320" cy="679320"/>
              </p14:xfrm>
            </p:contentPart>
          </mc:Choice>
          <mc:Fallback>
            <p:pic>
              <p:nvPicPr>
                <p:cNvPr id="24" name="Ink 23">
                  <a:extLst>
                    <a:ext uri="{FF2B5EF4-FFF2-40B4-BE49-F238E27FC236}">
                      <a16:creationId xmlns:a16="http://schemas.microsoft.com/office/drawing/2014/main" id="{3FFD77F7-F515-4ACD-B9EF-8FC78CC46E9B}"/>
                    </a:ext>
                  </a:extLst>
                </p:cNvPr>
                <p:cNvPicPr/>
                <p:nvPr/>
              </p:nvPicPr>
              <p:blipFill>
                <a:blip r:embed="rId24"/>
                <a:stretch>
                  <a:fillRect/>
                </a:stretch>
              </p:blipFill>
              <p:spPr>
                <a:xfrm>
                  <a:off x="8677377" y="1505275"/>
                  <a:ext cx="165960" cy="696960"/>
                </a:xfrm>
                <a:prstGeom prst="rect">
                  <a:avLst/>
                </a:prstGeom>
              </p:spPr>
            </p:pic>
          </mc:Fallback>
        </mc:AlternateContent>
        <mc:AlternateContent xmlns:mc="http://schemas.openxmlformats.org/markup-compatibility/2006">
          <mc:Choice xmlns:p14="http://schemas.microsoft.com/office/powerpoint/2010/main" Requires="p14">
            <p:contentPart p14:bwMode="auto" r:id="rId25">
              <p14:nvContentPartPr>
                <p14:cNvPr id="28" name="Ink 27">
                  <a:extLst>
                    <a:ext uri="{FF2B5EF4-FFF2-40B4-BE49-F238E27FC236}">
                      <a16:creationId xmlns:a16="http://schemas.microsoft.com/office/drawing/2014/main" id="{CBF6917F-DB44-4161-B42E-C858281ABBBB}"/>
                    </a:ext>
                  </a:extLst>
                </p14:cNvPr>
                <p14:cNvContentPartPr/>
                <p14:nvPr/>
              </p14:nvContentPartPr>
              <p14:xfrm>
                <a:off x="8476497" y="1968235"/>
                <a:ext cx="97560" cy="139680"/>
              </p14:xfrm>
            </p:contentPart>
          </mc:Choice>
          <mc:Fallback>
            <p:pic>
              <p:nvPicPr>
                <p:cNvPr id="28" name="Ink 27">
                  <a:extLst>
                    <a:ext uri="{FF2B5EF4-FFF2-40B4-BE49-F238E27FC236}">
                      <a16:creationId xmlns:a16="http://schemas.microsoft.com/office/drawing/2014/main" id="{CBF6917F-DB44-4161-B42E-C858281ABBBB}"/>
                    </a:ext>
                  </a:extLst>
                </p:cNvPr>
                <p:cNvPicPr/>
                <p:nvPr/>
              </p:nvPicPr>
              <p:blipFill>
                <a:blip r:embed="rId26"/>
                <a:stretch>
                  <a:fillRect/>
                </a:stretch>
              </p:blipFill>
              <p:spPr>
                <a:xfrm>
                  <a:off x="8467497" y="1959235"/>
                  <a:ext cx="115200" cy="157320"/>
                </a:xfrm>
                <a:prstGeom prst="rect">
                  <a:avLst/>
                </a:prstGeom>
              </p:spPr>
            </p:pic>
          </mc:Fallback>
        </mc:AlternateContent>
      </p:grpSp>
      <p:grpSp>
        <p:nvGrpSpPr>
          <p:cNvPr id="35" name="Group 34">
            <a:extLst>
              <a:ext uri="{FF2B5EF4-FFF2-40B4-BE49-F238E27FC236}">
                <a16:creationId xmlns:a16="http://schemas.microsoft.com/office/drawing/2014/main" id="{11D89019-0806-462E-91FA-2CF2F2A6ABE4}"/>
              </a:ext>
            </a:extLst>
          </p:cNvPr>
          <p:cNvGrpSpPr/>
          <p:nvPr/>
        </p:nvGrpSpPr>
        <p:grpSpPr>
          <a:xfrm>
            <a:off x="104337" y="1856995"/>
            <a:ext cx="403920" cy="223200"/>
            <a:chOff x="104337" y="1856995"/>
            <a:chExt cx="403920" cy="223200"/>
          </a:xfrm>
        </p:grpSpPr>
        <mc:AlternateContent xmlns:mc="http://schemas.openxmlformats.org/markup-compatibility/2006">
          <mc:Choice xmlns:p14="http://schemas.microsoft.com/office/powerpoint/2010/main" Requires="p14">
            <p:contentPart p14:bwMode="auto" r:id="rId27">
              <p14:nvContentPartPr>
                <p14:cNvPr id="30" name="Ink 29">
                  <a:extLst>
                    <a:ext uri="{FF2B5EF4-FFF2-40B4-BE49-F238E27FC236}">
                      <a16:creationId xmlns:a16="http://schemas.microsoft.com/office/drawing/2014/main" id="{124E01D0-D2E8-4711-9DCC-F4E4A9C14678}"/>
                    </a:ext>
                  </a:extLst>
                </p14:cNvPr>
                <p14:cNvContentPartPr/>
                <p14:nvPr/>
              </p14:nvContentPartPr>
              <p14:xfrm>
                <a:off x="104337" y="1926475"/>
                <a:ext cx="145440" cy="153720"/>
              </p14:xfrm>
            </p:contentPart>
          </mc:Choice>
          <mc:Fallback>
            <p:pic>
              <p:nvPicPr>
                <p:cNvPr id="30" name="Ink 29">
                  <a:extLst>
                    <a:ext uri="{FF2B5EF4-FFF2-40B4-BE49-F238E27FC236}">
                      <a16:creationId xmlns:a16="http://schemas.microsoft.com/office/drawing/2014/main" id="{124E01D0-D2E8-4711-9DCC-F4E4A9C14678}"/>
                    </a:ext>
                  </a:extLst>
                </p:cNvPr>
                <p:cNvPicPr/>
                <p:nvPr/>
              </p:nvPicPr>
              <p:blipFill>
                <a:blip r:embed="rId28"/>
                <a:stretch>
                  <a:fillRect/>
                </a:stretch>
              </p:blipFill>
              <p:spPr>
                <a:xfrm>
                  <a:off x="95697" y="1917475"/>
                  <a:ext cx="163080" cy="171360"/>
                </a:xfrm>
                <a:prstGeom prst="rect">
                  <a:avLst/>
                </a:prstGeom>
              </p:spPr>
            </p:pic>
          </mc:Fallback>
        </mc:AlternateContent>
        <mc:AlternateContent xmlns:mc="http://schemas.openxmlformats.org/markup-compatibility/2006">
          <mc:Choice xmlns:p14="http://schemas.microsoft.com/office/powerpoint/2010/main" Requires="p14">
            <p:contentPart p14:bwMode="auto" r:id="rId29">
              <p14:nvContentPartPr>
                <p14:cNvPr id="31" name="Ink 30">
                  <a:extLst>
                    <a:ext uri="{FF2B5EF4-FFF2-40B4-BE49-F238E27FC236}">
                      <a16:creationId xmlns:a16="http://schemas.microsoft.com/office/drawing/2014/main" id="{89177487-C6E1-40D1-B28D-BD61321D9761}"/>
                    </a:ext>
                  </a:extLst>
                </p14:cNvPr>
                <p14:cNvContentPartPr/>
                <p14:nvPr/>
              </p14:nvContentPartPr>
              <p14:xfrm>
                <a:off x="281097" y="1955635"/>
                <a:ext cx="137160" cy="56160"/>
              </p14:xfrm>
            </p:contentPart>
          </mc:Choice>
          <mc:Fallback>
            <p:pic>
              <p:nvPicPr>
                <p:cNvPr id="31" name="Ink 30">
                  <a:extLst>
                    <a:ext uri="{FF2B5EF4-FFF2-40B4-BE49-F238E27FC236}">
                      <a16:creationId xmlns:a16="http://schemas.microsoft.com/office/drawing/2014/main" id="{89177487-C6E1-40D1-B28D-BD61321D9761}"/>
                    </a:ext>
                  </a:extLst>
                </p:cNvPr>
                <p:cNvPicPr/>
                <p:nvPr/>
              </p:nvPicPr>
              <p:blipFill>
                <a:blip r:embed="rId30"/>
                <a:stretch>
                  <a:fillRect/>
                </a:stretch>
              </p:blipFill>
              <p:spPr>
                <a:xfrm>
                  <a:off x="272457" y="1946995"/>
                  <a:ext cx="154800" cy="73800"/>
                </a:xfrm>
                <a:prstGeom prst="rect">
                  <a:avLst/>
                </a:prstGeom>
              </p:spPr>
            </p:pic>
          </mc:Fallback>
        </mc:AlternateContent>
        <mc:AlternateContent xmlns:mc="http://schemas.openxmlformats.org/markup-compatibility/2006">
          <mc:Choice xmlns:p14="http://schemas.microsoft.com/office/powerpoint/2010/main" Requires="p14">
            <p:contentPart p14:bwMode="auto" r:id="rId31">
              <p14:nvContentPartPr>
                <p14:cNvPr id="32" name="Ink 31">
                  <a:extLst>
                    <a:ext uri="{FF2B5EF4-FFF2-40B4-BE49-F238E27FC236}">
                      <a16:creationId xmlns:a16="http://schemas.microsoft.com/office/drawing/2014/main" id="{2FDA5ECC-EFB9-46D7-ADD4-C48D13149557}"/>
                    </a:ext>
                  </a:extLst>
                </p14:cNvPr>
                <p14:cNvContentPartPr/>
                <p14:nvPr/>
              </p14:nvContentPartPr>
              <p14:xfrm>
                <a:off x="404577" y="1856995"/>
                <a:ext cx="103680" cy="77760"/>
              </p14:xfrm>
            </p:contentPart>
          </mc:Choice>
          <mc:Fallback>
            <p:pic>
              <p:nvPicPr>
                <p:cNvPr id="32" name="Ink 31">
                  <a:extLst>
                    <a:ext uri="{FF2B5EF4-FFF2-40B4-BE49-F238E27FC236}">
                      <a16:creationId xmlns:a16="http://schemas.microsoft.com/office/drawing/2014/main" id="{2FDA5ECC-EFB9-46D7-ADD4-C48D13149557}"/>
                    </a:ext>
                  </a:extLst>
                </p:cNvPr>
                <p:cNvPicPr/>
                <p:nvPr/>
              </p:nvPicPr>
              <p:blipFill>
                <a:blip r:embed="rId32"/>
                <a:stretch>
                  <a:fillRect/>
                </a:stretch>
              </p:blipFill>
              <p:spPr>
                <a:xfrm>
                  <a:off x="395937" y="1848355"/>
                  <a:ext cx="121320" cy="95400"/>
                </a:xfrm>
                <a:prstGeom prst="rect">
                  <a:avLst/>
                </a:prstGeom>
              </p:spPr>
            </p:pic>
          </mc:Fallback>
        </mc:AlternateContent>
        <mc:AlternateContent xmlns:mc="http://schemas.openxmlformats.org/markup-compatibility/2006">
          <mc:Choice xmlns:p14="http://schemas.microsoft.com/office/powerpoint/2010/main" Requires="p14">
            <p:contentPart p14:bwMode="auto" r:id="rId33">
              <p14:nvContentPartPr>
                <p14:cNvPr id="34" name="Ink 33">
                  <a:extLst>
                    <a:ext uri="{FF2B5EF4-FFF2-40B4-BE49-F238E27FC236}">
                      <a16:creationId xmlns:a16="http://schemas.microsoft.com/office/drawing/2014/main" id="{AFF3A8AC-157D-4B12-B887-5B24F08B28D7}"/>
                    </a:ext>
                  </a:extLst>
                </p14:cNvPr>
                <p14:cNvContentPartPr/>
                <p14:nvPr/>
              </p14:nvContentPartPr>
              <p14:xfrm>
                <a:off x="341937" y="1960315"/>
                <a:ext cx="10800" cy="15120"/>
              </p14:xfrm>
            </p:contentPart>
          </mc:Choice>
          <mc:Fallback>
            <p:pic>
              <p:nvPicPr>
                <p:cNvPr id="34" name="Ink 33">
                  <a:extLst>
                    <a:ext uri="{FF2B5EF4-FFF2-40B4-BE49-F238E27FC236}">
                      <a16:creationId xmlns:a16="http://schemas.microsoft.com/office/drawing/2014/main" id="{AFF3A8AC-157D-4B12-B887-5B24F08B28D7}"/>
                    </a:ext>
                  </a:extLst>
                </p:cNvPr>
                <p:cNvPicPr/>
                <p:nvPr/>
              </p:nvPicPr>
              <p:blipFill>
                <a:blip r:embed="rId34"/>
                <a:stretch>
                  <a:fillRect/>
                </a:stretch>
              </p:blipFill>
              <p:spPr>
                <a:xfrm>
                  <a:off x="332937" y="1951675"/>
                  <a:ext cx="28440" cy="327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5">
            <p14:nvContentPartPr>
              <p14:cNvPr id="36" name="Ink 35">
                <a:extLst>
                  <a:ext uri="{FF2B5EF4-FFF2-40B4-BE49-F238E27FC236}">
                    <a16:creationId xmlns:a16="http://schemas.microsoft.com/office/drawing/2014/main" id="{5837E66D-2498-4C3D-95B5-AB89EC23DC8D}"/>
                  </a:ext>
                </a:extLst>
              </p14:cNvPr>
              <p14:cNvContentPartPr/>
              <p14:nvPr/>
            </p14:nvContentPartPr>
            <p14:xfrm>
              <a:off x="-496143" y="1095595"/>
              <a:ext cx="360" cy="360"/>
            </p14:xfrm>
          </p:contentPart>
        </mc:Choice>
        <mc:Fallback>
          <p:pic>
            <p:nvPicPr>
              <p:cNvPr id="36" name="Ink 35">
                <a:extLst>
                  <a:ext uri="{FF2B5EF4-FFF2-40B4-BE49-F238E27FC236}">
                    <a16:creationId xmlns:a16="http://schemas.microsoft.com/office/drawing/2014/main" id="{5837E66D-2498-4C3D-95B5-AB89EC23DC8D}"/>
                  </a:ext>
                </a:extLst>
              </p:cNvPr>
              <p:cNvPicPr/>
              <p:nvPr/>
            </p:nvPicPr>
            <p:blipFill>
              <a:blip r:embed="rId36"/>
              <a:stretch>
                <a:fillRect/>
              </a:stretch>
            </p:blipFill>
            <p:spPr>
              <a:xfrm>
                <a:off x="-504783" y="1086595"/>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37">
            <p14:nvContentPartPr>
              <p14:cNvPr id="37" name="Ink 36">
                <a:extLst>
                  <a:ext uri="{FF2B5EF4-FFF2-40B4-BE49-F238E27FC236}">
                    <a16:creationId xmlns:a16="http://schemas.microsoft.com/office/drawing/2014/main" id="{088577DF-85AF-4E8E-BE62-20667ED691E3}"/>
                  </a:ext>
                </a:extLst>
              </p14:cNvPr>
              <p14:cNvContentPartPr/>
              <p14:nvPr/>
            </p14:nvContentPartPr>
            <p14:xfrm>
              <a:off x="123840" y="4680"/>
              <a:ext cx="8796600" cy="4824720"/>
            </p14:xfrm>
          </p:contentPart>
        </mc:Choice>
        <mc:Fallback>
          <p:pic>
            <p:nvPicPr>
              <p:cNvPr id="37" name="Ink 36">
                <a:extLst>
                  <a:ext uri="{FF2B5EF4-FFF2-40B4-BE49-F238E27FC236}">
                    <a16:creationId xmlns:a16="http://schemas.microsoft.com/office/drawing/2014/main" id="{088577DF-85AF-4E8E-BE62-20667ED691E3}"/>
                  </a:ext>
                </a:extLst>
              </p:cNvPr>
              <p:cNvPicPr/>
              <p:nvPr/>
            </p:nvPicPr>
            <p:blipFill>
              <a:blip r:embed="rId38"/>
              <a:stretch>
                <a:fillRect/>
              </a:stretch>
            </p:blipFill>
            <p:spPr>
              <a:xfrm>
                <a:off x="114480" y="-4680"/>
                <a:ext cx="8815320" cy="4843440"/>
              </a:xfrm>
              <a:prstGeom prst="rect">
                <a:avLst/>
              </a:prstGeom>
            </p:spPr>
          </p:pic>
        </mc:Fallback>
      </mc:AlternateContent>
    </p:spTree>
    <p:extLst>
      <p:ext uri="{BB962C8B-B14F-4D97-AF65-F5344CB8AC3E}">
        <p14:creationId xmlns:p14="http://schemas.microsoft.com/office/powerpoint/2010/main" val="3012613294"/>
      </p:ext>
    </p:extLst>
  </p:cSld>
  <p:clrMapOvr>
    <a:masterClrMapping/>
  </p:clrMapOvr>
  <p:transition spd="med">
    <p:wipe dir="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AB86-8B83-4388-9E31-E03CF8FFCD09}"/>
              </a:ext>
            </a:extLst>
          </p:cNvPr>
          <p:cNvSpPr>
            <a:spLocks noGrp="1"/>
          </p:cNvSpPr>
          <p:nvPr>
            <p:ph type="title"/>
          </p:nvPr>
        </p:nvSpPr>
        <p:spPr>
          <a:xfrm>
            <a:off x="0" y="0"/>
            <a:ext cx="4295219" cy="640080"/>
          </a:xfrm>
        </p:spPr>
        <p:txBody>
          <a:bodyPr/>
          <a:lstStyle/>
          <a:p>
            <a:r>
              <a:rPr lang="en-US" dirty="0"/>
              <a:t>Why CLT is important ? </a:t>
            </a:r>
          </a:p>
        </p:txBody>
      </p:sp>
      <p:sp>
        <p:nvSpPr>
          <p:cNvPr id="3" name="Content Placeholder 2">
            <a:extLst>
              <a:ext uri="{FF2B5EF4-FFF2-40B4-BE49-F238E27FC236}">
                <a16:creationId xmlns:a16="http://schemas.microsoft.com/office/drawing/2014/main" id="{08E511C3-797A-4799-81E2-1343734E3DF9}"/>
              </a:ext>
            </a:extLst>
          </p:cNvPr>
          <p:cNvSpPr>
            <a:spLocks noGrp="1"/>
          </p:cNvSpPr>
          <p:nvPr>
            <p:ph sz="half" idx="13"/>
          </p:nvPr>
        </p:nvSpPr>
        <p:spPr>
          <a:xfrm>
            <a:off x="162637" y="971550"/>
            <a:ext cx="7361967" cy="1600200"/>
          </a:xfrm>
        </p:spPr>
        <p:txBody>
          <a:bodyPr/>
          <a:lstStyle/>
          <a:p>
            <a:r>
              <a:rPr lang="en-US" dirty="0"/>
              <a:t>It approx. a wide variety of random variable</a:t>
            </a:r>
          </a:p>
          <a:p>
            <a:r>
              <a:rPr lang="en-US" dirty="0"/>
              <a:t>Distributions of sample with large enough sample sizes could be approximated to normal</a:t>
            </a:r>
          </a:p>
          <a:p>
            <a:r>
              <a:rPr lang="en-US" dirty="0"/>
              <a:t>All computable statistics are elegant</a:t>
            </a:r>
          </a:p>
          <a:p>
            <a:r>
              <a:rPr lang="en-US" dirty="0"/>
              <a:t>Decision based on normal distribution insights have a good track record</a:t>
            </a:r>
          </a:p>
        </p:txBody>
      </p:sp>
      <p:sp>
        <p:nvSpPr>
          <p:cNvPr id="4" name="Rectangle 3">
            <a:extLst>
              <a:ext uri="{FF2B5EF4-FFF2-40B4-BE49-F238E27FC236}">
                <a16:creationId xmlns:a16="http://schemas.microsoft.com/office/drawing/2014/main" id="{F6AB9167-933D-4D18-BC21-28DC93BCCFFC}"/>
              </a:ext>
            </a:extLst>
          </p:cNvPr>
          <p:cNvSpPr/>
          <p:nvPr/>
        </p:nvSpPr>
        <p:spPr>
          <a:xfrm>
            <a:off x="1043533" y="2605342"/>
            <a:ext cx="7056934" cy="164033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LT allows us to perform test, solve problems and make inferences using the normal distribution, even when the population is not normally distributed</a:t>
            </a:r>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9617B747-FC4D-4CB1-B781-D7BEE1FF77A5}"/>
                  </a:ext>
                </a:extLst>
              </p14:cNvPr>
              <p14:cNvContentPartPr/>
              <p14:nvPr/>
            </p14:nvContentPartPr>
            <p14:xfrm>
              <a:off x="190440" y="104760"/>
              <a:ext cx="8772840" cy="4853520"/>
            </p14:xfrm>
          </p:contentPart>
        </mc:Choice>
        <mc:Fallback>
          <p:pic>
            <p:nvPicPr>
              <p:cNvPr id="5" name="Ink 4">
                <a:extLst>
                  <a:ext uri="{FF2B5EF4-FFF2-40B4-BE49-F238E27FC236}">
                    <a16:creationId xmlns:a16="http://schemas.microsoft.com/office/drawing/2014/main" id="{9617B747-FC4D-4CB1-B781-D7BEE1FF77A5}"/>
                  </a:ext>
                </a:extLst>
              </p:cNvPr>
              <p:cNvPicPr/>
              <p:nvPr/>
            </p:nvPicPr>
            <p:blipFill>
              <a:blip r:embed="rId3"/>
              <a:stretch>
                <a:fillRect/>
              </a:stretch>
            </p:blipFill>
            <p:spPr>
              <a:xfrm>
                <a:off x="181080" y="95400"/>
                <a:ext cx="8791560" cy="4872240"/>
              </a:xfrm>
              <a:prstGeom prst="rect">
                <a:avLst/>
              </a:prstGeom>
            </p:spPr>
          </p:pic>
        </mc:Fallback>
      </mc:AlternateContent>
    </p:spTree>
    <p:extLst>
      <p:ext uri="{BB962C8B-B14F-4D97-AF65-F5344CB8AC3E}">
        <p14:creationId xmlns:p14="http://schemas.microsoft.com/office/powerpoint/2010/main" val="4272512511"/>
      </p:ext>
    </p:extLst>
  </p:cSld>
  <p:clrMapOvr>
    <a:masterClrMapping/>
  </p:clrMapOvr>
  <p:transition spd="med">
    <p:wipe dir="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6D8AD-5CBA-47F4-B48F-371D8D233987}"/>
              </a:ext>
            </a:extLst>
          </p:cNvPr>
          <p:cNvSpPr>
            <a:spLocks noGrp="1"/>
          </p:cNvSpPr>
          <p:nvPr>
            <p:ph type="title"/>
          </p:nvPr>
        </p:nvSpPr>
        <p:spPr>
          <a:xfrm>
            <a:off x="0" y="22860"/>
            <a:ext cx="6931292" cy="640080"/>
          </a:xfrm>
        </p:spPr>
        <p:txBody>
          <a:bodyPr/>
          <a:lstStyle/>
          <a:p>
            <a:r>
              <a:rPr lang="en-US" dirty="0"/>
              <a:t>Probability</a:t>
            </a:r>
          </a:p>
        </p:txBody>
      </p:sp>
      <p:sp>
        <p:nvSpPr>
          <p:cNvPr id="3" name="Content Placeholder 2">
            <a:extLst>
              <a:ext uri="{FF2B5EF4-FFF2-40B4-BE49-F238E27FC236}">
                <a16:creationId xmlns:a16="http://schemas.microsoft.com/office/drawing/2014/main" id="{80C827C4-36EC-4BB1-B754-40EF4DA9490F}"/>
              </a:ext>
            </a:extLst>
          </p:cNvPr>
          <p:cNvSpPr>
            <a:spLocks noGrp="1"/>
          </p:cNvSpPr>
          <p:nvPr>
            <p:ph sz="half" idx="13"/>
          </p:nvPr>
        </p:nvSpPr>
        <p:spPr>
          <a:xfrm>
            <a:off x="0" y="650114"/>
            <a:ext cx="8960422" cy="3843272"/>
          </a:xfrm>
        </p:spPr>
        <p:txBody>
          <a:bodyPr/>
          <a:lstStyle/>
          <a:p>
            <a:r>
              <a:rPr lang="en-US" dirty="0">
                <a:solidFill>
                  <a:schemeClr val="bg2">
                    <a:lumMod val="50000"/>
                    <a:lumOff val="50000"/>
                  </a:schemeClr>
                </a:solidFill>
              </a:rPr>
              <a:t>How likely something is to happen.</a:t>
            </a:r>
          </a:p>
          <a:p>
            <a:r>
              <a:rPr lang="en-US" dirty="0">
                <a:solidFill>
                  <a:schemeClr val="bg2">
                    <a:lumMod val="50000"/>
                    <a:lumOff val="50000"/>
                  </a:schemeClr>
                </a:solidFill>
              </a:rPr>
              <a:t>Many events can't be predicted with total certainty. The best we can say is how likely they are to happen, using the idea of probability.</a:t>
            </a:r>
          </a:p>
          <a:p>
            <a:r>
              <a:rPr lang="en-US" b="1" dirty="0">
                <a:solidFill>
                  <a:schemeClr val="bg2">
                    <a:lumMod val="50000"/>
                    <a:lumOff val="50000"/>
                  </a:schemeClr>
                </a:solidFill>
              </a:rPr>
              <a:t>Tossing a Coin</a:t>
            </a:r>
          </a:p>
        </p:txBody>
      </p:sp>
      <p:pic>
        <p:nvPicPr>
          <p:cNvPr id="5" name="Picture 4" descr="A hand with a coin in the background&#10;&#10;Description automatically generated with low confidence">
            <a:extLst>
              <a:ext uri="{FF2B5EF4-FFF2-40B4-BE49-F238E27FC236}">
                <a16:creationId xmlns:a16="http://schemas.microsoft.com/office/drawing/2014/main" id="{3475738F-4AC8-441F-8555-75C1B04F0D4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6119" y="2304173"/>
            <a:ext cx="1515252" cy="1917946"/>
          </a:xfrm>
          <a:prstGeom prst="rect">
            <a:avLst/>
          </a:prstGeom>
        </p:spPr>
      </p:pic>
      <p:sp>
        <p:nvSpPr>
          <p:cNvPr id="7" name="TextBox 6">
            <a:extLst>
              <a:ext uri="{FF2B5EF4-FFF2-40B4-BE49-F238E27FC236}">
                <a16:creationId xmlns:a16="http://schemas.microsoft.com/office/drawing/2014/main" id="{92A89A0C-0BCE-4B1A-B37D-83F3C0C7CF08}"/>
              </a:ext>
            </a:extLst>
          </p:cNvPr>
          <p:cNvSpPr txBox="1"/>
          <p:nvPr/>
        </p:nvSpPr>
        <p:spPr>
          <a:xfrm>
            <a:off x="3147490" y="2945333"/>
            <a:ext cx="3420275" cy="523220"/>
          </a:xfrm>
          <a:prstGeom prst="rect">
            <a:avLst/>
          </a:prstGeom>
          <a:noFill/>
        </p:spPr>
        <p:txBody>
          <a:bodyPr wrap="square" rtlCol="0">
            <a:spAutoFit/>
          </a:bodyPr>
          <a:lstStyle/>
          <a:p>
            <a:pPr>
              <a:spcBef>
                <a:spcPts val="0"/>
              </a:spcBef>
              <a:spcAft>
                <a:spcPts val="0"/>
              </a:spcAft>
              <a:buClr>
                <a:schemeClr val="bg1"/>
              </a:buClr>
            </a:pPr>
            <a:r>
              <a:rPr lang="en-US" sz="2800" b="1" dirty="0">
                <a:solidFill>
                  <a:schemeClr val="bg2">
                    <a:lumMod val="50000"/>
                    <a:lumOff val="50000"/>
                  </a:schemeClr>
                </a:solidFill>
                <a:latin typeface="+mn-lt"/>
              </a:rPr>
              <a:t>Head or Tail ? </a:t>
            </a:r>
            <a:endParaRPr lang="en-US" sz="1400" b="1" dirty="0">
              <a:solidFill>
                <a:schemeClr val="bg2">
                  <a:lumMod val="50000"/>
                  <a:lumOff val="50000"/>
                </a:schemeClr>
              </a:solidFill>
              <a:latin typeface="+mn-lt"/>
            </a:endParaRPr>
          </a:p>
        </p:txBody>
      </p:sp>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2941CA9B-FF5A-4903-B3AE-16C54C7BA82B}"/>
                  </a:ext>
                </a:extLst>
              </p14:cNvPr>
              <p14:cNvContentPartPr/>
              <p14:nvPr/>
            </p14:nvContentPartPr>
            <p14:xfrm>
              <a:off x="162000" y="276120"/>
              <a:ext cx="8663400" cy="4548600"/>
            </p14:xfrm>
          </p:contentPart>
        </mc:Choice>
        <mc:Fallback>
          <p:pic>
            <p:nvPicPr>
              <p:cNvPr id="4" name="Ink 3">
                <a:extLst>
                  <a:ext uri="{FF2B5EF4-FFF2-40B4-BE49-F238E27FC236}">
                    <a16:creationId xmlns:a16="http://schemas.microsoft.com/office/drawing/2014/main" id="{2941CA9B-FF5A-4903-B3AE-16C54C7BA82B}"/>
                  </a:ext>
                </a:extLst>
              </p:cNvPr>
              <p:cNvPicPr/>
              <p:nvPr/>
            </p:nvPicPr>
            <p:blipFill>
              <a:blip r:embed="rId6"/>
              <a:stretch>
                <a:fillRect/>
              </a:stretch>
            </p:blipFill>
            <p:spPr>
              <a:xfrm>
                <a:off x="152640" y="266760"/>
                <a:ext cx="8682120" cy="4567320"/>
              </a:xfrm>
              <a:prstGeom prst="rect">
                <a:avLst/>
              </a:prstGeom>
            </p:spPr>
          </p:pic>
        </mc:Fallback>
      </mc:AlternateContent>
    </p:spTree>
    <p:extLst>
      <p:ext uri="{BB962C8B-B14F-4D97-AF65-F5344CB8AC3E}">
        <p14:creationId xmlns:p14="http://schemas.microsoft.com/office/powerpoint/2010/main" val="1367373909"/>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p:spTree>
    <p:extLst>
      <p:ext uri="{BB962C8B-B14F-4D97-AF65-F5344CB8AC3E}">
        <p14:creationId xmlns:p14="http://schemas.microsoft.com/office/powerpoint/2010/main" val="3661297187"/>
      </p:ext>
    </p:extLst>
  </p:cSld>
  <p:clrMapOvr>
    <a:masterClrMapping/>
  </p:clrMapOvr>
  <p:transition spd="med">
    <p:wipe dir="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0665-F41C-4D7C-A1F3-2F9ACDCFF020}"/>
              </a:ext>
            </a:extLst>
          </p:cNvPr>
          <p:cNvSpPr>
            <a:spLocks noGrp="1"/>
          </p:cNvSpPr>
          <p:nvPr>
            <p:ph type="title"/>
          </p:nvPr>
        </p:nvSpPr>
        <p:spPr>
          <a:xfrm>
            <a:off x="0" y="22860"/>
            <a:ext cx="4295219" cy="640080"/>
          </a:xfrm>
        </p:spPr>
        <p:txBody>
          <a:bodyPr/>
          <a:lstStyle/>
          <a:p>
            <a:r>
              <a:rPr lang="en-US" dirty="0"/>
              <a:t>Probability</a:t>
            </a:r>
          </a:p>
        </p:txBody>
      </p:sp>
      <p:sp>
        <p:nvSpPr>
          <p:cNvPr id="3" name="Content Placeholder 2">
            <a:extLst>
              <a:ext uri="{FF2B5EF4-FFF2-40B4-BE49-F238E27FC236}">
                <a16:creationId xmlns:a16="http://schemas.microsoft.com/office/drawing/2014/main" id="{24E31847-FB72-4A28-9F16-6E09BAC2AC14}"/>
              </a:ext>
            </a:extLst>
          </p:cNvPr>
          <p:cNvSpPr>
            <a:spLocks noGrp="1"/>
          </p:cNvSpPr>
          <p:nvPr>
            <p:ph sz="half" idx="13"/>
          </p:nvPr>
        </p:nvSpPr>
        <p:spPr>
          <a:xfrm>
            <a:off x="48843" y="742688"/>
            <a:ext cx="8492752" cy="3200400"/>
          </a:xfrm>
        </p:spPr>
        <p:txBody>
          <a:bodyPr/>
          <a:lstStyle/>
          <a:p>
            <a:r>
              <a:rPr lang="en-US" dirty="0"/>
              <a:t>Throwing Dice</a:t>
            </a:r>
          </a:p>
        </p:txBody>
      </p:sp>
      <p:pic>
        <p:nvPicPr>
          <p:cNvPr id="5" name="Picture 4" descr="A close up of a dice&#10;&#10;Description automatically generated with medium confidence">
            <a:extLst>
              <a:ext uri="{FF2B5EF4-FFF2-40B4-BE49-F238E27FC236}">
                <a16:creationId xmlns:a16="http://schemas.microsoft.com/office/drawing/2014/main" id="{AFBA4308-42D6-4B96-81B0-080B9E4373C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2405" y="1201096"/>
            <a:ext cx="2634293" cy="1971115"/>
          </a:xfrm>
          <a:prstGeom prst="rect">
            <a:avLst/>
          </a:prstGeom>
        </p:spPr>
      </p:pic>
      <p:sp>
        <p:nvSpPr>
          <p:cNvPr id="6" name="TextBox 5">
            <a:extLst>
              <a:ext uri="{FF2B5EF4-FFF2-40B4-BE49-F238E27FC236}">
                <a16:creationId xmlns:a16="http://schemas.microsoft.com/office/drawing/2014/main" id="{7C40165F-EBB2-411F-9F49-049391ED8FC5}"/>
              </a:ext>
            </a:extLst>
          </p:cNvPr>
          <p:cNvSpPr txBox="1"/>
          <p:nvPr/>
        </p:nvSpPr>
        <p:spPr>
          <a:xfrm>
            <a:off x="48843" y="3535463"/>
            <a:ext cx="2634293" cy="338554"/>
          </a:xfrm>
          <a:prstGeom prst="rect">
            <a:avLst/>
          </a:prstGeom>
          <a:noFill/>
        </p:spPr>
        <p:txBody>
          <a:bodyPr wrap="square" rtlCol="0">
            <a:spAutoFit/>
          </a:bodyPr>
          <a:lstStyle/>
          <a:p>
            <a:pPr>
              <a:spcBef>
                <a:spcPts val="0"/>
              </a:spcBef>
              <a:spcAft>
                <a:spcPts val="0"/>
              </a:spcAft>
              <a:buClr>
                <a:schemeClr val="bg1"/>
              </a:buClr>
            </a:pPr>
            <a:r>
              <a:rPr lang="en-US" sz="1600" b="1" dirty="0">
                <a:solidFill>
                  <a:schemeClr val="bg2"/>
                </a:solidFill>
                <a:latin typeface="+mn-lt"/>
              </a:rPr>
              <a:t>Probability Formula </a:t>
            </a:r>
            <a:endParaRPr lang="en-US" sz="1400" b="1" dirty="0">
              <a:solidFill>
                <a:schemeClr val="bg2"/>
              </a:solidFill>
              <a:latin typeface="+mn-lt"/>
            </a:endParaRPr>
          </a:p>
        </p:txBody>
      </p:sp>
      <p:pic>
        <p:nvPicPr>
          <p:cNvPr id="8" name="Picture 7">
            <a:extLst>
              <a:ext uri="{FF2B5EF4-FFF2-40B4-BE49-F238E27FC236}">
                <a16:creationId xmlns:a16="http://schemas.microsoft.com/office/drawing/2014/main" id="{CEAD1E4D-C022-435E-BA29-C8D081FF1739}"/>
              </a:ext>
            </a:extLst>
          </p:cNvPr>
          <p:cNvPicPr>
            <a:picLocks noChangeAspect="1"/>
          </p:cNvPicPr>
          <p:nvPr/>
        </p:nvPicPr>
        <p:blipFill>
          <a:blip r:embed="rId4"/>
          <a:stretch>
            <a:fillRect/>
          </a:stretch>
        </p:blipFill>
        <p:spPr>
          <a:xfrm>
            <a:off x="494082" y="3874017"/>
            <a:ext cx="8601075" cy="885825"/>
          </a:xfrm>
          <a:prstGeom prst="rect">
            <a:avLst/>
          </a:prstGeom>
        </p:spPr>
      </p:pic>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1832CAA1-E3EC-4E93-A71B-21BD6979A3FE}"/>
                  </a:ext>
                </a:extLst>
              </p14:cNvPr>
              <p14:cNvContentPartPr/>
              <p14:nvPr/>
            </p14:nvContentPartPr>
            <p14:xfrm>
              <a:off x="595440" y="95400"/>
              <a:ext cx="7891560" cy="4800960"/>
            </p14:xfrm>
          </p:contentPart>
        </mc:Choice>
        <mc:Fallback>
          <p:pic>
            <p:nvPicPr>
              <p:cNvPr id="4" name="Ink 3">
                <a:extLst>
                  <a:ext uri="{FF2B5EF4-FFF2-40B4-BE49-F238E27FC236}">
                    <a16:creationId xmlns:a16="http://schemas.microsoft.com/office/drawing/2014/main" id="{1832CAA1-E3EC-4E93-A71B-21BD6979A3FE}"/>
                  </a:ext>
                </a:extLst>
              </p:cNvPr>
              <p:cNvPicPr/>
              <p:nvPr/>
            </p:nvPicPr>
            <p:blipFill>
              <a:blip r:embed="rId6"/>
              <a:stretch>
                <a:fillRect/>
              </a:stretch>
            </p:blipFill>
            <p:spPr>
              <a:xfrm>
                <a:off x="586080" y="86040"/>
                <a:ext cx="7910280" cy="4819680"/>
              </a:xfrm>
              <a:prstGeom prst="rect">
                <a:avLst/>
              </a:prstGeom>
            </p:spPr>
          </p:pic>
        </mc:Fallback>
      </mc:AlternateContent>
    </p:spTree>
    <p:extLst>
      <p:ext uri="{BB962C8B-B14F-4D97-AF65-F5344CB8AC3E}">
        <p14:creationId xmlns:p14="http://schemas.microsoft.com/office/powerpoint/2010/main" val="3091052118"/>
      </p:ext>
    </p:extLst>
  </p:cSld>
  <p:clrMapOvr>
    <a:masterClrMapping/>
  </p:clrMapOvr>
  <p:transition spd="med">
    <p:wipe dir="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8CE0D-4FDD-4402-BFC6-C4E1021E3033}"/>
              </a:ext>
            </a:extLst>
          </p:cNvPr>
          <p:cNvSpPr>
            <a:spLocks noGrp="1"/>
          </p:cNvSpPr>
          <p:nvPr>
            <p:ph type="title"/>
          </p:nvPr>
        </p:nvSpPr>
        <p:spPr>
          <a:xfrm>
            <a:off x="0" y="0"/>
            <a:ext cx="4295219" cy="640080"/>
          </a:xfrm>
        </p:spPr>
        <p:txBody>
          <a:bodyPr/>
          <a:lstStyle/>
          <a:p>
            <a:r>
              <a:rPr lang="en-US" dirty="0"/>
              <a:t>Probability Example</a:t>
            </a:r>
          </a:p>
        </p:txBody>
      </p:sp>
      <p:sp>
        <p:nvSpPr>
          <p:cNvPr id="3" name="Content Placeholder 2">
            <a:extLst>
              <a:ext uri="{FF2B5EF4-FFF2-40B4-BE49-F238E27FC236}">
                <a16:creationId xmlns:a16="http://schemas.microsoft.com/office/drawing/2014/main" id="{6A7FAF5B-4E17-4FA5-AF73-E751EC3EBBBA}"/>
              </a:ext>
            </a:extLst>
          </p:cNvPr>
          <p:cNvSpPr>
            <a:spLocks noGrp="1"/>
          </p:cNvSpPr>
          <p:nvPr>
            <p:ph sz="half" idx="13"/>
          </p:nvPr>
        </p:nvSpPr>
        <p:spPr>
          <a:xfrm>
            <a:off x="85856" y="640080"/>
            <a:ext cx="8157704" cy="3200400"/>
          </a:xfrm>
        </p:spPr>
        <p:txBody>
          <a:bodyPr/>
          <a:lstStyle/>
          <a:p>
            <a:r>
              <a:rPr lang="en-US" dirty="0"/>
              <a:t>Ex 1 : the chances of rolling a "4" with a die</a:t>
            </a:r>
          </a:p>
          <a:p>
            <a:endParaRPr lang="en-US" dirty="0"/>
          </a:p>
          <a:p>
            <a:endParaRPr lang="en-US" dirty="0"/>
          </a:p>
          <a:p>
            <a:r>
              <a:rPr lang="en-US" dirty="0"/>
              <a:t>Ex 2 : there are 5 marbles in a bag: 4 are blue, and 1 is red. What is the probability that a blue marble gets picked?</a:t>
            </a:r>
          </a:p>
        </p:txBody>
      </p:sp>
      <p:pic>
        <p:nvPicPr>
          <p:cNvPr id="7" name="Picture 6" descr="A picture containing indoor, floor, blue, close&#10;&#10;Description automatically generated">
            <a:extLst>
              <a:ext uri="{FF2B5EF4-FFF2-40B4-BE49-F238E27FC236}">
                <a16:creationId xmlns:a16="http://schemas.microsoft.com/office/drawing/2014/main" id="{EC87BBCD-760D-40AA-A681-7E2FD88DA11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0866" y="2397240"/>
            <a:ext cx="2163803" cy="1443240"/>
          </a:xfrm>
          <a:prstGeom prst="rect">
            <a:avLst/>
          </a:prstGeom>
        </p:spPr>
      </p:pic>
      <p:pic>
        <p:nvPicPr>
          <p:cNvPr id="10" name="Picture 9" descr="A picture containing red, cherry, vegetable&#10;&#10;Description automatically generated">
            <a:extLst>
              <a:ext uri="{FF2B5EF4-FFF2-40B4-BE49-F238E27FC236}">
                <a16:creationId xmlns:a16="http://schemas.microsoft.com/office/drawing/2014/main" id="{8C11656E-03F2-47CC-8B80-2E364003ED3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686150" y="2934718"/>
            <a:ext cx="1428750" cy="1428750"/>
          </a:xfrm>
          <a:prstGeom prst="rect">
            <a:avLst/>
          </a:prstGeom>
        </p:spPr>
      </p:pic>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335C30A6-CECC-4655-AC07-ABF4DFD0C538}"/>
                  </a:ext>
                </a:extLst>
              </p14:cNvPr>
              <p14:cNvContentPartPr/>
              <p14:nvPr/>
            </p14:nvContentPartPr>
            <p14:xfrm>
              <a:off x="1052640" y="338040"/>
              <a:ext cx="7772760" cy="4501080"/>
            </p14:xfrm>
          </p:contentPart>
        </mc:Choice>
        <mc:Fallback>
          <p:pic>
            <p:nvPicPr>
              <p:cNvPr id="4" name="Ink 3">
                <a:extLst>
                  <a:ext uri="{FF2B5EF4-FFF2-40B4-BE49-F238E27FC236}">
                    <a16:creationId xmlns:a16="http://schemas.microsoft.com/office/drawing/2014/main" id="{335C30A6-CECC-4655-AC07-ABF4DFD0C538}"/>
                  </a:ext>
                </a:extLst>
              </p:cNvPr>
              <p:cNvPicPr/>
              <p:nvPr/>
            </p:nvPicPr>
            <p:blipFill>
              <a:blip r:embed="rId7"/>
              <a:stretch>
                <a:fillRect/>
              </a:stretch>
            </p:blipFill>
            <p:spPr>
              <a:xfrm>
                <a:off x="1043280" y="328680"/>
                <a:ext cx="7791480" cy="4519800"/>
              </a:xfrm>
              <a:prstGeom prst="rect">
                <a:avLst/>
              </a:prstGeom>
            </p:spPr>
          </p:pic>
        </mc:Fallback>
      </mc:AlternateContent>
    </p:spTree>
    <p:extLst>
      <p:ext uri="{BB962C8B-B14F-4D97-AF65-F5344CB8AC3E}">
        <p14:creationId xmlns:p14="http://schemas.microsoft.com/office/powerpoint/2010/main" val="3429128477"/>
      </p:ext>
    </p:extLst>
  </p:cSld>
  <p:clrMapOvr>
    <a:masterClrMapping/>
  </p:clrMapOvr>
  <p:transition spd="med">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B5086-BB20-41DD-A145-1AF442DC95A9}"/>
              </a:ext>
            </a:extLst>
          </p:cNvPr>
          <p:cNvSpPr>
            <a:spLocks noGrp="1"/>
          </p:cNvSpPr>
          <p:nvPr>
            <p:ph type="title"/>
          </p:nvPr>
        </p:nvSpPr>
        <p:spPr>
          <a:xfrm>
            <a:off x="0" y="22860"/>
            <a:ext cx="4295219" cy="640080"/>
          </a:xfrm>
        </p:spPr>
        <p:txBody>
          <a:bodyPr/>
          <a:lstStyle/>
          <a:p>
            <a:r>
              <a:rPr lang="en-US" dirty="0"/>
              <a:t>Probability Line</a:t>
            </a:r>
          </a:p>
        </p:txBody>
      </p:sp>
      <p:pic>
        <p:nvPicPr>
          <p:cNvPr id="5" name="Content Placeholder 4">
            <a:extLst>
              <a:ext uri="{FF2B5EF4-FFF2-40B4-BE49-F238E27FC236}">
                <a16:creationId xmlns:a16="http://schemas.microsoft.com/office/drawing/2014/main" id="{ACB318F2-CE07-4621-BEC5-E2E661CF3436}"/>
              </a:ext>
            </a:extLst>
          </p:cNvPr>
          <p:cNvPicPr>
            <a:picLocks noGrp="1" noChangeAspect="1"/>
          </p:cNvPicPr>
          <p:nvPr>
            <p:ph sz="half" idx="13"/>
          </p:nvPr>
        </p:nvPicPr>
        <p:blipFill>
          <a:blip r:embed="rId2"/>
          <a:stretch>
            <a:fillRect/>
          </a:stretch>
        </p:blipFill>
        <p:spPr>
          <a:xfrm>
            <a:off x="1105452" y="2384342"/>
            <a:ext cx="5681518" cy="2208672"/>
          </a:xfrm>
        </p:spPr>
      </p:pic>
      <p:sp>
        <p:nvSpPr>
          <p:cNvPr id="7" name="TextBox 6">
            <a:extLst>
              <a:ext uri="{FF2B5EF4-FFF2-40B4-BE49-F238E27FC236}">
                <a16:creationId xmlns:a16="http://schemas.microsoft.com/office/drawing/2014/main" id="{05CF8509-6037-4CBA-8398-BA0579C00A57}"/>
              </a:ext>
            </a:extLst>
          </p:cNvPr>
          <p:cNvSpPr txBox="1"/>
          <p:nvPr/>
        </p:nvSpPr>
        <p:spPr>
          <a:xfrm>
            <a:off x="76782" y="662940"/>
            <a:ext cx="7859652" cy="1169551"/>
          </a:xfrm>
          <a:prstGeom prst="rect">
            <a:avLst/>
          </a:prstGeom>
          <a:noFill/>
        </p:spPr>
        <p:txBody>
          <a:bodyPr wrap="square" rtlCol="0">
            <a:spAutoFit/>
          </a:bodyPr>
          <a:lstStyle/>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is the chance that something will happen. It can be shown on a probability line</a:t>
            </a:r>
          </a:p>
          <a:p>
            <a:pPr>
              <a:spcBef>
                <a:spcPts val="0"/>
              </a:spcBef>
              <a:spcAft>
                <a:spcPts val="0"/>
              </a:spcAft>
              <a:buClr>
                <a:schemeClr val="bg1"/>
              </a:buCl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Probability does not tell us exactly what will happen, it is just a guide</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rPr>
              <a:t>Range of Probability : Between 0 and 1</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547FC26C-7FBC-4B1C-BE36-6D7286223D19}"/>
                  </a:ext>
                </a:extLst>
              </p14:cNvPr>
              <p14:cNvContentPartPr/>
              <p14:nvPr/>
            </p14:nvContentPartPr>
            <p14:xfrm>
              <a:off x="304920" y="928800"/>
              <a:ext cx="8310960" cy="3976920"/>
            </p14:xfrm>
          </p:contentPart>
        </mc:Choice>
        <mc:Fallback>
          <p:pic>
            <p:nvPicPr>
              <p:cNvPr id="3" name="Ink 2">
                <a:extLst>
                  <a:ext uri="{FF2B5EF4-FFF2-40B4-BE49-F238E27FC236}">
                    <a16:creationId xmlns:a16="http://schemas.microsoft.com/office/drawing/2014/main" id="{547FC26C-7FBC-4B1C-BE36-6D7286223D19}"/>
                  </a:ext>
                </a:extLst>
              </p:cNvPr>
              <p:cNvPicPr/>
              <p:nvPr/>
            </p:nvPicPr>
            <p:blipFill>
              <a:blip r:embed="rId4"/>
              <a:stretch>
                <a:fillRect/>
              </a:stretch>
            </p:blipFill>
            <p:spPr>
              <a:xfrm>
                <a:off x="295560" y="919440"/>
                <a:ext cx="8329680" cy="3995640"/>
              </a:xfrm>
              <a:prstGeom prst="rect">
                <a:avLst/>
              </a:prstGeom>
            </p:spPr>
          </p:pic>
        </mc:Fallback>
      </mc:AlternateContent>
    </p:spTree>
    <p:extLst>
      <p:ext uri="{BB962C8B-B14F-4D97-AF65-F5344CB8AC3E}">
        <p14:creationId xmlns:p14="http://schemas.microsoft.com/office/powerpoint/2010/main" val="1473195285"/>
      </p:ext>
    </p:extLst>
  </p:cSld>
  <p:clrMapOvr>
    <a:masterClrMapping/>
  </p:clrMapOvr>
  <p:transition spd="med">
    <p:wipe dir="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3BAEC-C6AA-4DAE-9256-FBDECF1BF0EE}"/>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FFAA7F65-22A8-4A3C-90D2-11A20B2B9B82}"/>
              </a:ext>
            </a:extLst>
          </p:cNvPr>
          <p:cNvSpPr>
            <a:spLocks noGrp="1"/>
          </p:cNvSpPr>
          <p:nvPr>
            <p:ph sz="half" idx="13"/>
          </p:nvPr>
        </p:nvSpPr>
        <p:spPr>
          <a:xfrm>
            <a:off x="160525" y="770609"/>
            <a:ext cx="8269387" cy="3200400"/>
          </a:xfrm>
        </p:spPr>
        <p:txBody>
          <a:bodyPr/>
          <a:lstStyle/>
          <a:p>
            <a:r>
              <a:rPr lang="en-US" b="1" dirty="0"/>
              <a:t>Experiment : </a:t>
            </a:r>
            <a:r>
              <a:rPr lang="en-US" b="0" i="0" dirty="0">
                <a:solidFill>
                  <a:srgbClr val="333333"/>
                </a:solidFill>
                <a:effectLst/>
                <a:latin typeface="Verdana" panose="020B0604030504040204" pitchFamily="34" charset="0"/>
              </a:rPr>
              <a:t>a repeatable procedure with a set of possible results.</a:t>
            </a:r>
          </a:p>
          <a:p>
            <a:r>
              <a:rPr lang="en-US" dirty="0">
                <a:solidFill>
                  <a:srgbClr val="333333"/>
                </a:solidFill>
                <a:latin typeface="Verdana" panose="020B0604030504040204" pitchFamily="34" charset="0"/>
              </a:rPr>
              <a:t>Ex : Throwing a dice</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B4BB22FB-62A6-4A5D-81EC-A14BFEE56C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30462" y="2107563"/>
            <a:ext cx="2634293" cy="1971115"/>
          </a:xfrm>
          <a:prstGeom prst="rect">
            <a:avLst/>
          </a:prstGeom>
        </p:spPr>
      </p:pic>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F31533F4-DCDF-4F25-8761-C479608E67D6}"/>
                  </a:ext>
                </a:extLst>
              </p14:cNvPr>
              <p14:cNvContentPartPr/>
              <p14:nvPr/>
            </p14:nvContentPartPr>
            <p14:xfrm>
              <a:off x="576360" y="600120"/>
              <a:ext cx="8163360" cy="3900960"/>
            </p14:xfrm>
          </p:contentPart>
        </mc:Choice>
        <mc:Fallback>
          <p:pic>
            <p:nvPicPr>
              <p:cNvPr id="5" name="Ink 4">
                <a:extLst>
                  <a:ext uri="{FF2B5EF4-FFF2-40B4-BE49-F238E27FC236}">
                    <a16:creationId xmlns:a16="http://schemas.microsoft.com/office/drawing/2014/main" id="{F31533F4-DCDF-4F25-8761-C479608E67D6}"/>
                  </a:ext>
                </a:extLst>
              </p:cNvPr>
              <p:cNvPicPr/>
              <p:nvPr/>
            </p:nvPicPr>
            <p:blipFill>
              <a:blip r:embed="rId5"/>
              <a:stretch>
                <a:fillRect/>
              </a:stretch>
            </p:blipFill>
            <p:spPr>
              <a:xfrm>
                <a:off x="567000" y="590760"/>
                <a:ext cx="8182080" cy="3919680"/>
              </a:xfrm>
              <a:prstGeom prst="rect">
                <a:avLst/>
              </a:prstGeom>
            </p:spPr>
          </p:pic>
        </mc:Fallback>
      </mc:AlternateContent>
    </p:spTree>
    <p:extLst>
      <p:ext uri="{BB962C8B-B14F-4D97-AF65-F5344CB8AC3E}">
        <p14:creationId xmlns:p14="http://schemas.microsoft.com/office/powerpoint/2010/main" val="1315040994"/>
      </p:ext>
    </p:extLst>
  </p:cSld>
  <p:clrMapOvr>
    <a:masterClrMapping/>
  </p:clrMapOvr>
  <p:transition spd="med">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65611-A63B-47E6-8CEF-CD66AE7C7D30}"/>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6D34550C-3232-4CA6-BCC9-0C77271244F4}"/>
              </a:ext>
            </a:extLst>
          </p:cNvPr>
          <p:cNvSpPr>
            <a:spLocks noGrp="1"/>
          </p:cNvSpPr>
          <p:nvPr>
            <p:ph sz="half" idx="13"/>
          </p:nvPr>
        </p:nvSpPr>
        <p:spPr>
          <a:xfrm>
            <a:off x="78876" y="791549"/>
            <a:ext cx="7145582" cy="3200400"/>
          </a:xfrm>
        </p:spPr>
        <p:txBody>
          <a:bodyPr/>
          <a:lstStyle/>
          <a:p>
            <a:r>
              <a:rPr lang="en-US" b="1" dirty="0"/>
              <a:t>Outcome : </a:t>
            </a:r>
            <a:r>
              <a:rPr lang="en-US" b="0" i="0" dirty="0">
                <a:solidFill>
                  <a:srgbClr val="333333"/>
                </a:solidFill>
                <a:effectLst/>
                <a:latin typeface="Verdana" panose="020B0604030504040204" pitchFamily="34" charset="0"/>
              </a:rPr>
              <a:t>A possible result of an experiment.</a:t>
            </a:r>
          </a:p>
          <a:p>
            <a:r>
              <a:rPr lang="en-US" dirty="0">
                <a:solidFill>
                  <a:srgbClr val="333333"/>
                </a:solidFill>
                <a:latin typeface="Verdana" panose="020B0604030504040204" pitchFamily="34" charset="0"/>
              </a:rPr>
              <a:t>Ex : Getting a 6</a:t>
            </a:r>
            <a:endParaRPr lang="en-US" dirty="0"/>
          </a:p>
        </p:txBody>
      </p:sp>
      <p:pic>
        <p:nvPicPr>
          <p:cNvPr id="4" name="Picture 3" descr="A close up of a dice&#10;&#10;Description automatically generated with medium confidence">
            <a:extLst>
              <a:ext uri="{FF2B5EF4-FFF2-40B4-BE49-F238E27FC236}">
                <a16:creationId xmlns:a16="http://schemas.microsoft.com/office/drawing/2014/main" id="{F51748E5-DF80-48C6-9067-FE2BF74E949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72410" y="1695734"/>
            <a:ext cx="2634293" cy="1971115"/>
          </a:xfrm>
          <a:prstGeom prst="rect">
            <a:avLst/>
          </a:prstGeom>
        </p:spPr>
      </p:pic>
      <mc:AlternateContent xmlns:mc="http://schemas.openxmlformats.org/markup-compatibility/2006">
        <mc:Choice xmlns:p14="http://schemas.microsoft.com/office/powerpoint/2010/main" Requires="p14">
          <p:contentPart p14:bwMode="auto" r:id="rId4">
            <p14:nvContentPartPr>
              <p14:cNvPr id="5" name="Ink 4">
                <a:extLst>
                  <a:ext uri="{FF2B5EF4-FFF2-40B4-BE49-F238E27FC236}">
                    <a16:creationId xmlns:a16="http://schemas.microsoft.com/office/drawing/2014/main" id="{3C31A181-FD80-47C3-A523-CC1B4D981ADB}"/>
                  </a:ext>
                </a:extLst>
              </p14:cNvPr>
              <p14:cNvContentPartPr/>
              <p14:nvPr/>
            </p14:nvContentPartPr>
            <p14:xfrm>
              <a:off x="409680" y="995400"/>
              <a:ext cx="3629160" cy="2976840"/>
            </p14:xfrm>
          </p:contentPart>
        </mc:Choice>
        <mc:Fallback>
          <p:pic>
            <p:nvPicPr>
              <p:cNvPr id="5" name="Ink 4">
                <a:extLst>
                  <a:ext uri="{FF2B5EF4-FFF2-40B4-BE49-F238E27FC236}">
                    <a16:creationId xmlns:a16="http://schemas.microsoft.com/office/drawing/2014/main" id="{3C31A181-FD80-47C3-A523-CC1B4D981ADB}"/>
                  </a:ext>
                </a:extLst>
              </p:cNvPr>
              <p:cNvPicPr/>
              <p:nvPr/>
            </p:nvPicPr>
            <p:blipFill>
              <a:blip r:embed="rId5"/>
              <a:stretch>
                <a:fillRect/>
              </a:stretch>
            </p:blipFill>
            <p:spPr>
              <a:xfrm>
                <a:off x="400320" y="986040"/>
                <a:ext cx="3647880" cy="2995560"/>
              </a:xfrm>
              <a:prstGeom prst="rect">
                <a:avLst/>
              </a:prstGeom>
            </p:spPr>
          </p:pic>
        </mc:Fallback>
      </mc:AlternateContent>
    </p:spTree>
    <p:extLst>
      <p:ext uri="{BB962C8B-B14F-4D97-AF65-F5344CB8AC3E}">
        <p14:creationId xmlns:p14="http://schemas.microsoft.com/office/powerpoint/2010/main" val="4073158111"/>
      </p:ext>
    </p:extLst>
  </p:cSld>
  <p:clrMapOvr>
    <a:masterClrMapping/>
  </p:clrMapOvr>
  <p:transition spd="med">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4F1E7-9A94-4879-97D7-7A8013D8B905}"/>
              </a:ext>
            </a:extLst>
          </p:cNvPr>
          <p:cNvSpPr>
            <a:spLocks noGrp="1"/>
          </p:cNvSpPr>
          <p:nvPr>
            <p:ph type="title"/>
          </p:nvPr>
        </p:nvSpPr>
        <p:spPr>
          <a:xfrm>
            <a:off x="0" y="2286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1A0EDEF0-1655-4751-97B5-A92270149DFC}"/>
              </a:ext>
            </a:extLst>
          </p:cNvPr>
          <p:cNvSpPr>
            <a:spLocks noGrp="1"/>
          </p:cNvSpPr>
          <p:nvPr>
            <p:ph sz="half" idx="13"/>
          </p:nvPr>
        </p:nvSpPr>
        <p:spPr>
          <a:xfrm>
            <a:off x="83744" y="749668"/>
            <a:ext cx="8422950" cy="3200400"/>
          </a:xfrm>
        </p:spPr>
        <p:txBody>
          <a:bodyPr/>
          <a:lstStyle/>
          <a:p>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all the possible outcomes of an experiment.</a:t>
            </a:r>
          </a:p>
          <a:p>
            <a:r>
              <a:rPr lang="en-US" dirty="0">
                <a:solidFill>
                  <a:srgbClr val="333333"/>
                </a:solidFill>
                <a:latin typeface="Verdana" panose="020B0604030504040204" pitchFamily="34" charset="0"/>
              </a:rPr>
              <a:t>Ex : choosing a card from a deck</a:t>
            </a:r>
            <a:endParaRPr lang="en-US" dirty="0"/>
          </a:p>
        </p:txBody>
      </p:sp>
      <p:pic>
        <p:nvPicPr>
          <p:cNvPr id="7" name="Picture 6">
            <a:extLst>
              <a:ext uri="{FF2B5EF4-FFF2-40B4-BE49-F238E27FC236}">
                <a16:creationId xmlns:a16="http://schemas.microsoft.com/office/drawing/2014/main" id="{314346DD-1DA0-45D8-A3F2-C4703B7CFA47}"/>
              </a:ext>
            </a:extLst>
          </p:cNvPr>
          <p:cNvPicPr>
            <a:picLocks noChangeAspect="1"/>
          </p:cNvPicPr>
          <p:nvPr/>
        </p:nvPicPr>
        <p:blipFill>
          <a:blip r:embed="rId2"/>
          <a:stretch>
            <a:fillRect/>
          </a:stretch>
        </p:blipFill>
        <p:spPr>
          <a:xfrm>
            <a:off x="5479420" y="1453909"/>
            <a:ext cx="3490076" cy="2582887"/>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3BB6CFE2-16A8-4201-BBD5-33033C99CA6B}"/>
                  </a:ext>
                </a:extLst>
              </p14:cNvPr>
              <p14:cNvContentPartPr/>
              <p14:nvPr/>
            </p14:nvContentPartPr>
            <p14:xfrm>
              <a:off x="571680" y="576360"/>
              <a:ext cx="5324760" cy="2733840"/>
            </p14:xfrm>
          </p:contentPart>
        </mc:Choice>
        <mc:Fallback>
          <p:pic>
            <p:nvPicPr>
              <p:cNvPr id="4" name="Ink 3">
                <a:extLst>
                  <a:ext uri="{FF2B5EF4-FFF2-40B4-BE49-F238E27FC236}">
                    <a16:creationId xmlns:a16="http://schemas.microsoft.com/office/drawing/2014/main" id="{3BB6CFE2-16A8-4201-BBD5-33033C99CA6B}"/>
                  </a:ext>
                </a:extLst>
              </p:cNvPr>
              <p:cNvPicPr/>
              <p:nvPr/>
            </p:nvPicPr>
            <p:blipFill>
              <a:blip r:embed="rId4"/>
              <a:stretch>
                <a:fillRect/>
              </a:stretch>
            </p:blipFill>
            <p:spPr>
              <a:xfrm>
                <a:off x="562320" y="567000"/>
                <a:ext cx="5343480" cy="2752560"/>
              </a:xfrm>
              <a:prstGeom prst="rect">
                <a:avLst/>
              </a:prstGeom>
            </p:spPr>
          </p:pic>
        </mc:Fallback>
      </mc:AlternateContent>
    </p:spTree>
    <p:extLst>
      <p:ext uri="{BB962C8B-B14F-4D97-AF65-F5344CB8AC3E}">
        <p14:creationId xmlns:p14="http://schemas.microsoft.com/office/powerpoint/2010/main" val="2829562172"/>
      </p:ext>
    </p:extLst>
  </p:cSld>
  <p:clrMapOvr>
    <a:masterClrMapping/>
  </p:clrMapOvr>
  <p:transition spd="med">
    <p:wipe dir="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137BA-BF16-422D-8941-6AE0A4714DB0}"/>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4C7E0A7D-2472-441B-B8F0-89DA756599F4}"/>
              </a:ext>
            </a:extLst>
          </p:cNvPr>
          <p:cNvSpPr>
            <a:spLocks noGrp="1"/>
          </p:cNvSpPr>
          <p:nvPr>
            <p:ph sz="half" idx="13"/>
          </p:nvPr>
        </p:nvSpPr>
        <p:spPr>
          <a:xfrm>
            <a:off x="64915" y="640080"/>
            <a:ext cx="8164685" cy="3200400"/>
          </a:xfrm>
        </p:spPr>
        <p:txBody>
          <a:bodyPr/>
          <a:lstStyle/>
          <a:p>
            <a:r>
              <a:rPr lang="en-US" b="1" i="0" dirty="0">
                <a:solidFill>
                  <a:srgbClr val="333333"/>
                </a:solidFill>
                <a:effectLst/>
                <a:latin typeface="Verdana" panose="020B0604030504040204" pitchFamily="34" charset="0"/>
              </a:rPr>
              <a:t>Sample Point:</a:t>
            </a:r>
            <a:r>
              <a:rPr lang="en-US" b="0" i="0" dirty="0">
                <a:solidFill>
                  <a:srgbClr val="333333"/>
                </a:solidFill>
                <a:effectLst/>
                <a:latin typeface="Verdana" panose="020B0604030504040204" pitchFamily="34" charset="0"/>
              </a:rPr>
              <a:t> just one of the possible outcomes</a:t>
            </a:r>
          </a:p>
          <a:p>
            <a:endParaRPr lang="en-US" b="0" i="0" dirty="0">
              <a:solidFill>
                <a:srgbClr val="333333"/>
              </a:solidFill>
              <a:effectLst/>
              <a:latin typeface="Verdana" panose="020B0604030504040204" pitchFamily="34" charset="0"/>
            </a:endParaRPr>
          </a:p>
          <a:p>
            <a:pPr marL="0" indent="0">
              <a:buNone/>
            </a:pPr>
            <a:r>
              <a:rPr lang="en-US" b="1" dirty="0">
                <a:solidFill>
                  <a:srgbClr val="333333"/>
                </a:solidFill>
                <a:latin typeface="Verdana" panose="020B0604030504040204" pitchFamily="34" charset="0"/>
              </a:rPr>
              <a:t>Ex : Deck of Cards</a:t>
            </a:r>
          </a:p>
          <a:p>
            <a:pPr lvl="1">
              <a:buFont typeface="Arial" panose="020B0604020202020204" pitchFamily="34" charset="0"/>
              <a:buChar char="•"/>
            </a:pPr>
            <a:r>
              <a:rPr lang="en-US" sz="1400" dirty="0">
                <a:solidFill>
                  <a:srgbClr val="333333"/>
                </a:solidFill>
                <a:latin typeface="Verdana" panose="020B0604030504040204" pitchFamily="34" charset="0"/>
              </a:rPr>
              <a:t>the 5 of Clubs is a sample point</a:t>
            </a:r>
          </a:p>
          <a:p>
            <a:pPr lvl="1">
              <a:buFont typeface="Arial" panose="020B0604020202020204" pitchFamily="34" charset="0"/>
              <a:buChar char="•"/>
            </a:pPr>
            <a:r>
              <a:rPr lang="en-US" sz="1400" dirty="0">
                <a:solidFill>
                  <a:srgbClr val="333333"/>
                </a:solidFill>
                <a:latin typeface="Verdana" panose="020B0604030504040204" pitchFamily="34" charset="0"/>
              </a:rPr>
              <a:t>the King of Hearts is a sample point</a:t>
            </a:r>
          </a:p>
          <a:p>
            <a:pPr lvl="1">
              <a:buFont typeface="Arial" panose="020B0604020202020204" pitchFamily="34" charset="0"/>
              <a:buChar char="•"/>
            </a:pPr>
            <a:r>
              <a:rPr lang="en-US" dirty="0">
                <a:solidFill>
                  <a:srgbClr val="333333"/>
                </a:solidFill>
                <a:latin typeface="Verdana" panose="020B0604030504040204" pitchFamily="34" charset="0"/>
              </a:rPr>
              <a:t>"King" is not a sample point. There are 4 Kings, so that is 4 different sample points.3</a:t>
            </a:r>
          </a:p>
          <a:p>
            <a:pPr marL="0" indent="0" algn="l">
              <a:buNone/>
            </a:pPr>
            <a:endParaRPr lang="en-US" dirty="0">
              <a:solidFill>
                <a:srgbClr val="333333"/>
              </a:solidFill>
              <a:latin typeface="Verdana" panose="020B0604030504040204" pitchFamily="34" charset="0"/>
            </a:endParaRPr>
          </a:p>
          <a:p>
            <a:pPr marL="0" indent="0">
              <a:buNone/>
            </a:pPr>
            <a:r>
              <a:rPr lang="en-US" b="1" dirty="0">
                <a:solidFill>
                  <a:srgbClr val="333333"/>
                </a:solidFill>
                <a:latin typeface="Verdana" panose="020B0604030504040204" pitchFamily="34" charset="0"/>
              </a:rPr>
              <a:t>Ex : Throwing a dice</a:t>
            </a:r>
          </a:p>
          <a:p>
            <a:pPr marL="0" indent="0">
              <a:buNone/>
            </a:pPr>
            <a:r>
              <a:rPr lang="en-US" dirty="0">
                <a:solidFill>
                  <a:srgbClr val="333333"/>
                </a:solidFill>
                <a:latin typeface="Verdana" panose="020B0604030504040204" pitchFamily="34" charset="0"/>
              </a:rPr>
              <a:t>There are 6 different sample points in the sample space.</a:t>
            </a:r>
          </a:p>
        </p:txBody>
      </p:sp>
      <p:pic>
        <p:nvPicPr>
          <p:cNvPr id="5" name="Picture 4">
            <a:extLst>
              <a:ext uri="{FF2B5EF4-FFF2-40B4-BE49-F238E27FC236}">
                <a16:creationId xmlns:a16="http://schemas.microsoft.com/office/drawing/2014/main" id="{590E487C-0915-4FFC-8400-CE05A8362E94}"/>
              </a:ext>
            </a:extLst>
          </p:cNvPr>
          <p:cNvPicPr>
            <a:picLocks noChangeAspect="1"/>
          </p:cNvPicPr>
          <p:nvPr/>
        </p:nvPicPr>
        <p:blipFill>
          <a:blip r:embed="rId2"/>
          <a:stretch>
            <a:fillRect/>
          </a:stretch>
        </p:blipFill>
        <p:spPr>
          <a:xfrm>
            <a:off x="2805621" y="3666527"/>
            <a:ext cx="2338752" cy="114364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70ACF3F9-AED0-418B-A844-58E4E3B737B4}"/>
                  </a:ext>
                </a:extLst>
              </p14:cNvPr>
              <p14:cNvContentPartPr/>
              <p14:nvPr/>
            </p14:nvContentPartPr>
            <p14:xfrm>
              <a:off x="318960" y="185760"/>
              <a:ext cx="8406360" cy="3962880"/>
            </p14:xfrm>
          </p:contentPart>
        </mc:Choice>
        <mc:Fallback>
          <p:pic>
            <p:nvPicPr>
              <p:cNvPr id="4" name="Ink 3">
                <a:extLst>
                  <a:ext uri="{FF2B5EF4-FFF2-40B4-BE49-F238E27FC236}">
                    <a16:creationId xmlns:a16="http://schemas.microsoft.com/office/drawing/2014/main" id="{70ACF3F9-AED0-418B-A844-58E4E3B737B4}"/>
                  </a:ext>
                </a:extLst>
              </p:cNvPr>
              <p:cNvPicPr/>
              <p:nvPr/>
            </p:nvPicPr>
            <p:blipFill>
              <a:blip r:embed="rId4"/>
              <a:stretch>
                <a:fillRect/>
              </a:stretch>
            </p:blipFill>
            <p:spPr>
              <a:xfrm>
                <a:off x="309600" y="176400"/>
                <a:ext cx="8425080" cy="3981600"/>
              </a:xfrm>
              <a:prstGeom prst="rect">
                <a:avLst/>
              </a:prstGeom>
            </p:spPr>
          </p:pic>
        </mc:Fallback>
      </mc:AlternateContent>
    </p:spTree>
    <p:extLst>
      <p:ext uri="{BB962C8B-B14F-4D97-AF65-F5344CB8AC3E}">
        <p14:creationId xmlns:p14="http://schemas.microsoft.com/office/powerpoint/2010/main" val="1035050059"/>
      </p:ext>
    </p:extLst>
  </p:cSld>
  <p:clrMapOvr>
    <a:masterClrMapping/>
  </p:clrMapOvr>
  <p:transition spd="med">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D5C09-F52C-461C-B60C-A89B0B1C7754}"/>
              </a:ext>
            </a:extLst>
          </p:cNvPr>
          <p:cNvSpPr>
            <a:spLocks noGrp="1"/>
          </p:cNvSpPr>
          <p:nvPr>
            <p:ph type="title"/>
          </p:nvPr>
        </p:nvSpPr>
        <p:spPr>
          <a:xfrm>
            <a:off x="0" y="0"/>
            <a:ext cx="4295219" cy="640080"/>
          </a:xfrm>
        </p:spPr>
        <p:txBody>
          <a:bodyPr/>
          <a:lstStyle/>
          <a:p>
            <a:r>
              <a:rPr lang="en-US" dirty="0"/>
              <a:t>Probability - Words</a:t>
            </a:r>
          </a:p>
        </p:txBody>
      </p:sp>
      <p:sp>
        <p:nvSpPr>
          <p:cNvPr id="3" name="Content Placeholder 2">
            <a:extLst>
              <a:ext uri="{FF2B5EF4-FFF2-40B4-BE49-F238E27FC236}">
                <a16:creationId xmlns:a16="http://schemas.microsoft.com/office/drawing/2014/main" id="{A6526305-67A1-4B4D-8A20-D0804E209C5F}"/>
              </a:ext>
            </a:extLst>
          </p:cNvPr>
          <p:cNvSpPr>
            <a:spLocks noGrp="1"/>
          </p:cNvSpPr>
          <p:nvPr>
            <p:ph sz="half" idx="13"/>
          </p:nvPr>
        </p:nvSpPr>
        <p:spPr>
          <a:xfrm>
            <a:off x="137160" y="798529"/>
            <a:ext cx="8869680" cy="3200400"/>
          </a:xfrm>
        </p:spPr>
        <p:txBody>
          <a:bodyPr>
            <a:normAutofit/>
          </a:bodyPr>
          <a:lstStyle/>
          <a:p>
            <a:r>
              <a:rPr lang="en-US" b="1" i="0" dirty="0">
                <a:solidFill>
                  <a:srgbClr val="333333"/>
                </a:solidFill>
                <a:effectLst/>
                <a:latin typeface="Verdana" panose="020B0604030504040204" pitchFamily="34" charset="0"/>
              </a:rPr>
              <a:t>Event:</a:t>
            </a:r>
            <a:r>
              <a:rPr lang="en-US" b="0" i="0" dirty="0">
                <a:solidFill>
                  <a:srgbClr val="333333"/>
                </a:solidFill>
                <a:effectLst/>
                <a:latin typeface="Verdana" panose="020B0604030504040204" pitchFamily="34" charset="0"/>
              </a:rPr>
              <a:t> one </a:t>
            </a:r>
            <a:r>
              <a:rPr lang="en-US" b="1" i="0" dirty="0">
                <a:solidFill>
                  <a:srgbClr val="333333"/>
                </a:solidFill>
                <a:effectLst/>
                <a:latin typeface="Verdana" panose="020B0604030504040204" pitchFamily="34" charset="0"/>
              </a:rPr>
              <a:t>or more</a:t>
            </a:r>
            <a:r>
              <a:rPr lang="en-US" b="0" i="0" dirty="0">
                <a:solidFill>
                  <a:srgbClr val="333333"/>
                </a:solidFill>
                <a:effectLst/>
                <a:latin typeface="Verdana" panose="020B0604030504040204" pitchFamily="34" charset="0"/>
              </a:rPr>
              <a:t> outcomes of an experiment</a:t>
            </a:r>
          </a:p>
          <a:p>
            <a:r>
              <a:rPr lang="en-US" dirty="0"/>
              <a:t>Example Events:</a:t>
            </a:r>
          </a:p>
          <a:p>
            <a:pPr lvl="1"/>
            <a:r>
              <a:rPr lang="en-US" dirty="0"/>
              <a:t>An event can be just one outcome:</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5630A9D-0C51-40B6-9D5C-B005C536C71A}"/>
                  </a:ext>
                </a:extLst>
              </p14:cNvPr>
              <p14:cNvContentPartPr/>
              <p14:nvPr/>
            </p14:nvContentPartPr>
            <p14:xfrm>
              <a:off x="500040" y="995400"/>
              <a:ext cx="7515720" cy="1652760"/>
            </p14:xfrm>
          </p:contentPart>
        </mc:Choice>
        <mc:Fallback>
          <p:pic>
            <p:nvPicPr>
              <p:cNvPr id="4" name="Ink 3">
                <a:extLst>
                  <a:ext uri="{FF2B5EF4-FFF2-40B4-BE49-F238E27FC236}">
                    <a16:creationId xmlns:a16="http://schemas.microsoft.com/office/drawing/2014/main" id="{25630A9D-0C51-40B6-9D5C-B005C536C71A}"/>
                  </a:ext>
                </a:extLst>
              </p:cNvPr>
              <p:cNvPicPr/>
              <p:nvPr/>
            </p:nvPicPr>
            <p:blipFill>
              <a:blip r:embed="rId3"/>
              <a:stretch>
                <a:fillRect/>
              </a:stretch>
            </p:blipFill>
            <p:spPr>
              <a:xfrm>
                <a:off x="490680" y="986040"/>
                <a:ext cx="7534440" cy="1671480"/>
              </a:xfrm>
              <a:prstGeom prst="rect">
                <a:avLst/>
              </a:prstGeom>
            </p:spPr>
          </p:pic>
        </mc:Fallback>
      </mc:AlternateContent>
    </p:spTree>
    <p:extLst>
      <p:ext uri="{BB962C8B-B14F-4D97-AF65-F5344CB8AC3E}">
        <p14:creationId xmlns:p14="http://schemas.microsoft.com/office/powerpoint/2010/main" val="3707714688"/>
      </p:ext>
    </p:extLst>
  </p:cSld>
  <p:clrMapOvr>
    <a:masterClrMapping/>
  </p:clrMapOvr>
  <p:transition spd="med">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BF548-4820-4ED8-BE4E-E946B39FF719}"/>
              </a:ext>
            </a:extLst>
          </p:cNvPr>
          <p:cNvSpPr>
            <a:spLocks noGrp="1"/>
          </p:cNvSpPr>
          <p:nvPr>
            <p:ph type="title"/>
          </p:nvPr>
        </p:nvSpPr>
        <p:spPr>
          <a:xfrm>
            <a:off x="0" y="22860"/>
            <a:ext cx="6560519" cy="640080"/>
          </a:xfrm>
        </p:spPr>
        <p:txBody>
          <a:bodyPr/>
          <a:lstStyle/>
          <a:p>
            <a:r>
              <a:rPr lang="en-US" dirty="0"/>
              <a:t>Probability – </a:t>
            </a:r>
            <a:r>
              <a:rPr lang="en-US" dirty="0">
                <a:solidFill>
                  <a:schemeClr val="bg2">
                    <a:lumMod val="50000"/>
                    <a:lumOff val="50000"/>
                  </a:schemeClr>
                </a:solidFill>
              </a:rPr>
              <a:t>Let’s use the words</a:t>
            </a:r>
          </a:p>
        </p:txBody>
      </p:sp>
      <p:sp>
        <p:nvSpPr>
          <p:cNvPr id="3" name="Content Placeholder 2">
            <a:extLst>
              <a:ext uri="{FF2B5EF4-FFF2-40B4-BE49-F238E27FC236}">
                <a16:creationId xmlns:a16="http://schemas.microsoft.com/office/drawing/2014/main" id="{C2052F85-B5EB-40E8-BC7B-31955E33B4C8}"/>
              </a:ext>
            </a:extLst>
          </p:cNvPr>
          <p:cNvSpPr>
            <a:spLocks noGrp="1"/>
          </p:cNvSpPr>
          <p:nvPr>
            <p:ph sz="half" idx="13"/>
          </p:nvPr>
        </p:nvSpPr>
        <p:spPr>
          <a:xfrm>
            <a:off x="64915" y="826450"/>
            <a:ext cx="8590474" cy="1058191"/>
          </a:xfrm>
        </p:spPr>
        <p:txBody>
          <a:bodyPr/>
          <a:lstStyle/>
          <a:p>
            <a:r>
              <a:rPr lang="en-US" b="0" i="0" dirty="0">
                <a:solidFill>
                  <a:srgbClr val="333333"/>
                </a:solidFill>
                <a:effectLst/>
                <a:latin typeface="Verdana" panose="020B0604030504040204" pitchFamily="34" charset="0"/>
              </a:rPr>
              <a:t>Example: Alex wants to see how many times a "double" comes up when throwing 2 dice.</a:t>
            </a:r>
          </a:p>
          <a:p>
            <a:pPr algn="l"/>
            <a:r>
              <a:rPr lang="en-US" b="0" i="0" dirty="0">
                <a:solidFill>
                  <a:srgbClr val="333333"/>
                </a:solidFill>
                <a:effectLst/>
                <a:latin typeface="Verdana" panose="020B0604030504040204" pitchFamily="34" charset="0"/>
              </a:rPr>
              <a:t>The </a:t>
            </a:r>
            <a:r>
              <a:rPr lang="en-US" b="1" i="0" dirty="0">
                <a:solidFill>
                  <a:srgbClr val="333333"/>
                </a:solidFill>
                <a:effectLst/>
                <a:latin typeface="Verdana" panose="020B0604030504040204" pitchFamily="34" charset="0"/>
              </a:rPr>
              <a:t>Sample Space</a:t>
            </a:r>
            <a:r>
              <a:rPr lang="en-US" b="0" i="0" dirty="0">
                <a:solidFill>
                  <a:srgbClr val="333333"/>
                </a:solidFill>
                <a:effectLst/>
                <a:latin typeface="Verdana" panose="020B0604030504040204" pitchFamily="34" charset="0"/>
              </a:rPr>
              <a:t> is all possible </a:t>
            </a:r>
            <a:r>
              <a:rPr lang="en-US" b="1" i="0" dirty="0">
                <a:solidFill>
                  <a:srgbClr val="333333"/>
                </a:solidFill>
                <a:effectLst/>
                <a:latin typeface="Verdana" panose="020B0604030504040204" pitchFamily="34" charset="0"/>
              </a:rPr>
              <a:t>Outcomes</a:t>
            </a:r>
            <a:r>
              <a:rPr lang="en-US" b="0" i="0" dirty="0">
                <a:solidFill>
                  <a:srgbClr val="333333"/>
                </a:solidFill>
                <a:effectLst/>
                <a:latin typeface="Verdana" panose="020B0604030504040204" pitchFamily="34" charset="0"/>
              </a:rPr>
              <a:t> (36 Sample Points):</a:t>
            </a:r>
          </a:p>
          <a:p>
            <a:pPr algn="ctr"/>
            <a:r>
              <a:rPr lang="en-US" b="0" i="0" dirty="0">
                <a:solidFill>
                  <a:srgbClr val="333333"/>
                </a:solidFill>
                <a:effectLst/>
                <a:latin typeface="Verdana" panose="020B0604030504040204" pitchFamily="34" charset="0"/>
              </a:rPr>
              <a:t>{1,1} {1,2} {1,3} {1,4} ... {6,3} {6,4} {6,5} {6,6}</a:t>
            </a:r>
          </a:p>
          <a:p>
            <a:pPr marL="0" indent="0" algn="ctr">
              <a:buNone/>
            </a:pPr>
            <a:endParaRPr lang="en-US" dirty="0">
              <a:solidFill>
                <a:srgbClr val="333333"/>
              </a:solidFill>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pPr algn="ctr"/>
            <a:endParaRPr lang="en-US" b="0" i="0" dirty="0">
              <a:solidFill>
                <a:srgbClr val="333333"/>
              </a:solidFill>
              <a:effectLst/>
              <a:latin typeface="Verdana" panose="020B0604030504040204" pitchFamily="34" charset="0"/>
            </a:endParaRPr>
          </a:p>
          <a:p>
            <a:endParaRPr lang="en-US" dirty="0"/>
          </a:p>
        </p:txBody>
      </p:sp>
      <p:pic>
        <p:nvPicPr>
          <p:cNvPr id="7" name="Picture 6">
            <a:extLst>
              <a:ext uri="{FF2B5EF4-FFF2-40B4-BE49-F238E27FC236}">
                <a16:creationId xmlns:a16="http://schemas.microsoft.com/office/drawing/2014/main" id="{010950B7-163A-4CF8-9365-717E34D03FB2}"/>
              </a:ext>
            </a:extLst>
          </p:cNvPr>
          <p:cNvPicPr>
            <a:picLocks noChangeAspect="1"/>
          </p:cNvPicPr>
          <p:nvPr/>
        </p:nvPicPr>
        <p:blipFill>
          <a:blip r:embed="rId2"/>
          <a:stretch>
            <a:fillRect/>
          </a:stretch>
        </p:blipFill>
        <p:spPr>
          <a:xfrm>
            <a:off x="6372551" y="1947324"/>
            <a:ext cx="2638825" cy="1561475"/>
          </a:xfrm>
          <a:prstGeom prst="rect">
            <a:avLst/>
          </a:prstGeom>
        </p:spPr>
      </p:pic>
      <p:sp>
        <p:nvSpPr>
          <p:cNvPr id="8" name="TextBox 7">
            <a:extLst>
              <a:ext uri="{FF2B5EF4-FFF2-40B4-BE49-F238E27FC236}">
                <a16:creationId xmlns:a16="http://schemas.microsoft.com/office/drawing/2014/main" id="{593CF9C8-9783-4446-A95B-D1798AE0AA9D}"/>
              </a:ext>
            </a:extLst>
          </p:cNvPr>
          <p:cNvSpPr txBox="1"/>
          <p:nvPr/>
        </p:nvSpPr>
        <p:spPr>
          <a:xfrm>
            <a:off x="104702" y="2038205"/>
            <a:ext cx="6170455" cy="892552"/>
          </a:xfrm>
          <a:prstGeom prst="rect">
            <a:avLst/>
          </a:prstGeom>
          <a:noFill/>
        </p:spPr>
        <p:txBody>
          <a:bodyPr wrap="square" rtlCol="0">
            <a:spAutoFit/>
          </a:bodyPr>
          <a:lstStyle/>
          <a:p>
            <a:pPr marL="228600"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The Event Alex is looking for is a "double", where both dice have the same number. It is made up of these 6 Sample Points:</a:t>
            </a:r>
          </a:p>
          <a:p>
            <a:pPr marL="1600200" lvl="3" indent="-228600">
              <a:spcBef>
                <a:spcPts val="1200"/>
              </a:spcBef>
              <a:spcAft>
                <a:spcPts val="0"/>
              </a:spcAft>
              <a:buClr>
                <a:srgbClr val="AAAAAA"/>
              </a:buClr>
              <a:buFont typeface="Arial" pitchFamily="34" charset="0"/>
              <a:buChar char="•"/>
            </a:pPr>
            <a:r>
              <a:rPr lang="en-US" sz="1400" dirty="0">
                <a:solidFill>
                  <a:srgbClr val="333333"/>
                </a:solidFill>
                <a:latin typeface="Verdana" panose="020B0604030504040204" pitchFamily="34" charset="0"/>
                <a:cs typeface="Arial" panose="020B0604020202020204" pitchFamily="34" charset="0"/>
              </a:rPr>
              <a:t>{1,1} {2,2} {3,3} {4,4} {5,5} and {6,6}</a:t>
            </a:r>
          </a:p>
        </p:txBody>
      </p:sp>
      <p:pic>
        <p:nvPicPr>
          <p:cNvPr id="10" name="Picture 9">
            <a:extLst>
              <a:ext uri="{FF2B5EF4-FFF2-40B4-BE49-F238E27FC236}">
                <a16:creationId xmlns:a16="http://schemas.microsoft.com/office/drawing/2014/main" id="{D27E8F84-1492-48D3-A72C-C55AB9766896}"/>
              </a:ext>
            </a:extLst>
          </p:cNvPr>
          <p:cNvPicPr>
            <a:picLocks noChangeAspect="1"/>
          </p:cNvPicPr>
          <p:nvPr/>
        </p:nvPicPr>
        <p:blipFill>
          <a:blip r:embed="rId3"/>
          <a:stretch>
            <a:fillRect/>
          </a:stretch>
        </p:blipFill>
        <p:spPr>
          <a:xfrm>
            <a:off x="3280818" y="3154478"/>
            <a:ext cx="1842614" cy="1923906"/>
          </a:xfrm>
          <a:prstGeom prst="rect">
            <a:avLst/>
          </a:prstGeom>
        </p:spPr>
      </p:pic>
      <p:sp>
        <p:nvSpPr>
          <p:cNvPr id="11" name="TextBox 10">
            <a:extLst>
              <a:ext uri="{FF2B5EF4-FFF2-40B4-BE49-F238E27FC236}">
                <a16:creationId xmlns:a16="http://schemas.microsoft.com/office/drawing/2014/main" id="{4997F32A-66F2-4762-AF10-F27AF77B4AF8}"/>
              </a:ext>
            </a:extLst>
          </p:cNvPr>
          <p:cNvSpPr txBox="1"/>
          <p:nvPr/>
        </p:nvSpPr>
        <p:spPr>
          <a:xfrm>
            <a:off x="132624" y="3441215"/>
            <a:ext cx="2554735"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These are the results: </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DB2BC0A9-8E4C-41A2-8A90-C56A08D270A4}"/>
                  </a:ext>
                </a:extLst>
              </p14:cNvPr>
              <p14:cNvContentPartPr/>
              <p14:nvPr/>
            </p14:nvContentPartPr>
            <p14:xfrm>
              <a:off x="152280" y="61920"/>
              <a:ext cx="8925480" cy="4991400"/>
            </p14:xfrm>
          </p:contentPart>
        </mc:Choice>
        <mc:Fallback>
          <p:pic>
            <p:nvPicPr>
              <p:cNvPr id="4" name="Ink 3">
                <a:extLst>
                  <a:ext uri="{FF2B5EF4-FFF2-40B4-BE49-F238E27FC236}">
                    <a16:creationId xmlns:a16="http://schemas.microsoft.com/office/drawing/2014/main" id="{DB2BC0A9-8E4C-41A2-8A90-C56A08D270A4}"/>
                  </a:ext>
                </a:extLst>
              </p:cNvPr>
              <p:cNvPicPr/>
              <p:nvPr/>
            </p:nvPicPr>
            <p:blipFill>
              <a:blip r:embed="rId5"/>
              <a:stretch>
                <a:fillRect/>
              </a:stretch>
            </p:blipFill>
            <p:spPr>
              <a:xfrm>
                <a:off x="142920" y="52560"/>
                <a:ext cx="8944200" cy="5010120"/>
              </a:xfrm>
              <a:prstGeom prst="rect">
                <a:avLst/>
              </a:prstGeom>
            </p:spPr>
          </p:pic>
        </mc:Fallback>
      </mc:AlternateContent>
    </p:spTree>
    <p:extLst>
      <p:ext uri="{BB962C8B-B14F-4D97-AF65-F5344CB8AC3E}">
        <p14:creationId xmlns:p14="http://schemas.microsoft.com/office/powerpoint/2010/main" val="1334183108"/>
      </p:ext>
    </p:extLst>
  </p:cSld>
  <p:clrMapOvr>
    <a:masterClrMapping/>
  </p:clrMapOvr>
  <p:transition spd="med">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20B3A-BFEF-46FE-BCFB-6C1E194FE7E2}"/>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E895A45-2B38-45B6-A1B0-4B6527B5A775}"/>
              </a:ext>
            </a:extLst>
          </p:cNvPr>
          <p:cNvSpPr>
            <a:spLocks noGrp="1"/>
          </p:cNvSpPr>
          <p:nvPr>
            <p:ph sz="half" idx="13"/>
          </p:nvPr>
        </p:nvSpPr>
        <p:spPr>
          <a:xfrm>
            <a:off x="97704" y="640080"/>
            <a:ext cx="8395030" cy="3200400"/>
          </a:xfrm>
        </p:spPr>
        <p:txBody>
          <a:bodyPr/>
          <a:lstStyle/>
          <a:p>
            <a:r>
              <a:rPr lang="en-US" dirty="0"/>
              <a:t>When there are </a:t>
            </a:r>
            <a:r>
              <a:rPr lang="en-US" b="1" dirty="0"/>
              <a:t>m</a:t>
            </a:r>
            <a:r>
              <a:rPr lang="en-US" dirty="0"/>
              <a:t> ways to do one thing, and </a:t>
            </a:r>
            <a:r>
              <a:rPr lang="en-US" b="1" dirty="0"/>
              <a:t>n</a:t>
            </a:r>
            <a:r>
              <a:rPr lang="en-US" dirty="0"/>
              <a:t> ways to do another, then there are </a:t>
            </a:r>
            <a:r>
              <a:rPr lang="en-US" b="1" dirty="0" err="1"/>
              <a:t>m×n</a:t>
            </a:r>
            <a:r>
              <a:rPr lang="en-US" dirty="0"/>
              <a:t> ways of doing both.</a:t>
            </a: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you have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shirts and </a:t>
            </a:r>
            <a:r>
              <a:rPr lang="en-US" b="1" i="0" dirty="0">
                <a:solidFill>
                  <a:srgbClr val="333333"/>
                </a:solidFill>
                <a:effectLst/>
                <a:latin typeface="Verdana" panose="020B0604030504040204" pitchFamily="34" charset="0"/>
              </a:rPr>
              <a:t>4</a:t>
            </a:r>
            <a:r>
              <a:rPr lang="en-US" b="0" i="0" dirty="0">
                <a:solidFill>
                  <a:srgbClr val="333333"/>
                </a:solidFill>
                <a:effectLst/>
                <a:latin typeface="Verdana" panose="020B0604030504040204" pitchFamily="34" charset="0"/>
              </a:rPr>
              <a:t> pant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3×4=12</a:t>
            </a:r>
            <a:r>
              <a:rPr lang="en-US" b="0" i="0" dirty="0">
                <a:solidFill>
                  <a:srgbClr val="333333"/>
                </a:solidFill>
                <a:effectLst/>
                <a:latin typeface="Verdana" panose="020B0604030504040204" pitchFamily="34" charset="0"/>
              </a:rPr>
              <a:t> different outfits.</a:t>
            </a:r>
          </a:p>
          <a:p>
            <a:pPr marL="342900" lvl="1" indent="0">
              <a:buNone/>
            </a:pPr>
            <a:endParaRPr lang="en-US" dirty="0">
              <a:solidFill>
                <a:srgbClr val="333333"/>
              </a:solidFill>
              <a:latin typeface="Verdana" panose="020B0604030504040204" pitchFamily="34" charset="0"/>
            </a:endParaRPr>
          </a:p>
          <a:p>
            <a:pPr algn="l"/>
            <a:r>
              <a:rPr lang="en-US" b="1" i="0" dirty="0">
                <a:solidFill>
                  <a:srgbClr val="333333"/>
                </a:solidFill>
                <a:effectLst/>
                <a:latin typeface="Verdana" panose="020B0604030504040204" pitchFamily="34" charset="0"/>
              </a:rPr>
              <a:t>Example: </a:t>
            </a:r>
            <a:r>
              <a:rPr lang="en-US" b="0" i="0" dirty="0">
                <a:solidFill>
                  <a:srgbClr val="333333"/>
                </a:solidFill>
                <a:effectLst/>
                <a:latin typeface="Verdana" panose="020B0604030504040204" pitchFamily="34" charset="0"/>
              </a:rPr>
              <a:t>There are </a:t>
            </a:r>
            <a:r>
              <a:rPr lang="en-US" b="1" i="0" dirty="0">
                <a:solidFill>
                  <a:srgbClr val="333333"/>
                </a:solidFill>
                <a:effectLst/>
                <a:latin typeface="Verdana" panose="020B0604030504040204" pitchFamily="34" charset="0"/>
              </a:rPr>
              <a:t>6</a:t>
            </a:r>
            <a:r>
              <a:rPr lang="en-US" b="0" i="0" dirty="0">
                <a:solidFill>
                  <a:srgbClr val="333333"/>
                </a:solidFill>
                <a:effectLst/>
                <a:latin typeface="Verdana" panose="020B0604030504040204" pitchFamily="34" charset="0"/>
              </a:rPr>
              <a:t> flavors of ice-cream, and </a:t>
            </a:r>
            <a:r>
              <a:rPr lang="en-US" b="1" i="0" dirty="0">
                <a:solidFill>
                  <a:srgbClr val="333333"/>
                </a:solidFill>
                <a:effectLst/>
                <a:latin typeface="Verdana" panose="020B0604030504040204" pitchFamily="34" charset="0"/>
              </a:rPr>
              <a:t>3</a:t>
            </a:r>
            <a:r>
              <a:rPr lang="en-US" b="0" i="0" dirty="0">
                <a:solidFill>
                  <a:srgbClr val="333333"/>
                </a:solidFill>
                <a:effectLst/>
                <a:latin typeface="Verdana" panose="020B0604030504040204" pitchFamily="34" charset="0"/>
              </a:rPr>
              <a:t> different cones.</a:t>
            </a:r>
          </a:p>
          <a:p>
            <a:pPr lvl="1"/>
            <a:r>
              <a:rPr lang="en-US" b="0" i="0" dirty="0">
                <a:solidFill>
                  <a:srgbClr val="333333"/>
                </a:solidFill>
                <a:effectLst/>
                <a:latin typeface="Verdana" panose="020B0604030504040204" pitchFamily="34" charset="0"/>
              </a:rPr>
              <a:t>That means </a:t>
            </a:r>
            <a:r>
              <a:rPr lang="en-US" b="1" i="0" dirty="0">
                <a:solidFill>
                  <a:srgbClr val="333333"/>
                </a:solidFill>
                <a:effectLst/>
                <a:latin typeface="Verdana" panose="020B0604030504040204" pitchFamily="34" charset="0"/>
              </a:rPr>
              <a:t>6×3=18</a:t>
            </a:r>
            <a:r>
              <a:rPr lang="en-US" b="0" i="0" dirty="0">
                <a:solidFill>
                  <a:srgbClr val="333333"/>
                </a:solidFill>
                <a:effectLst/>
                <a:latin typeface="Verdana" panose="020B0604030504040204" pitchFamily="34" charset="0"/>
              </a:rPr>
              <a:t> different single-scoop ice-creams you could order.</a:t>
            </a:r>
          </a:p>
          <a:p>
            <a:pPr marL="342900" lvl="1" indent="0">
              <a:buNone/>
            </a:pPr>
            <a:endParaRPr lang="en-US" b="0" i="0" dirty="0">
              <a:solidFill>
                <a:srgbClr val="333333"/>
              </a:solidFill>
              <a:effectLst/>
              <a:latin typeface="Verdana" panose="020B0604030504040204" pitchFamily="34" charset="0"/>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2D0284BD-676B-433D-8A8E-D4D34FA4FBFE}"/>
                  </a:ext>
                </a:extLst>
              </p14:cNvPr>
              <p14:cNvContentPartPr/>
              <p14:nvPr/>
            </p14:nvContentPartPr>
            <p14:xfrm>
              <a:off x="219240" y="633240"/>
              <a:ext cx="8015400" cy="2529360"/>
            </p14:xfrm>
          </p:contentPart>
        </mc:Choice>
        <mc:Fallback>
          <p:pic>
            <p:nvPicPr>
              <p:cNvPr id="4" name="Ink 3">
                <a:extLst>
                  <a:ext uri="{FF2B5EF4-FFF2-40B4-BE49-F238E27FC236}">
                    <a16:creationId xmlns:a16="http://schemas.microsoft.com/office/drawing/2014/main" id="{2D0284BD-676B-433D-8A8E-D4D34FA4FBFE}"/>
                  </a:ext>
                </a:extLst>
              </p:cNvPr>
              <p:cNvPicPr/>
              <p:nvPr/>
            </p:nvPicPr>
            <p:blipFill>
              <a:blip r:embed="rId3"/>
              <a:stretch>
                <a:fillRect/>
              </a:stretch>
            </p:blipFill>
            <p:spPr>
              <a:xfrm>
                <a:off x="209880" y="623880"/>
                <a:ext cx="8034120" cy="2548080"/>
              </a:xfrm>
              <a:prstGeom prst="rect">
                <a:avLst/>
              </a:prstGeom>
            </p:spPr>
          </p:pic>
        </mc:Fallback>
      </mc:AlternateContent>
    </p:spTree>
    <p:extLst>
      <p:ext uri="{BB962C8B-B14F-4D97-AF65-F5344CB8AC3E}">
        <p14:creationId xmlns:p14="http://schemas.microsoft.com/office/powerpoint/2010/main" val="1347032845"/>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p:spTree>
    <p:extLst>
      <p:ext uri="{BB962C8B-B14F-4D97-AF65-F5344CB8AC3E}">
        <p14:creationId xmlns:p14="http://schemas.microsoft.com/office/powerpoint/2010/main" val="3121719466"/>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4532B-185A-4357-BE52-28EBAB6F3121}"/>
              </a:ext>
            </a:extLst>
          </p:cNvPr>
          <p:cNvSpPr>
            <a:spLocks noGrp="1"/>
          </p:cNvSpPr>
          <p:nvPr>
            <p:ph type="title"/>
          </p:nvPr>
        </p:nvSpPr>
        <p:spPr>
          <a:xfrm>
            <a:off x="0" y="0"/>
            <a:ext cx="4295219" cy="640080"/>
          </a:xfrm>
        </p:spPr>
        <p:txBody>
          <a:bodyPr/>
          <a:lstStyle/>
          <a:p>
            <a:r>
              <a:rPr lang="en-US" dirty="0"/>
              <a:t>Basic Counting Principle</a:t>
            </a:r>
          </a:p>
        </p:txBody>
      </p:sp>
      <p:sp>
        <p:nvSpPr>
          <p:cNvPr id="3" name="Content Placeholder 2">
            <a:extLst>
              <a:ext uri="{FF2B5EF4-FFF2-40B4-BE49-F238E27FC236}">
                <a16:creationId xmlns:a16="http://schemas.microsoft.com/office/drawing/2014/main" id="{7FE24EE5-9E37-494F-9C2B-DFF91D177E34}"/>
              </a:ext>
            </a:extLst>
          </p:cNvPr>
          <p:cNvSpPr>
            <a:spLocks noGrp="1"/>
          </p:cNvSpPr>
          <p:nvPr>
            <p:ph sz="half" idx="13"/>
          </p:nvPr>
        </p:nvSpPr>
        <p:spPr>
          <a:xfrm>
            <a:off x="0" y="640080"/>
            <a:ext cx="9483933" cy="3200400"/>
          </a:xfrm>
        </p:spPr>
        <p:txBody>
          <a:bodyPr/>
          <a:lstStyle/>
          <a:p>
            <a:r>
              <a:rPr lang="en-US" b="0" i="0" dirty="0">
                <a:solidFill>
                  <a:srgbClr val="333333"/>
                </a:solidFill>
                <a:effectLst/>
                <a:latin typeface="Verdana" panose="020B0604030504040204" pitchFamily="34" charset="0"/>
              </a:rPr>
              <a:t>It also works when you have more than 2 choices:</a:t>
            </a:r>
          </a:p>
          <a:p>
            <a:r>
              <a:rPr lang="en-US" b="0" i="0" dirty="0">
                <a:solidFill>
                  <a:srgbClr val="333333"/>
                </a:solidFill>
                <a:effectLst/>
                <a:latin typeface="Verdana" panose="020B0604030504040204" pitchFamily="34" charset="0"/>
              </a:rPr>
              <a:t>Example: You are buying a new car.</a:t>
            </a:r>
          </a:p>
          <a:p>
            <a:pPr lvl="1"/>
            <a:r>
              <a:rPr lang="en-US" dirty="0">
                <a:solidFill>
                  <a:srgbClr val="333333"/>
                </a:solidFill>
                <a:latin typeface="Verdana" panose="020B0604030504040204" pitchFamily="34" charset="0"/>
              </a:rPr>
              <a:t>There are 2 body styles</a:t>
            </a:r>
          </a:p>
          <a:p>
            <a:pPr lvl="1"/>
            <a:r>
              <a:rPr lang="en-US" b="0" i="0" dirty="0">
                <a:solidFill>
                  <a:srgbClr val="333333"/>
                </a:solidFill>
                <a:effectLst/>
                <a:latin typeface="Verdana" panose="020B0604030504040204" pitchFamily="34" charset="0"/>
              </a:rPr>
              <a:t>There are 5 colors available</a:t>
            </a:r>
          </a:p>
          <a:p>
            <a:pPr lvl="1"/>
            <a:r>
              <a:rPr lang="en-US" dirty="0">
                <a:solidFill>
                  <a:srgbClr val="333333"/>
                </a:solidFill>
                <a:latin typeface="Verdana" panose="020B0604030504040204" pitchFamily="34" charset="0"/>
              </a:rPr>
              <a:t>There are 3 models : </a:t>
            </a:r>
          </a:p>
          <a:p>
            <a:pPr lvl="2"/>
            <a:r>
              <a:rPr lang="en-US" b="0" i="0" dirty="0">
                <a:solidFill>
                  <a:srgbClr val="333333"/>
                </a:solidFill>
                <a:effectLst/>
                <a:latin typeface="Verdana" panose="020B0604030504040204" pitchFamily="34" charset="0"/>
              </a:rPr>
              <a:t>GL (standard model),</a:t>
            </a:r>
          </a:p>
          <a:p>
            <a:pPr lvl="2"/>
            <a:r>
              <a:rPr lang="en-US" b="0" i="0" dirty="0">
                <a:solidFill>
                  <a:srgbClr val="333333"/>
                </a:solidFill>
                <a:effectLst/>
                <a:latin typeface="Verdana" panose="020B0604030504040204" pitchFamily="34" charset="0"/>
              </a:rPr>
              <a:t>SS (sports model with bigger engine)</a:t>
            </a:r>
          </a:p>
          <a:p>
            <a:pPr lvl="2"/>
            <a:r>
              <a:rPr lang="en-US" b="0" i="0" dirty="0">
                <a:solidFill>
                  <a:srgbClr val="333333"/>
                </a:solidFill>
                <a:effectLst/>
                <a:latin typeface="Verdana" panose="020B0604030504040204" pitchFamily="34" charset="0"/>
              </a:rPr>
              <a:t>SL (luxury model with leather seats)</a:t>
            </a:r>
          </a:p>
          <a:p>
            <a:pPr lvl="2"/>
            <a:endParaRPr lang="en-US" b="0" i="0" dirty="0">
              <a:solidFill>
                <a:srgbClr val="333333"/>
              </a:solidFill>
              <a:effectLst/>
              <a:latin typeface="Verdana" panose="020B0604030504040204" pitchFamily="34" charset="0"/>
            </a:endParaRPr>
          </a:p>
          <a:p>
            <a:r>
              <a:rPr lang="en-US" b="1" dirty="0"/>
              <a:t>How many total choices you have ? </a:t>
            </a:r>
          </a:p>
          <a:p>
            <a:pPr marL="0" indent="0">
              <a:buNone/>
            </a:pPr>
            <a:endParaRPr lang="en-US" dirty="0"/>
          </a:p>
        </p:txBody>
      </p:sp>
      <p:pic>
        <p:nvPicPr>
          <p:cNvPr id="5" name="Picture 4" descr="A red car parked on a road&#10;&#10;Description automatically generated with medium confidence">
            <a:extLst>
              <a:ext uri="{FF2B5EF4-FFF2-40B4-BE49-F238E27FC236}">
                <a16:creationId xmlns:a16="http://schemas.microsoft.com/office/drawing/2014/main" id="{19F1B0FC-CF74-40A2-BF51-6C0B862B693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68238" y="0"/>
            <a:ext cx="2275761" cy="970241"/>
          </a:xfrm>
          <a:prstGeom prst="rect">
            <a:avLst/>
          </a:prstGeom>
        </p:spPr>
      </p:pic>
      <p:pic>
        <p:nvPicPr>
          <p:cNvPr id="7" name="Picture 6" descr="A red car parked on a road&#10;&#10;Description automatically generated with medium confidence">
            <a:extLst>
              <a:ext uri="{FF2B5EF4-FFF2-40B4-BE49-F238E27FC236}">
                <a16:creationId xmlns:a16="http://schemas.microsoft.com/office/drawing/2014/main" id="{5C777FBC-EC57-4116-9590-28C6560EB94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208171" y="970241"/>
            <a:ext cx="1935829" cy="1451872"/>
          </a:xfrm>
          <a:prstGeom prst="rect">
            <a:avLst/>
          </a:prstGeom>
        </p:spPr>
      </p:pic>
      <p:pic>
        <p:nvPicPr>
          <p:cNvPr id="10" name="Picture 9">
            <a:extLst>
              <a:ext uri="{FF2B5EF4-FFF2-40B4-BE49-F238E27FC236}">
                <a16:creationId xmlns:a16="http://schemas.microsoft.com/office/drawing/2014/main" id="{380E2F7E-32C4-431E-B6FF-0AF97B2D0F87}"/>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268674" y="2962944"/>
            <a:ext cx="1755072" cy="1755072"/>
          </a:xfrm>
          <a:prstGeom prst="rect">
            <a:avLst/>
          </a:prstGeom>
        </p:spPr>
      </p:pic>
      <mc:AlternateContent xmlns:mc="http://schemas.openxmlformats.org/markup-compatibility/2006">
        <mc:Choice xmlns:p14="http://schemas.microsoft.com/office/powerpoint/2010/main" Requires="p14">
          <p:contentPart p14:bwMode="auto" r:id="rId8">
            <p14:nvContentPartPr>
              <p14:cNvPr id="4" name="Ink 3">
                <a:extLst>
                  <a:ext uri="{FF2B5EF4-FFF2-40B4-BE49-F238E27FC236}">
                    <a16:creationId xmlns:a16="http://schemas.microsoft.com/office/drawing/2014/main" id="{C87EDA13-A120-4C20-A528-A41E6B4446DC}"/>
                  </a:ext>
                </a:extLst>
              </p14:cNvPr>
              <p14:cNvContentPartPr/>
              <p14:nvPr/>
            </p14:nvContentPartPr>
            <p14:xfrm>
              <a:off x="1324080" y="285840"/>
              <a:ext cx="5672520" cy="2600640"/>
            </p14:xfrm>
          </p:contentPart>
        </mc:Choice>
        <mc:Fallback>
          <p:pic>
            <p:nvPicPr>
              <p:cNvPr id="4" name="Ink 3">
                <a:extLst>
                  <a:ext uri="{FF2B5EF4-FFF2-40B4-BE49-F238E27FC236}">
                    <a16:creationId xmlns:a16="http://schemas.microsoft.com/office/drawing/2014/main" id="{C87EDA13-A120-4C20-A528-A41E6B4446DC}"/>
                  </a:ext>
                </a:extLst>
              </p:cNvPr>
              <p:cNvPicPr/>
              <p:nvPr/>
            </p:nvPicPr>
            <p:blipFill>
              <a:blip r:embed="rId9"/>
              <a:stretch>
                <a:fillRect/>
              </a:stretch>
            </p:blipFill>
            <p:spPr>
              <a:xfrm>
                <a:off x="1314720" y="276480"/>
                <a:ext cx="5691240" cy="2619360"/>
              </a:xfrm>
              <a:prstGeom prst="rect">
                <a:avLst/>
              </a:prstGeom>
            </p:spPr>
          </p:pic>
        </mc:Fallback>
      </mc:AlternateContent>
    </p:spTree>
    <p:extLst>
      <p:ext uri="{BB962C8B-B14F-4D97-AF65-F5344CB8AC3E}">
        <p14:creationId xmlns:p14="http://schemas.microsoft.com/office/powerpoint/2010/main" val="2033431723"/>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38622-11D2-416A-A0DB-E3E9EFE6E75C}"/>
              </a:ext>
            </a:extLst>
          </p:cNvPr>
          <p:cNvSpPr>
            <a:spLocks noGrp="1"/>
          </p:cNvSpPr>
          <p:nvPr>
            <p:ph type="title"/>
          </p:nvPr>
        </p:nvSpPr>
        <p:spPr>
          <a:xfrm>
            <a:off x="0" y="22860"/>
            <a:ext cx="7230614" cy="640080"/>
          </a:xfrm>
        </p:spPr>
        <p:txBody>
          <a:bodyPr/>
          <a:lstStyle/>
          <a:p>
            <a:r>
              <a:rPr lang="en-US" dirty="0"/>
              <a:t>Basic Counting Principle – Ex continued</a:t>
            </a:r>
          </a:p>
        </p:txBody>
      </p:sp>
      <p:sp>
        <p:nvSpPr>
          <p:cNvPr id="3" name="Content Placeholder 2">
            <a:extLst>
              <a:ext uri="{FF2B5EF4-FFF2-40B4-BE49-F238E27FC236}">
                <a16:creationId xmlns:a16="http://schemas.microsoft.com/office/drawing/2014/main" id="{07E829D6-B167-49B9-8A62-F4EBDAFC55FF}"/>
              </a:ext>
            </a:extLst>
          </p:cNvPr>
          <p:cNvSpPr>
            <a:spLocks noGrp="1"/>
          </p:cNvSpPr>
          <p:nvPr>
            <p:ph sz="half" idx="13"/>
          </p:nvPr>
        </p:nvSpPr>
        <p:spPr>
          <a:xfrm>
            <a:off x="133670" y="2934669"/>
            <a:ext cx="8396077" cy="1633355"/>
          </a:xfrm>
        </p:spPr>
        <p:txBody>
          <a:bodyPr>
            <a:normAutofit/>
          </a:bodyPr>
          <a:lstStyle/>
          <a:p>
            <a:r>
              <a:rPr lang="en-US" dirty="0"/>
              <a:t>You can count the choices, or just do the simple calculation:</a:t>
            </a:r>
          </a:p>
          <a:p>
            <a:pPr marL="0" indent="0">
              <a:buNone/>
            </a:pPr>
            <a:endParaRPr lang="en-US" dirty="0"/>
          </a:p>
        </p:txBody>
      </p:sp>
      <p:pic>
        <p:nvPicPr>
          <p:cNvPr id="5" name="Picture 4">
            <a:extLst>
              <a:ext uri="{FF2B5EF4-FFF2-40B4-BE49-F238E27FC236}">
                <a16:creationId xmlns:a16="http://schemas.microsoft.com/office/drawing/2014/main" id="{8CBEB511-67A4-4D30-A170-5C33C7FD1431}"/>
              </a:ext>
            </a:extLst>
          </p:cNvPr>
          <p:cNvPicPr>
            <a:picLocks noChangeAspect="1"/>
          </p:cNvPicPr>
          <p:nvPr/>
        </p:nvPicPr>
        <p:blipFill>
          <a:blip r:embed="rId2"/>
          <a:stretch>
            <a:fillRect/>
          </a:stretch>
        </p:blipFill>
        <p:spPr>
          <a:xfrm>
            <a:off x="1033063" y="575476"/>
            <a:ext cx="6086693" cy="2155832"/>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F9AD1998-3862-480D-A899-CD381608D83F}"/>
                  </a:ext>
                </a:extLst>
              </p14:cNvPr>
              <p14:cNvContentPartPr/>
              <p14:nvPr/>
            </p14:nvContentPartPr>
            <p14:xfrm>
              <a:off x="1781280" y="1371600"/>
              <a:ext cx="6148800" cy="1705320"/>
            </p14:xfrm>
          </p:contentPart>
        </mc:Choice>
        <mc:Fallback>
          <p:pic>
            <p:nvPicPr>
              <p:cNvPr id="4" name="Ink 3">
                <a:extLst>
                  <a:ext uri="{FF2B5EF4-FFF2-40B4-BE49-F238E27FC236}">
                    <a16:creationId xmlns:a16="http://schemas.microsoft.com/office/drawing/2014/main" id="{F9AD1998-3862-480D-A899-CD381608D83F}"/>
                  </a:ext>
                </a:extLst>
              </p:cNvPr>
              <p:cNvPicPr/>
              <p:nvPr/>
            </p:nvPicPr>
            <p:blipFill>
              <a:blip r:embed="rId4"/>
              <a:stretch>
                <a:fillRect/>
              </a:stretch>
            </p:blipFill>
            <p:spPr>
              <a:xfrm>
                <a:off x="1771920" y="1362240"/>
                <a:ext cx="6167520" cy="1724040"/>
              </a:xfrm>
              <a:prstGeom prst="rect">
                <a:avLst/>
              </a:prstGeom>
            </p:spPr>
          </p:pic>
        </mc:Fallback>
      </mc:AlternateContent>
    </p:spTree>
    <p:extLst>
      <p:ext uri="{BB962C8B-B14F-4D97-AF65-F5344CB8AC3E}">
        <p14:creationId xmlns:p14="http://schemas.microsoft.com/office/powerpoint/2010/main" val="2074760393"/>
      </p:ext>
    </p:extLst>
  </p:cSld>
  <p:clrMapOvr>
    <a:masterClrMapping/>
  </p:clrMapOvr>
  <p:transition spd="med">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A364-C2E7-49F9-B5CC-663C189F5BEC}"/>
              </a:ext>
            </a:extLst>
          </p:cNvPr>
          <p:cNvSpPr>
            <a:spLocks noGrp="1"/>
          </p:cNvSpPr>
          <p:nvPr>
            <p:ph type="title"/>
          </p:nvPr>
        </p:nvSpPr>
        <p:spPr>
          <a:xfrm>
            <a:off x="0" y="0"/>
            <a:ext cx="6839726" cy="640080"/>
          </a:xfrm>
        </p:spPr>
        <p:txBody>
          <a:bodyPr/>
          <a:lstStyle/>
          <a:p>
            <a:r>
              <a:rPr lang="en-US" dirty="0"/>
              <a:t>Independent or Dependent </a:t>
            </a:r>
          </a:p>
        </p:txBody>
      </p:sp>
      <p:sp>
        <p:nvSpPr>
          <p:cNvPr id="3" name="Content Placeholder 2">
            <a:extLst>
              <a:ext uri="{FF2B5EF4-FFF2-40B4-BE49-F238E27FC236}">
                <a16:creationId xmlns:a16="http://schemas.microsoft.com/office/drawing/2014/main" id="{32BE9735-4EC7-4FA5-9C8E-FB6A20384A25}"/>
              </a:ext>
            </a:extLst>
          </p:cNvPr>
          <p:cNvSpPr>
            <a:spLocks noGrp="1"/>
          </p:cNvSpPr>
          <p:nvPr>
            <p:ph sz="half" idx="13"/>
          </p:nvPr>
        </p:nvSpPr>
        <p:spPr>
          <a:xfrm>
            <a:off x="0" y="640079"/>
            <a:ext cx="9144000" cy="3771377"/>
          </a:xfrm>
        </p:spPr>
        <p:txBody>
          <a:bodyPr>
            <a:normAutofit/>
          </a:bodyPr>
          <a:lstStyle/>
          <a:p>
            <a:pPr algn="l"/>
            <a:r>
              <a:rPr lang="en-US" sz="2000" b="0" i="0" dirty="0">
                <a:solidFill>
                  <a:srgbClr val="333333"/>
                </a:solidFill>
                <a:effectLst/>
                <a:latin typeface="Verdana" panose="020B0604030504040204" pitchFamily="34" charset="0"/>
              </a:rPr>
              <a:t>But it only works when all choices are </a:t>
            </a:r>
            <a:r>
              <a:rPr lang="en-US" sz="2000" b="1" i="0" dirty="0">
                <a:solidFill>
                  <a:srgbClr val="333333"/>
                </a:solidFill>
                <a:effectLst/>
                <a:latin typeface="Verdana" panose="020B0604030504040204" pitchFamily="34" charset="0"/>
              </a:rPr>
              <a:t>independent</a:t>
            </a:r>
            <a:r>
              <a:rPr lang="en-US" sz="2000" b="0" i="0" dirty="0">
                <a:solidFill>
                  <a:srgbClr val="333333"/>
                </a:solidFill>
                <a:effectLst/>
                <a:latin typeface="Verdana" panose="020B0604030504040204" pitchFamily="34" charset="0"/>
              </a:rPr>
              <a:t> of each other.</a:t>
            </a:r>
          </a:p>
          <a:p>
            <a:pPr algn="l"/>
            <a:r>
              <a:rPr lang="en-US" sz="2000" b="0" i="0" dirty="0">
                <a:solidFill>
                  <a:srgbClr val="333333"/>
                </a:solidFill>
                <a:effectLst/>
                <a:latin typeface="Verdana" panose="020B0604030504040204" pitchFamily="34" charset="0"/>
              </a:rPr>
              <a:t>If one choice affects another choice (i.e. </a:t>
            </a:r>
            <a:r>
              <a:rPr lang="en-US" sz="2000" b="1" i="0" dirty="0">
                <a:solidFill>
                  <a:srgbClr val="333333"/>
                </a:solidFill>
                <a:effectLst/>
                <a:latin typeface="Verdana" panose="020B0604030504040204" pitchFamily="34" charset="0"/>
              </a:rPr>
              <a:t>depends</a:t>
            </a:r>
            <a:r>
              <a:rPr lang="en-US" sz="2000" b="0" i="0" dirty="0">
                <a:solidFill>
                  <a:srgbClr val="333333"/>
                </a:solidFill>
                <a:effectLst/>
                <a:latin typeface="Verdana" panose="020B0604030504040204" pitchFamily="34" charset="0"/>
              </a:rPr>
              <a:t> on another choice), then a simple multiplication is not right.</a:t>
            </a:r>
          </a:p>
          <a:p>
            <a:pPr algn="l"/>
            <a:r>
              <a:rPr lang="en-US" sz="2000" dirty="0">
                <a:solidFill>
                  <a:srgbClr val="333333"/>
                </a:solidFill>
                <a:latin typeface="Verdana" panose="020B0604030504040204" pitchFamily="34" charset="0"/>
              </a:rPr>
              <a:t>Ex : you are buying a car, but the salesman says you can’t choose black for the hatchback.. </a:t>
            </a:r>
            <a:r>
              <a:rPr lang="en-US" sz="2000" b="1" i="1" dirty="0">
                <a:solidFill>
                  <a:srgbClr val="333333"/>
                </a:solidFill>
                <a:latin typeface="Verdana" panose="020B0604030504040204" pitchFamily="34" charset="0"/>
              </a:rPr>
              <a:t>Well then things change</a:t>
            </a:r>
            <a:endParaRPr lang="en-US" sz="2000" b="1" i="1" dirty="0">
              <a:solidFill>
                <a:srgbClr val="333333"/>
              </a:solidFill>
              <a:effectLst/>
              <a:latin typeface="Verdana" panose="020B0604030504040204" pitchFamily="34" charset="0"/>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68D42983-4391-45D2-86BB-7D7FEA85FC30}"/>
                  </a:ext>
                </a:extLst>
              </p14:cNvPr>
              <p14:cNvContentPartPr/>
              <p14:nvPr/>
            </p14:nvContentPartPr>
            <p14:xfrm>
              <a:off x="200160" y="542880"/>
              <a:ext cx="8763120" cy="3481920"/>
            </p14:xfrm>
          </p:contentPart>
        </mc:Choice>
        <mc:Fallback>
          <p:pic>
            <p:nvPicPr>
              <p:cNvPr id="4" name="Ink 3">
                <a:extLst>
                  <a:ext uri="{FF2B5EF4-FFF2-40B4-BE49-F238E27FC236}">
                    <a16:creationId xmlns:a16="http://schemas.microsoft.com/office/drawing/2014/main" id="{68D42983-4391-45D2-86BB-7D7FEA85FC30}"/>
                  </a:ext>
                </a:extLst>
              </p:cNvPr>
              <p:cNvPicPr/>
              <p:nvPr/>
            </p:nvPicPr>
            <p:blipFill>
              <a:blip r:embed="rId3"/>
              <a:stretch>
                <a:fillRect/>
              </a:stretch>
            </p:blipFill>
            <p:spPr>
              <a:xfrm>
                <a:off x="190800" y="533520"/>
                <a:ext cx="8781840" cy="3500640"/>
              </a:xfrm>
              <a:prstGeom prst="rect">
                <a:avLst/>
              </a:prstGeom>
            </p:spPr>
          </p:pic>
        </mc:Fallback>
      </mc:AlternateContent>
    </p:spTree>
    <p:extLst>
      <p:ext uri="{BB962C8B-B14F-4D97-AF65-F5344CB8AC3E}">
        <p14:creationId xmlns:p14="http://schemas.microsoft.com/office/powerpoint/2010/main" val="2871754504"/>
      </p:ext>
    </p:extLst>
  </p:cSld>
  <p:clrMapOvr>
    <a:masterClrMapping/>
  </p:clrMapOvr>
  <p:transition spd="med">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8C05D-BE8C-4546-B006-9B88F0538A05}"/>
              </a:ext>
            </a:extLst>
          </p:cNvPr>
          <p:cNvSpPr>
            <a:spLocks noGrp="1"/>
          </p:cNvSpPr>
          <p:nvPr>
            <p:ph type="title"/>
          </p:nvPr>
        </p:nvSpPr>
        <p:spPr>
          <a:xfrm>
            <a:off x="0" y="0"/>
            <a:ext cx="7929453" cy="640080"/>
          </a:xfrm>
        </p:spPr>
        <p:txBody>
          <a:bodyPr/>
          <a:lstStyle/>
          <a:p>
            <a:r>
              <a:rPr lang="en-US" dirty="0"/>
              <a:t>Independent or Dependent – Ex continued </a:t>
            </a:r>
          </a:p>
        </p:txBody>
      </p:sp>
      <p:pic>
        <p:nvPicPr>
          <p:cNvPr id="4" name="Content Placeholder 3">
            <a:extLst>
              <a:ext uri="{FF2B5EF4-FFF2-40B4-BE49-F238E27FC236}">
                <a16:creationId xmlns:a16="http://schemas.microsoft.com/office/drawing/2014/main" id="{8F32F106-4CD4-40E0-87E2-661C2067C569}"/>
              </a:ext>
            </a:extLst>
          </p:cNvPr>
          <p:cNvPicPr>
            <a:picLocks noGrp="1" noChangeAspect="1"/>
          </p:cNvPicPr>
          <p:nvPr>
            <p:ph sz="half" idx="13"/>
          </p:nvPr>
        </p:nvPicPr>
        <p:blipFill>
          <a:blip r:embed="rId2"/>
          <a:stretch>
            <a:fillRect/>
          </a:stretch>
        </p:blipFill>
        <p:spPr>
          <a:xfrm>
            <a:off x="1740470" y="572928"/>
            <a:ext cx="5923738" cy="2422742"/>
          </a:xfrm>
          <a:prstGeom prst="rect">
            <a:avLst/>
          </a:prstGeom>
        </p:spPr>
      </p:pic>
      <p:sp>
        <p:nvSpPr>
          <p:cNvPr id="5" name="TextBox 4">
            <a:extLst>
              <a:ext uri="{FF2B5EF4-FFF2-40B4-BE49-F238E27FC236}">
                <a16:creationId xmlns:a16="http://schemas.microsoft.com/office/drawing/2014/main" id="{80CAC565-AB32-4C61-99D3-866831E99BC3}"/>
              </a:ext>
            </a:extLst>
          </p:cNvPr>
          <p:cNvSpPr txBox="1"/>
          <p:nvPr/>
        </p:nvSpPr>
        <p:spPr>
          <a:xfrm>
            <a:off x="-83763" y="3266711"/>
            <a:ext cx="8013216" cy="830997"/>
          </a:xfrm>
          <a:prstGeom prst="rect">
            <a:avLst/>
          </a:prstGeom>
          <a:noFill/>
        </p:spPr>
        <p:txBody>
          <a:bodyPr wrap="square" rtlCol="0">
            <a:spAutoFit/>
          </a:bodyPr>
          <a:lstStyle/>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ecause your choices are </a:t>
            </a:r>
            <a:r>
              <a:rPr lang="en-US" sz="1600" b="1" i="0" dirty="0">
                <a:solidFill>
                  <a:srgbClr val="333333"/>
                </a:solidFill>
                <a:effectLst/>
                <a:latin typeface="Verdana" panose="020B0604030504040204" pitchFamily="34" charset="0"/>
              </a:rPr>
              <a:t>not independent</a:t>
            </a:r>
            <a:r>
              <a:rPr lang="en-US" sz="1600" b="0" i="0" dirty="0">
                <a:solidFill>
                  <a:srgbClr val="333333"/>
                </a:solidFill>
                <a:effectLst/>
                <a:latin typeface="Verdana" panose="020B0604030504040204" pitchFamily="34" charset="0"/>
              </a:rPr>
              <a:t> of each other.</a:t>
            </a:r>
          </a:p>
          <a:p>
            <a:pPr marL="171450" indent="-171450" algn="l">
              <a:buFont typeface="Arial" panose="020B0604020202020204" pitchFamily="34" charset="0"/>
              <a:buChar char="•"/>
            </a:pPr>
            <a:endParaRPr lang="en-US" sz="16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600" b="0" i="0" dirty="0">
                <a:solidFill>
                  <a:srgbClr val="333333"/>
                </a:solidFill>
                <a:effectLst/>
                <a:latin typeface="Verdana" panose="020B0604030504040204" pitchFamily="34" charset="0"/>
              </a:rPr>
              <a:t>But you can still make your life easier with this calculation:</a:t>
            </a: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204C7448-1444-4368-8BB1-AE66932E1628}"/>
                  </a:ext>
                </a:extLst>
              </p14:cNvPr>
              <p14:cNvContentPartPr/>
              <p14:nvPr/>
            </p14:nvContentPartPr>
            <p14:xfrm>
              <a:off x="880920" y="2076480"/>
              <a:ext cx="7710840" cy="2586240"/>
            </p14:xfrm>
          </p:contentPart>
        </mc:Choice>
        <mc:Fallback>
          <p:pic>
            <p:nvPicPr>
              <p:cNvPr id="3" name="Ink 2">
                <a:extLst>
                  <a:ext uri="{FF2B5EF4-FFF2-40B4-BE49-F238E27FC236}">
                    <a16:creationId xmlns:a16="http://schemas.microsoft.com/office/drawing/2014/main" id="{204C7448-1444-4368-8BB1-AE66932E1628}"/>
                  </a:ext>
                </a:extLst>
              </p:cNvPr>
              <p:cNvPicPr/>
              <p:nvPr/>
            </p:nvPicPr>
            <p:blipFill>
              <a:blip r:embed="rId4"/>
              <a:stretch>
                <a:fillRect/>
              </a:stretch>
            </p:blipFill>
            <p:spPr>
              <a:xfrm>
                <a:off x="871560" y="2067120"/>
                <a:ext cx="7729560" cy="2604960"/>
              </a:xfrm>
              <a:prstGeom prst="rect">
                <a:avLst/>
              </a:prstGeom>
            </p:spPr>
          </p:pic>
        </mc:Fallback>
      </mc:AlternateContent>
    </p:spTree>
    <p:extLst>
      <p:ext uri="{BB962C8B-B14F-4D97-AF65-F5344CB8AC3E}">
        <p14:creationId xmlns:p14="http://schemas.microsoft.com/office/powerpoint/2010/main" val="2852821484"/>
      </p:ext>
    </p:extLst>
  </p:cSld>
  <p:clrMapOvr>
    <a:masterClrMapping/>
  </p:clrMapOvr>
  <p:transition spd="med">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4589F-FA7B-4274-8300-F7E79507DCCA}"/>
              </a:ext>
            </a:extLst>
          </p:cNvPr>
          <p:cNvSpPr>
            <a:spLocks noGrp="1"/>
          </p:cNvSpPr>
          <p:nvPr>
            <p:ph type="title"/>
          </p:nvPr>
        </p:nvSpPr>
        <p:spPr>
          <a:xfrm>
            <a:off x="0" y="0"/>
            <a:ext cx="7998431"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5702E1F5-822D-4D74-A37A-D6C43EA0C961}"/>
              </a:ext>
            </a:extLst>
          </p:cNvPr>
          <p:cNvSpPr>
            <a:spLocks noGrp="1"/>
          </p:cNvSpPr>
          <p:nvPr>
            <p:ph sz="half" idx="13"/>
          </p:nvPr>
        </p:nvSpPr>
        <p:spPr>
          <a:xfrm>
            <a:off x="0" y="826451"/>
            <a:ext cx="8869680" cy="3200400"/>
          </a:xfrm>
        </p:spPr>
        <p:txBody>
          <a:bodyPr/>
          <a:lstStyle/>
          <a:p>
            <a:r>
              <a:rPr lang="en-US" b="1" i="0" dirty="0">
                <a:solidFill>
                  <a:srgbClr val="333333"/>
                </a:solidFill>
                <a:effectLst/>
                <a:latin typeface="Verdana" panose="020B0604030504040204" pitchFamily="34" charset="0"/>
              </a:rPr>
              <a:t>Mutually Exclusive</a:t>
            </a:r>
            <a:r>
              <a:rPr lang="en-US" b="0" i="0" dirty="0">
                <a:solidFill>
                  <a:srgbClr val="333333"/>
                </a:solidFill>
                <a:effectLst/>
                <a:latin typeface="Verdana" panose="020B0604030504040204" pitchFamily="34" charset="0"/>
              </a:rPr>
              <a:t>: can't happen at the same time.</a:t>
            </a:r>
          </a:p>
          <a:p>
            <a:r>
              <a:rPr lang="en-US" dirty="0">
                <a:solidFill>
                  <a:srgbClr val="333333"/>
                </a:solidFill>
                <a:latin typeface="Verdana" panose="020B0604030504040204" pitchFamily="34" charset="0"/>
              </a:rPr>
              <a:t>Ex : </a:t>
            </a:r>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518A4FD-254B-4195-9D60-B66DCB38D995}"/>
                  </a:ext>
                </a:extLst>
              </p14:cNvPr>
              <p14:cNvContentPartPr/>
              <p14:nvPr/>
            </p14:nvContentPartPr>
            <p14:xfrm>
              <a:off x="714240" y="447840"/>
              <a:ext cx="6010920" cy="3534120"/>
            </p14:xfrm>
          </p:contentPart>
        </mc:Choice>
        <mc:Fallback>
          <p:pic>
            <p:nvPicPr>
              <p:cNvPr id="4" name="Ink 3">
                <a:extLst>
                  <a:ext uri="{FF2B5EF4-FFF2-40B4-BE49-F238E27FC236}">
                    <a16:creationId xmlns:a16="http://schemas.microsoft.com/office/drawing/2014/main" id="{4518A4FD-254B-4195-9D60-B66DCB38D995}"/>
                  </a:ext>
                </a:extLst>
              </p:cNvPr>
              <p:cNvPicPr/>
              <p:nvPr/>
            </p:nvPicPr>
            <p:blipFill>
              <a:blip r:embed="rId3"/>
              <a:stretch>
                <a:fillRect/>
              </a:stretch>
            </p:blipFill>
            <p:spPr>
              <a:xfrm>
                <a:off x="704880" y="438480"/>
                <a:ext cx="6029640" cy="3552840"/>
              </a:xfrm>
              <a:prstGeom prst="rect">
                <a:avLst/>
              </a:prstGeom>
            </p:spPr>
          </p:pic>
        </mc:Fallback>
      </mc:AlternateContent>
    </p:spTree>
    <p:extLst>
      <p:ext uri="{BB962C8B-B14F-4D97-AF65-F5344CB8AC3E}">
        <p14:creationId xmlns:p14="http://schemas.microsoft.com/office/powerpoint/2010/main" val="755309856"/>
      </p:ext>
    </p:extLst>
  </p:cSld>
  <p:clrMapOvr>
    <a:masterClrMapping/>
  </p:clrMapOvr>
  <p:transition spd="med">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F189-4C36-48C7-AAFE-3A8346E1656B}"/>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369F0675-EE2E-43C4-B836-74C1DD2FB138}"/>
              </a:ext>
            </a:extLst>
          </p:cNvPr>
          <p:cNvSpPr>
            <a:spLocks noGrp="1"/>
          </p:cNvSpPr>
          <p:nvPr>
            <p:ph sz="half" idx="13"/>
          </p:nvPr>
        </p:nvSpPr>
        <p:spPr>
          <a:xfrm>
            <a:off x="0" y="791549"/>
            <a:ext cx="8255427" cy="3200400"/>
          </a:xfrm>
        </p:spPr>
        <p:txBody>
          <a:bodyPr/>
          <a:lstStyle/>
          <a:p>
            <a:r>
              <a:rPr lang="en-US" dirty="0"/>
              <a:t>What is not Mutually exclusive ? </a:t>
            </a:r>
          </a:p>
          <a:p>
            <a:pPr lvl="1"/>
            <a:r>
              <a:rPr lang="en-US" b="0" i="0" dirty="0">
                <a:solidFill>
                  <a:srgbClr val="333333"/>
                </a:solidFill>
                <a:effectLst/>
                <a:latin typeface="Verdana" panose="020B0604030504040204" pitchFamily="34" charset="0"/>
              </a:rPr>
              <a:t>Turning left and scratching your head can happen at the same time</a:t>
            </a:r>
          </a:p>
          <a:p>
            <a:pPr lvl="1"/>
            <a:r>
              <a:rPr lang="en-US" b="0" i="0" dirty="0">
                <a:solidFill>
                  <a:srgbClr val="333333"/>
                </a:solidFill>
                <a:effectLst/>
                <a:latin typeface="Verdana" panose="020B0604030504040204" pitchFamily="34" charset="0"/>
              </a:rPr>
              <a:t>Kings and Hearts, because we can have a King of Hearts!</a:t>
            </a:r>
          </a:p>
          <a:p>
            <a:pPr lvl="1"/>
            <a:endParaRPr lang="en-US" dirty="0"/>
          </a:p>
        </p:txBody>
      </p:sp>
      <p:pic>
        <p:nvPicPr>
          <p:cNvPr id="5" name="Picture 4">
            <a:extLst>
              <a:ext uri="{FF2B5EF4-FFF2-40B4-BE49-F238E27FC236}">
                <a16:creationId xmlns:a16="http://schemas.microsoft.com/office/drawing/2014/main" id="{8A5CA808-E866-4F37-AFB1-7B95B345E15B}"/>
              </a:ext>
            </a:extLst>
          </p:cNvPr>
          <p:cNvPicPr>
            <a:picLocks noChangeAspect="1"/>
          </p:cNvPicPr>
          <p:nvPr/>
        </p:nvPicPr>
        <p:blipFill>
          <a:blip r:embed="rId2"/>
          <a:stretch>
            <a:fillRect/>
          </a:stretch>
        </p:blipFill>
        <p:spPr>
          <a:xfrm>
            <a:off x="1301144" y="1639970"/>
            <a:ext cx="4983007" cy="264584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C9D97578-9DF9-4A51-9A81-4A24BBA8A927}"/>
                  </a:ext>
                </a:extLst>
              </p14:cNvPr>
              <p14:cNvContentPartPr/>
              <p14:nvPr/>
            </p14:nvContentPartPr>
            <p14:xfrm>
              <a:off x="685800" y="185760"/>
              <a:ext cx="7187040" cy="4196160"/>
            </p14:xfrm>
          </p:contentPart>
        </mc:Choice>
        <mc:Fallback>
          <p:pic>
            <p:nvPicPr>
              <p:cNvPr id="4" name="Ink 3">
                <a:extLst>
                  <a:ext uri="{FF2B5EF4-FFF2-40B4-BE49-F238E27FC236}">
                    <a16:creationId xmlns:a16="http://schemas.microsoft.com/office/drawing/2014/main" id="{C9D97578-9DF9-4A51-9A81-4A24BBA8A927}"/>
                  </a:ext>
                </a:extLst>
              </p:cNvPr>
              <p:cNvPicPr/>
              <p:nvPr/>
            </p:nvPicPr>
            <p:blipFill>
              <a:blip r:embed="rId4"/>
              <a:stretch>
                <a:fillRect/>
              </a:stretch>
            </p:blipFill>
            <p:spPr>
              <a:xfrm>
                <a:off x="676440" y="176400"/>
                <a:ext cx="7205760" cy="4214880"/>
              </a:xfrm>
              <a:prstGeom prst="rect">
                <a:avLst/>
              </a:prstGeom>
            </p:spPr>
          </p:pic>
        </mc:Fallback>
      </mc:AlternateContent>
    </p:spTree>
    <p:extLst>
      <p:ext uri="{BB962C8B-B14F-4D97-AF65-F5344CB8AC3E}">
        <p14:creationId xmlns:p14="http://schemas.microsoft.com/office/powerpoint/2010/main" val="383622476"/>
      </p:ext>
    </p:extLst>
  </p:cSld>
  <p:clrMapOvr>
    <a:masterClrMapping/>
  </p:clrMapOvr>
  <p:transition spd="med">
    <p:wipe dir="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5768DA-60F5-4EC8-9D65-49B195895AA4}"/>
              </a:ext>
            </a:extLst>
          </p:cNvPr>
          <p:cNvSpPr/>
          <p:nvPr/>
        </p:nvSpPr>
        <p:spPr>
          <a:xfrm>
            <a:off x="1563554" y="1486773"/>
            <a:ext cx="5940110" cy="963261"/>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4E0D191B-0B57-4455-A047-0BBF63CA3140}"/>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2958DAA0-CB47-4F7F-962D-D941FFEDF517}"/>
              </a:ext>
            </a:extLst>
          </p:cNvPr>
          <p:cNvSpPr>
            <a:spLocks noGrp="1"/>
          </p:cNvSpPr>
          <p:nvPr>
            <p:ph sz="half" idx="13"/>
          </p:nvPr>
        </p:nvSpPr>
        <p:spPr>
          <a:xfrm>
            <a:off x="0" y="742688"/>
            <a:ext cx="8892715" cy="3200400"/>
          </a:xfrm>
        </p:spPr>
        <p:txBody>
          <a:bodyPr/>
          <a:lstStyle/>
          <a:p>
            <a:r>
              <a:rPr lang="en-US" b="0" i="0" dirty="0">
                <a:solidFill>
                  <a:srgbClr val="333333"/>
                </a:solidFill>
                <a:effectLst/>
                <a:latin typeface="Verdana" panose="020B0604030504040204" pitchFamily="34" charset="0"/>
              </a:rPr>
              <a:t>When two events (call them "A" and "B") are Mutually Exclusive it is </a:t>
            </a:r>
            <a:r>
              <a:rPr lang="en-US" b="1" i="0" dirty="0">
                <a:solidFill>
                  <a:srgbClr val="333333"/>
                </a:solidFill>
                <a:effectLst/>
                <a:latin typeface="Verdana" panose="020B0604030504040204" pitchFamily="34" charset="0"/>
              </a:rPr>
              <a:t>impossible</a:t>
            </a:r>
            <a:r>
              <a:rPr lang="en-US" b="0" i="0" dirty="0">
                <a:solidFill>
                  <a:srgbClr val="333333"/>
                </a:solidFill>
                <a:effectLst/>
                <a:latin typeface="Verdana" panose="020B0604030504040204" pitchFamily="34" charset="0"/>
              </a:rPr>
              <a:t> for them to happen together:</a:t>
            </a:r>
          </a:p>
          <a:p>
            <a:endParaRPr lang="en-US" b="0" i="0" dirty="0">
              <a:solidFill>
                <a:srgbClr val="333333"/>
              </a:solidFill>
              <a:effectLst/>
              <a:latin typeface="Verdana" panose="020B0604030504040204" pitchFamily="34" charset="0"/>
            </a:endParaRPr>
          </a:p>
          <a:p>
            <a:pPr marL="0" indent="0" algn="ctr">
              <a:buNone/>
            </a:pPr>
            <a:r>
              <a:rPr lang="en-US" b="1" i="0" dirty="0">
                <a:solidFill>
                  <a:schemeClr val="tx2"/>
                </a:solidFill>
                <a:effectLst/>
                <a:latin typeface="Verdana" panose="020B0604030504040204" pitchFamily="34" charset="0"/>
              </a:rPr>
              <a:t>P(A and B) = 0</a:t>
            </a:r>
            <a:endParaRPr lang="en-US" b="0" i="0" dirty="0">
              <a:solidFill>
                <a:schemeClr val="tx2"/>
              </a:solidFill>
              <a:effectLst/>
              <a:latin typeface="Verdana" panose="020B0604030504040204" pitchFamily="34" charset="0"/>
            </a:endParaRPr>
          </a:p>
          <a:p>
            <a:pPr marL="0" indent="0" algn="ctr">
              <a:buNone/>
            </a:pPr>
            <a:r>
              <a:rPr lang="en-US" b="0" i="1" dirty="0">
                <a:solidFill>
                  <a:schemeClr val="tx2"/>
                </a:solidFill>
                <a:effectLst/>
                <a:latin typeface="Verdana" panose="020B0604030504040204" pitchFamily="34" charset="0"/>
              </a:rPr>
              <a:t>"The probability of A and B together equals 0 (impossible)"</a:t>
            </a:r>
            <a:endParaRPr lang="en-US" b="0" i="0" dirty="0">
              <a:solidFill>
                <a:schemeClr val="tx2"/>
              </a:solidFill>
              <a:effectLst/>
              <a:latin typeface="Verdana" panose="020B0604030504040204" pitchFamily="34" charset="0"/>
            </a:endParaRPr>
          </a:p>
          <a:p>
            <a:endParaRPr lang="en-US" dirty="0">
              <a:solidFill>
                <a:srgbClr val="333333"/>
              </a:solidFill>
              <a:latin typeface="Verdana" panose="020B0604030504040204" pitchFamily="34" charset="0"/>
            </a:endParaRPr>
          </a:p>
          <a:p>
            <a:pPr marL="0" indent="0">
              <a:buNone/>
            </a:pPr>
            <a:endParaRPr lang="en-US" dirty="0"/>
          </a:p>
        </p:txBody>
      </p:sp>
      <p:sp>
        <p:nvSpPr>
          <p:cNvPr id="5" name="TextBox 4">
            <a:extLst>
              <a:ext uri="{FF2B5EF4-FFF2-40B4-BE49-F238E27FC236}">
                <a16:creationId xmlns:a16="http://schemas.microsoft.com/office/drawing/2014/main" id="{8097A869-7708-4C6B-968B-2EDC5E08F3C9}"/>
              </a:ext>
            </a:extLst>
          </p:cNvPr>
          <p:cNvSpPr txBox="1"/>
          <p:nvPr/>
        </p:nvSpPr>
        <p:spPr>
          <a:xfrm>
            <a:off x="251285" y="2611785"/>
            <a:ext cx="8439004" cy="1169551"/>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AND Queen</a:t>
            </a:r>
          </a:p>
          <a:p>
            <a:pPr algn="l"/>
            <a:r>
              <a:rPr lang="en-US" sz="1400" dirty="0">
                <a:solidFill>
                  <a:srgbClr val="333333"/>
                </a:solidFill>
                <a:latin typeface="Verdana" panose="020B0604030504040204" pitchFamily="34" charset="0"/>
                <a:cs typeface="Arial" panose="020B0604020202020204" pitchFamily="34" charset="0"/>
              </a:rPr>
              <a:t>A card cannot be a King AND a Queen at the same time!</a:t>
            </a:r>
          </a:p>
          <a:p>
            <a:pPr algn="l"/>
            <a:endParaRPr lang="en-US" sz="1400" dirty="0">
              <a:solidFill>
                <a:srgbClr val="333333"/>
              </a:solidFill>
              <a:latin typeface="Verdana" panose="020B0604030504040204" pitchFamily="34" charset="0"/>
              <a:cs typeface="Arial" panose="020B0604020202020204" pitchFamily="34" charset="0"/>
            </a:endParaRPr>
          </a:p>
          <a:p>
            <a:pPr lvl="1">
              <a:buFont typeface="Arial" panose="020B0604020202020204" pitchFamily="34" charset="0"/>
              <a:buChar char="•"/>
            </a:pPr>
            <a:r>
              <a:rPr lang="en-US" sz="1400" dirty="0">
                <a:solidFill>
                  <a:srgbClr val="333333"/>
                </a:solidFill>
                <a:latin typeface="Verdana" panose="020B0604030504040204" pitchFamily="34" charset="0"/>
                <a:cs typeface="Arial" panose="020B0604020202020204" pitchFamily="34" charset="0"/>
              </a:rPr>
              <a:t>The probability of a King and a Queen is 0 (Impossible)</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2">
            <p14:nvContentPartPr>
              <p14:cNvPr id="6" name="Ink 5">
                <a:extLst>
                  <a:ext uri="{FF2B5EF4-FFF2-40B4-BE49-F238E27FC236}">
                    <a16:creationId xmlns:a16="http://schemas.microsoft.com/office/drawing/2014/main" id="{866E9118-9572-41E3-BBB3-E2B82433D50E}"/>
                  </a:ext>
                </a:extLst>
              </p14:cNvPr>
              <p14:cNvContentPartPr/>
              <p14:nvPr/>
            </p14:nvContentPartPr>
            <p14:xfrm>
              <a:off x="538200" y="642960"/>
              <a:ext cx="8158320" cy="3081600"/>
            </p14:xfrm>
          </p:contentPart>
        </mc:Choice>
        <mc:Fallback>
          <p:pic>
            <p:nvPicPr>
              <p:cNvPr id="6" name="Ink 5">
                <a:extLst>
                  <a:ext uri="{FF2B5EF4-FFF2-40B4-BE49-F238E27FC236}">
                    <a16:creationId xmlns:a16="http://schemas.microsoft.com/office/drawing/2014/main" id="{866E9118-9572-41E3-BBB3-E2B82433D50E}"/>
                  </a:ext>
                </a:extLst>
              </p:cNvPr>
              <p:cNvPicPr/>
              <p:nvPr/>
            </p:nvPicPr>
            <p:blipFill>
              <a:blip r:embed="rId3"/>
              <a:stretch>
                <a:fillRect/>
              </a:stretch>
            </p:blipFill>
            <p:spPr>
              <a:xfrm>
                <a:off x="528840" y="633600"/>
                <a:ext cx="8177040" cy="3100320"/>
              </a:xfrm>
              <a:prstGeom prst="rect">
                <a:avLst/>
              </a:prstGeom>
            </p:spPr>
          </p:pic>
        </mc:Fallback>
      </mc:AlternateContent>
    </p:spTree>
    <p:extLst>
      <p:ext uri="{BB962C8B-B14F-4D97-AF65-F5344CB8AC3E}">
        <p14:creationId xmlns:p14="http://schemas.microsoft.com/office/powerpoint/2010/main" val="1511582162"/>
      </p:ext>
    </p:extLst>
  </p:cSld>
  <p:clrMapOvr>
    <a:masterClrMapping/>
  </p:clrMapOvr>
  <p:transition spd="med">
    <p:wipe dir="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C344B-E63D-404F-831D-AAFAD851B968}"/>
              </a:ext>
            </a:extLst>
          </p:cNvPr>
          <p:cNvSpPr>
            <a:spLocks noGrp="1"/>
          </p:cNvSpPr>
          <p:nvPr>
            <p:ph type="title"/>
          </p:nvPr>
        </p:nvSpPr>
        <p:spPr>
          <a:xfrm>
            <a:off x="0" y="0"/>
            <a:ext cx="6944428" cy="640080"/>
          </a:xfrm>
        </p:spPr>
        <p:txBody>
          <a:bodyPr/>
          <a:lstStyle/>
          <a:p>
            <a:r>
              <a:rPr lang="en-US" dirty="0"/>
              <a:t>Mutually Exclusive Events</a:t>
            </a:r>
          </a:p>
        </p:txBody>
      </p:sp>
      <p:sp>
        <p:nvSpPr>
          <p:cNvPr id="4" name="TextBox 3">
            <a:extLst>
              <a:ext uri="{FF2B5EF4-FFF2-40B4-BE49-F238E27FC236}">
                <a16:creationId xmlns:a16="http://schemas.microsoft.com/office/drawing/2014/main" id="{DA48BC19-656E-4D18-88D1-31209889C88E}"/>
              </a:ext>
            </a:extLst>
          </p:cNvPr>
          <p:cNvSpPr txBox="1"/>
          <p:nvPr/>
        </p:nvSpPr>
        <p:spPr>
          <a:xfrm>
            <a:off x="83761" y="810906"/>
            <a:ext cx="8439004" cy="738664"/>
          </a:xfrm>
          <a:prstGeom prst="rect">
            <a:avLst/>
          </a:prstGeom>
          <a:noFill/>
        </p:spPr>
        <p:txBody>
          <a:bodyPr wrap="square" rtlCol="0">
            <a:spAutoFit/>
          </a:bodyPr>
          <a:lstStyle/>
          <a:p>
            <a:pPr algn="l"/>
            <a:r>
              <a:rPr lang="en-US" sz="1400" b="1" dirty="0">
                <a:solidFill>
                  <a:srgbClr val="333333"/>
                </a:solidFill>
                <a:latin typeface="Verdana" panose="020B0604030504040204" pitchFamily="34" charset="0"/>
                <a:cs typeface="Arial" panose="020B0604020202020204" pitchFamily="34" charset="0"/>
              </a:rPr>
              <a:t>Example: King OR Queen</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r>
              <a:rPr lang="en-US" sz="1400" dirty="0">
                <a:solidFill>
                  <a:schemeClr val="bg2"/>
                </a:solidFill>
                <a:latin typeface="+mn-lt"/>
              </a:rPr>
              <a:t>Find what's the probability of getting a king or Queen ? </a:t>
            </a:r>
          </a:p>
        </p:txBody>
      </p: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2D609362-BBE4-427F-9F47-ED2FF1BCD378}"/>
                  </a:ext>
                </a:extLst>
              </p14:cNvPr>
              <p14:cNvContentPartPr/>
              <p14:nvPr/>
            </p14:nvContentPartPr>
            <p14:xfrm>
              <a:off x="490680" y="438120"/>
              <a:ext cx="7982280" cy="3596040"/>
            </p14:xfrm>
          </p:contentPart>
        </mc:Choice>
        <mc:Fallback>
          <p:pic>
            <p:nvPicPr>
              <p:cNvPr id="3" name="Ink 2">
                <a:extLst>
                  <a:ext uri="{FF2B5EF4-FFF2-40B4-BE49-F238E27FC236}">
                    <a16:creationId xmlns:a16="http://schemas.microsoft.com/office/drawing/2014/main" id="{2D609362-BBE4-427F-9F47-ED2FF1BCD378}"/>
                  </a:ext>
                </a:extLst>
              </p:cNvPr>
              <p:cNvPicPr/>
              <p:nvPr/>
            </p:nvPicPr>
            <p:blipFill>
              <a:blip r:embed="rId3"/>
              <a:stretch>
                <a:fillRect/>
              </a:stretch>
            </p:blipFill>
            <p:spPr>
              <a:xfrm>
                <a:off x="481320" y="428760"/>
                <a:ext cx="8001000" cy="3614760"/>
              </a:xfrm>
              <a:prstGeom prst="rect">
                <a:avLst/>
              </a:prstGeom>
            </p:spPr>
          </p:pic>
        </mc:Fallback>
      </mc:AlternateContent>
    </p:spTree>
    <p:extLst>
      <p:ext uri="{BB962C8B-B14F-4D97-AF65-F5344CB8AC3E}">
        <p14:creationId xmlns:p14="http://schemas.microsoft.com/office/powerpoint/2010/main" val="2084172098"/>
      </p:ext>
    </p:extLst>
  </p:cSld>
  <p:clrMapOvr>
    <a:masterClrMapping/>
  </p:clrMapOvr>
  <p:transition spd="med">
    <p:wipe dir="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83DEF-09FC-48BE-B29F-3608B56A38D7}"/>
              </a:ext>
            </a:extLst>
          </p:cNvPr>
          <p:cNvSpPr>
            <a:spLocks noGrp="1"/>
          </p:cNvSpPr>
          <p:nvPr>
            <p:ph type="title"/>
          </p:nvPr>
        </p:nvSpPr>
        <p:spPr>
          <a:xfrm>
            <a:off x="0" y="0"/>
            <a:ext cx="4295219" cy="640080"/>
          </a:xfrm>
        </p:spPr>
        <p:txBody>
          <a:bodyPr/>
          <a:lstStyle/>
          <a:p>
            <a:r>
              <a:rPr lang="en-US" dirty="0"/>
              <a:t>Mutually exclusive events</a:t>
            </a:r>
          </a:p>
        </p:txBody>
      </p:sp>
      <p:sp>
        <p:nvSpPr>
          <p:cNvPr id="3" name="Content Placeholder 2">
            <a:extLst>
              <a:ext uri="{FF2B5EF4-FFF2-40B4-BE49-F238E27FC236}">
                <a16:creationId xmlns:a16="http://schemas.microsoft.com/office/drawing/2014/main" id="{9782BCFC-7E33-441B-BF58-D27E3E2886DC}"/>
              </a:ext>
            </a:extLst>
          </p:cNvPr>
          <p:cNvSpPr>
            <a:spLocks noGrp="1"/>
          </p:cNvSpPr>
          <p:nvPr>
            <p:ph sz="half" idx="13"/>
          </p:nvPr>
        </p:nvSpPr>
        <p:spPr>
          <a:xfrm>
            <a:off x="24412" y="700807"/>
            <a:ext cx="8541613" cy="3200400"/>
          </a:xfrm>
        </p:spPr>
        <p:txBody>
          <a:bodyPr>
            <a:normAutofit/>
          </a:bodyPr>
          <a:lstStyle/>
          <a:p>
            <a:pPr marL="0" indent="0">
              <a:buNone/>
            </a:pPr>
            <a:r>
              <a:rPr lang="en-US" sz="1800" b="1" dirty="0"/>
              <a:t>When events are not Mutually exclusive – be careful in calculation !!</a:t>
            </a:r>
          </a:p>
        </p:txBody>
      </p:sp>
      <p:pic>
        <p:nvPicPr>
          <p:cNvPr id="5" name="Picture 4">
            <a:extLst>
              <a:ext uri="{FF2B5EF4-FFF2-40B4-BE49-F238E27FC236}">
                <a16:creationId xmlns:a16="http://schemas.microsoft.com/office/drawing/2014/main" id="{46583470-E112-4013-8A44-9FFF9E00480B}"/>
              </a:ext>
            </a:extLst>
          </p:cNvPr>
          <p:cNvPicPr>
            <a:picLocks noChangeAspect="1"/>
          </p:cNvPicPr>
          <p:nvPr/>
        </p:nvPicPr>
        <p:blipFill>
          <a:blip r:embed="rId2"/>
          <a:stretch>
            <a:fillRect/>
          </a:stretch>
        </p:blipFill>
        <p:spPr>
          <a:xfrm>
            <a:off x="2044167" y="1109226"/>
            <a:ext cx="2011302" cy="1612960"/>
          </a:xfrm>
          <a:prstGeom prst="rect">
            <a:avLst/>
          </a:prstGeom>
        </p:spPr>
      </p:pic>
      <p:sp>
        <p:nvSpPr>
          <p:cNvPr id="6" name="TextBox 5">
            <a:extLst>
              <a:ext uri="{FF2B5EF4-FFF2-40B4-BE49-F238E27FC236}">
                <a16:creationId xmlns:a16="http://schemas.microsoft.com/office/drawing/2014/main" id="{6A2B0CE2-96F0-4A88-9B6E-E65CB299A76B}"/>
              </a:ext>
            </a:extLst>
          </p:cNvPr>
          <p:cNvSpPr txBox="1"/>
          <p:nvPr/>
        </p:nvSpPr>
        <p:spPr>
          <a:xfrm>
            <a:off x="160544" y="1354150"/>
            <a:ext cx="1626375" cy="95410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What is the probability of getting a </a:t>
            </a:r>
            <a:r>
              <a:rPr lang="en-US" sz="1400" b="1" dirty="0">
                <a:solidFill>
                  <a:schemeClr val="bg2"/>
                </a:solidFill>
                <a:latin typeface="+mn-lt"/>
              </a:rPr>
              <a:t>KING</a:t>
            </a:r>
            <a:r>
              <a:rPr lang="en-US" sz="1400" dirty="0">
                <a:solidFill>
                  <a:schemeClr val="bg2"/>
                </a:solidFill>
                <a:latin typeface="+mn-lt"/>
              </a:rPr>
              <a:t> or </a:t>
            </a:r>
            <a:r>
              <a:rPr lang="en-US" sz="1400" b="1" dirty="0">
                <a:solidFill>
                  <a:schemeClr val="bg2"/>
                </a:solidFill>
                <a:latin typeface="+mn-lt"/>
              </a:rPr>
              <a:t>Heart</a:t>
            </a:r>
            <a:r>
              <a:rPr lang="en-US" sz="1400" dirty="0">
                <a:solidFill>
                  <a:schemeClr val="bg2"/>
                </a:solidFill>
                <a:latin typeface="+mn-lt"/>
              </a:rPr>
              <a:t> ?</a:t>
            </a:r>
          </a:p>
        </p:txBody>
      </p:sp>
      <p:sp>
        <p:nvSpPr>
          <p:cNvPr id="7" name="TextBox 6">
            <a:extLst>
              <a:ext uri="{FF2B5EF4-FFF2-40B4-BE49-F238E27FC236}">
                <a16:creationId xmlns:a16="http://schemas.microsoft.com/office/drawing/2014/main" id="{9B5D54AC-3A31-4E91-934F-134C027A601E}"/>
              </a:ext>
            </a:extLst>
          </p:cNvPr>
          <p:cNvSpPr txBox="1"/>
          <p:nvPr/>
        </p:nvSpPr>
        <p:spPr>
          <a:xfrm>
            <a:off x="4523139" y="1354150"/>
            <a:ext cx="3811164" cy="1600438"/>
          </a:xfrm>
          <a:prstGeom prst="rect">
            <a:avLst/>
          </a:prstGeom>
          <a:noFill/>
        </p:spPr>
        <p:txBody>
          <a:bodyPr wrap="square" rtlCol="0">
            <a:spAutoFit/>
          </a:bodyPr>
          <a:lstStyle/>
          <a:p>
            <a:pPr algn="l"/>
            <a:r>
              <a:rPr lang="en-US" sz="1400" dirty="0">
                <a:solidFill>
                  <a:schemeClr val="bg2"/>
                </a:solidFill>
                <a:latin typeface="+mn-lt"/>
              </a:rPr>
              <a:t>But Hearts or Kings is:</a:t>
            </a:r>
          </a:p>
          <a:p>
            <a:pPr algn="l"/>
            <a:endParaRPr lang="en-US" sz="1400" dirty="0">
              <a:solidFill>
                <a:schemeClr val="bg2"/>
              </a:solidFill>
              <a:latin typeface="+mn-lt"/>
            </a:endParaRPr>
          </a:p>
          <a:p>
            <a:pPr algn="l">
              <a:buFont typeface="Arial" panose="020B0604020202020204" pitchFamily="34" charset="0"/>
              <a:buChar char="•"/>
            </a:pPr>
            <a:r>
              <a:rPr lang="en-US" sz="1400" dirty="0">
                <a:solidFill>
                  <a:schemeClr val="bg2"/>
                </a:solidFill>
                <a:latin typeface="+mn-lt"/>
              </a:rPr>
              <a:t>all the Hearts (13 of them)</a:t>
            </a:r>
          </a:p>
          <a:p>
            <a:pPr algn="l">
              <a:buFont typeface="Arial" panose="020B0604020202020204" pitchFamily="34" charset="0"/>
              <a:buChar char="•"/>
            </a:pPr>
            <a:r>
              <a:rPr lang="en-US" sz="1400" dirty="0">
                <a:solidFill>
                  <a:schemeClr val="bg2"/>
                </a:solidFill>
                <a:latin typeface="+mn-lt"/>
              </a:rPr>
              <a:t>all the Kings (4 of them)</a:t>
            </a:r>
          </a:p>
          <a:p>
            <a:pPr algn="l"/>
            <a:endParaRPr lang="en-US" sz="1400" b="1" dirty="0">
              <a:solidFill>
                <a:schemeClr val="bg2"/>
              </a:solidFill>
              <a:latin typeface="+mn-lt"/>
            </a:endParaRPr>
          </a:p>
          <a:p>
            <a:pPr algn="l"/>
            <a:r>
              <a:rPr lang="en-US" sz="1400" b="1" dirty="0">
                <a:solidFill>
                  <a:srgbClr val="FF0000"/>
                </a:solidFill>
                <a:latin typeface="+mn-lt"/>
              </a:rPr>
              <a:t>But that counts the King of Hearts twice!</a:t>
            </a:r>
          </a:p>
          <a:p>
            <a:pPr>
              <a:spcBef>
                <a:spcPts val="0"/>
              </a:spcBef>
              <a:spcAft>
                <a:spcPts val="0"/>
              </a:spcAft>
              <a:buClr>
                <a:schemeClr val="bg1"/>
              </a:buClr>
            </a:pPr>
            <a:endParaRPr lang="en-US" sz="1400" dirty="0" err="1">
              <a:solidFill>
                <a:schemeClr val="bg2"/>
              </a:solidFill>
              <a:latin typeface="+mn-lt"/>
            </a:endParaRPr>
          </a:p>
        </p:txBody>
      </p:sp>
      <p:pic>
        <p:nvPicPr>
          <p:cNvPr id="10" name="Picture 9">
            <a:extLst>
              <a:ext uri="{FF2B5EF4-FFF2-40B4-BE49-F238E27FC236}">
                <a16:creationId xmlns:a16="http://schemas.microsoft.com/office/drawing/2014/main" id="{2227465D-37BE-4E4D-B9A3-EF881800E713}"/>
              </a:ext>
            </a:extLst>
          </p:cNvPr>
          <p:cNvPicPr>
            <a:picLocks noChangeAspect="1"/>
          </p:cNvPicPr>
          <p:nvPr/>
        </p:nvPicPr>
        <p:blipFill>
          <a:blip r:embed="rId3"/>
          <a:stretch>
            <a:fillRect/>
          </a:stretch>
        </p:blipFill>
        <p:spPr>
          <a:xfrm>
            <a:off x="1556574" y="3375529"/>
            <a:ext cx="6303080" cy="1754328"/>
          </a:xfrm>
          <a:prstGeom prst="rect">
            <a:avLst/>
          </a:prstGeom>
        </p:spPr>
      </p:pic>
      <p:sp>
        <p:nvSpPr>
          <p:cNvPr id="11" name="TextBox 10">
            <a:extLst>
              <a:ext uri="{FF2B5EF4-FFF2-40B4-BE49-F238E27FC236}">
                <a16:creationId xmlns:a16="http://schemas.microsoft.com/office/drawing/2014/main" id="{A0696F8E-B303-413C-B330-19C3FDC60711}"/>
              </a:ext>
            </a:extLst>
          </p:cNvPr>
          <p:cNvSpPr txBox="1"/>
          <p:nvPr/>
        </p:nvSpPr>
        <p:spPr>
          <a:xfrm>
            <a:off x="160544" y="2835244"/>
            <a:ext cx="2966564"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solidFill>
                <a:latin typeface="+mn-lt"/>
              </a:rPr>
              <a:t>So, the correct answer is ? </a:t>
            </a:r>
          </a:p>
        </p:txBody>
      </p:sp>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78968DA6-5D11-4645-A122-ABBED660A3E9}"/>
                  </a:ext>
                </a:extLst>
              </p14:cNvPr>
              <p14:cNvContentPartPr/>
              <p14:nvPr/>
            </p14:nvContentPartPr>
            <p14:xfrm>
              <a:off x="309600" y="614520"/>
              <a:ext cx="8587080" cy="3953160"/>
            </p14:xfrm>
          </p:contentPart>
        </mc:Choice>
        <mc:Fallback>
          <p:pic>
            <p:nvPicPr>
              <p:cNvPr id="4" name="Ink 3">
                <a:extLst>
                  <a:ext uri="{FF2B5EF4-FFF2-40B4-BE49-F238E27FC236}">
                    <a16:creationId xmlns:a16="http://schemas.microsoft.com/office/drawing/2014/main" id="{78968DA6-5D11-4645-A122-ABBED660A3E9}"/>
                  </a:ext>
                </a:extLst>
              </p:cNvPr>
              <p:cNvPicPr/>
              <p:nvPr/>
            </p:nvPicPr>
            <p:blipFill>
              <a:blip r:embed="rId5"/>
              <a:stretch>
                <a:fillRect/>
              </a:stretch>
            </p:blipFill>
            <p:spPr>
              <a:xfrm>
                <a:off x="300240" y="605160"/>
                <a:ext cx="8605800" cy="3971880"/>
              </a:xfrm>
              <a:prstGeom prst="rect">
                <a:avLst/>
              </a:prstGeom>
            </p:spPr>
          </p:pic>
        </mc:Fallback>
      </mc:AlternateContent>
    </p:spTree>
    <p:extLst>
      <p:ext uri="{BB962C8B-B14F-4D97-AF65-F5344CB8AC3E}">
        <p14:creationId xmlns:p14="http://schemas.microsoft.com/office/powerpoint/2010/main" val="4160957609"/>
      </p:ext>
    </p:extLst>
  </p:cSld>
  <p:clrMapOvr>
    <a:masterClrMapping/>
  </p:clrMapOvr>
  <p:transition spd="med">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BC964-5A13-49A2-AC32-BC58DBBB541B}"/>
              </a:ext>
            </a:extLst>
          </p:cNvPr>
          <p:cNvSpPr>
            <a:spLocks noGrp="1"/>
          </p:cNvSpPr>
          <p:nvPr>
            <p:ph type="title"/>
          </p:nvPr>
        </p:nvSpPr>
        <p:spPr>
          <a:xfrm>
            <a:off x="0" y="22860"/>
            <a:ext cx="8780208" cy="640080"/>
          </a:xfrm>
        </p:spPr>
        <p:txBody>
          <a:bodyPr/>
          <a:lstStyle/>
          <a:p>
            <a:r>
              <a:rPr lang="en-US" sz="2800" b="1" dirty="0"/>
              <a:t>When events are not Mutually exclusive – be careful in calculation !!</a:t>
            </a:r>
            <a:br>
              <a:rPr lang="en-US" sz="2800" b="1" dirty="0"/>
            </a:br>
            <a:endParaRPr lang="en-US" dirty="0"/>
          </a:p>
        </p:txBody>
      </p:sp>
      <p:sp>
        <p:nvSpPr>
          <p:cNvPr id="3" name="Content Placeholder 2">
            <a:extLst>
              <a:ext uri="{FF2B5EF4-FFF2-40B4-BE49-F238E27FC236}">
                <a16:creationId xmlns:a16="http://schemas.microsoft.com/office/drawing/2014/main" id="{FA234F7A-145E-467A-AEB8-D9C930FC3B5E}"/>
              </a:ext>
            </a:extLst>
          </p:cNvPr>
          <p:cNvSpPr>
            <a:spLocks noGrp="1"/>
          </p:cNvSpPr>
          <p:nvPr>
            <p:ph sz="half" idx="13"/>
          </p:nvPr>
        </p:nvSpPr>
        <p:spPr>
          <a:xfrm>
            <a:off x="71895" y="1042835"/>
            <a:ext cx="8402010" cy="3200400"/>
          </a:xfrm>
        </p:spPr>
        <p:txBody>
          <a:bodyPr/>
          <a:lstStyle/>
          <a:p>
            <a:r>
              <a:rPr lang="en-US" b="1" i="0" dirty="0">
                <a:solidFill>
                  <a:srgbClr val="296BC2"/>
                </a:solidFill>
                <a:effectLst/>
                <a:latin typeface="Verdana" panose="020B0604030504040204" pitchFamily="34" charset="0"/>
              </a:rPr>
              <a:t>P(A or B) = P(A) + P(B) − P(A and B)</a:t>
            </a:r>
          </a:p>
          <a:p>
            <a:r>
              <a:rPr lang="en-US" b="0" i="1" dirty="0">
                <a:solidFill>
                  <a:srgbClr val="333333"/>
                </a:solidFill>
                <a:effectLst/>
                <a:latin typeface="Verdana" panose="020B0604030504040204" pitchFamily="34" charset="0"/>
              </a:rPr>
              <a:t>"The probability of A </a:t>
            </a:r>
            <a:r>
              <a:rPr lang="en-US" b="1" i="1" dirty="0">
                <a:solidFill>
                  <a:srgbClr val="333333"/>
                </a:solidFill>
                <a:effectLst/>
                <a:latin typeface="Verdana" panose="020B0604030504040204" pitchFamily="34" charset="0"/>
              </a:rPr>
              <a:t>or</a:t>
            </a:r>
            <a:r>
              <a:rPr lang="en-US" b="0" i="1" dirty="0">
                <a:solidFill>
                  <a:srgbClr val="333333"/>
                </a:solidFill>
                <a:effectLst/>
                <a:latin typeface="Verdana" panose="020B0604030504040204" pitchFamily="34" charset="0"/>
              </a:rPr>
              <a:t> B equals the probability of A </a:t>
            </a:r>
            <a:r>
              <a:rPr lang="en-US" b="1" i="1" dirty="0">
                <a:solidFill>
                  <a:srgbClr val="333333"/>
                </a:solidFill>
                <a:effectLst/>
                <a:latin typeface="Verdana" panose="020B0604030504040204" pitchFamily="34" charset="0"/>
              </a:rPr>
              <a:t>plus</a:t>
            </a:r>
            <a:r>
              <a:rPr lang="en-US" b="0" i="1" dirty="0">
                <a:solidFill>
                  <a:srgbClr val="333333"/>
                </a:solidFill>
                <a:effectLst/>
                <a:latin typeface="Verdana" panose="020B0604030504040204" pitchFamily="34" charset="0"/>
              </a:rPr>
              <a:t> the probability of B</a:t>
            </a:r>
            <a:br>
              <a:rPr lang="en-US" b="0" i="1" dirty="0">
                <a:solidFill>
                  <a:srgbClr val="333333"/>
                </a:solidFill>
                <a:effectLst/>
                <a:latin typeface="Verdana" panose="020B0604030504040204" pitchFamily="34" charset="0"/>
              </a:rPr>
            </a:br>
            <a:r>
              <a:rPr lang="en-US" b="1" i="1" dirty="0">
                <a:solidFill>
                  <a:srgbClr val="333333"/>
                </a:solidFill>
                <a:effectLst/>
                <a:latin typeface="Verdana" panose="020B0604030504040204" pitchFamily="34" charset="0"/>
              </a:rPr>
              <a:t>minus</a:t>
            </a:r>
            <a:r>
              <a:rPr lang="en-US" b="0" i="1" dirty="0">
                <a:solidFill>
                  <a:srgbClr val="333333"/>
                </a:solidFill>
                <a:effectLst/>
                <a:latin typeface="Verdana" panose="020B0604030504040204" pitchFamily="34" charset="0"/>
              </a:rPr>
              <a:t> the probability of A </a:t>
            </a:r>
            <a:r>
              <a:rPr lang="en-US" b="1" i="1" dirty="0">
                <a:solidFill>
                  <a:srgbClr val="333333"/>
                </a:solidFill>
                <a:effectLst/>
                <a:latin typeface="Verdana" panose="020B0604030504040204" pitchFamily="34" charset="0"/>
              </a:rPr>
              <a:t>and</a:t>
            </a:r>
            <a:r>
              <a:rPr lang="en-US" b="0" i="1" dirty="0">
                <a:solidFill>
                  <a:srgbClr val="333333"/>
                </a:solidFill>
                <a:effectLst/>
                <a:latin typeface="Verdana" panose="020B0604030504040204" pitchFamily="34" charset="0"/>
              </a:rPr>
              <a:t> B“</a:t>
            </a:r>
          </a:p>
          <a:p>
            <a:r>
              <a:rPr lang="en-US" i="1" dirty="0">
                <a:solidFill>
                  <a:srgbClr val="333333"/>
                </a:solidFill>
                <a:latin typeface="Verdana" panose="020B0604030504040204" pitchFamily="34" charset="0"/>
              </a:rPr>
              <a:t>Ex : 16 people study French, 21 study Spanish and there are 30 altogether. Work out the probabilities!</a:t>
            </a:r>
          </a:p>
          <a:p>
            <a:r>
              <a:rPr lang="en-US" b="0" i="0" dirty="0">
                <a:solidFill>
                  <a:srgbClr val="333333"/>
                </a:solidFill>
                <a:effectLst/>
                <a:latin typeface="Verdana" panose="020B0604030504040204" pitchFamily="34" charset="0"/>
              </a:rPr>
              <a:t>This is definitely a case of </a:t>
            </a:r>
            <a:r>
              <a:rPr lang="en-US" b="1" i="0" dirty="0">
                <a:solidFill>
                  <a:srgbClr val="333333"/>
                </a:solidFill>
                <a:effectLst/>
                <a:latin typeface="Verdana" panose="020B0604030504040204" pitchFamily="34" charset="0"/>
              </a:rPr>
              <a:t>not</a:t>
            </a:r>
            <a:r>
              <a:rPr lang="en-US" b="0" i="0" dirty="0">
                <a:solidFill>
                  <a:srgbClr val="333333"/>
                </a:solidFill>
                <a:effectLst/>
                <a:latin typeface="Verdana" panose="020B0604030504040204" pitchFamily="34" charset="0"/>
              </a:rPr>
              <a:t> Mutually Exclusive (you can study French AND Spanish).</a:t>
            </a:r>
            <a:endParaRPr lang="en-US" b="0" i="1" dirty="0">
              <a:solidFill>
                <a:srgbClr val="333333"/>
              </a:solidFill>
              <a:effectLst/>
              <a:latin typeface="Verdana" panose="020B0604030504040204" pitchFamily="34" charset="0"/>
            </a:endParaRPr>
          </a:p>
          <a:p>
            <a:pPr algn="l"/>
            <a:r>
              <a:rPr lang="en-US" b="0" i="0" dirty="0">
                <a:solidFill>
                  <a:srgbClr val="333333"/>
                </a:solidFill>
                <a:effectLst/>
                <a:latin typeface="Verdana" panose="020B0604030504040204" pitchFamily="34" charset="0"/>
              </a:rPr>
              <a:t>Let's say </a:t>
            </a:r>
            <a:r>
              <a:rPr lang="en-US" b="1" i="0" dirty="0">
                <a:solidFill>
                  <a:srgbClr val="333333"/>
                </a:solidFill>
                <a:effectLst/>
                <a:latin typeface="Verdana" panose="020B0604030504040204" pitchFamily="34" charset="0"/>
              </a:rPr>
              <a:t>b</a:t>
            </a:r>
            <a:r>
              <a:rPr lang="en-US" b="0" i="0" dirty="0">
                <a:solidFill>
                  <a:srgbClr val="333333"/>
                </a:solidFill>
                <a:effectLst/>
                <a:latin typeface="Verdana" panose="020B0604030504040204" pitchFamily="34" charset="0"/>
              </a:rPr>
              <a:t> is how many study both languages:</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French Only must be 16-b</a:t>
            </a:r>
          </a:p>
          <a:p>
            <a:pPr lvl="1">
              <a:buFont typeface="Arial" panose="020B0604020202020204" pitchFamily="34" charset="0"/>
              <a:buChar char="•"/>
            </a:pPr>
            <a:r>
              <a:rPr lang="en-US" b="0" i="0" dirty="0">
                <a:solidFill>
                  <a:srgbClr val="333333"/>
                </a:solidFill>
                <a:effectLst/>
                <a:latin typeface="Verdana" panose="020B0604030504040204" pitchFamily="34" charset="0"/>
              </a:rPr>
              <a:t>people studying Spanish Only must be 21-b</a:t>
            </a:r>
          </a:p>
          <a:p>
            <a:r>
              <a:rPr lang="en-US" b="1" i="0" dirty="0">
                <a:solidFill>
                  <a:srgbClr val="296BC2"/>
                </a:solidFill>
                <a:effectLst/>
                <a:latin typeface="Verdana" panose="020B0604030504040204" pitchFamily="34" charset="0"/>
              </a:rPr>
              <a:t>And we get : </a:t>
            </a:r>
          </a:p>
          <a:p>
            <a:endParaRPr lang="en-US" dirty="0"/>
          </a:p>
        </p:txBody>
      </p:sp>
      <p:pic>
        <p:nvPicPr>
          <p:cNvPr id="5" name="Picture 4">
            <a:extLst>
              <a:ext uri="{FF2B5EF4-FFF2-40B4-BE49-F238E27FC236}">
                <a16:creationId xmlns:a16="http://schemas.microsoft.com/office/drawing/2014/main" id="{09BDB48C-2C80-4EBF-A09F-0ED942636CAE}"/>
              </a:ext>
            </a:extLst>
          </p:cNvPr>
          <p:cNvPicPr>
            <a:picLocks noChangeAspect="1"/>
          </p:cNvPicPr>
          <p:nvPr/>
        </p:nvPicPr>
        <p:blipFill>
          <a:blip r:embed="rId2"/>
          <a:stretch>
            <a:fillRect/>
          </a:stretch>
        </p:blipFill>
        <p:spPr>
          <a:xfrm>
            <a:off x="4118072" y="3152775"/>
            <a:ext cx="4286250" cy="1990725"/>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FE3634DF-F2BE-4F61-9972-0A7D7B9ADA81}"/>
                  </a:ext>
                </a:extLst>
              </p14:cNvPr>
              <p14:cNvContentPartPr/>
              <p14:nvPr/>
            </p14:nvContentPartPr>
            <p14:xfrm>
              <a:off x="652320" y="571680"/>
              <a:ext cx="8239680" cy="4429440"/>
            </p14:xfrm>
          </p:contentPart>
        </mc:Choice>
        <mc:Fallback>
          <p:pic>
            <p:nvPicPr>
              <p:cNvPr id="4" name="Ink 3">
                <a:extLst>
                  <a:ext uri="{FF2B5EF4-FFF2-40B4-BE49-F238E27FC236}">
                    <a16:creationId xmlns:a16="http://schemas.microsoft.com/office/drawing/2014/main" id="{FE3634DF-F2BE-4F61-9972-0A7D7B9ADA81}"/>
                  </a:ext>
                </a:extLst>
              </p:cNvPr>
              <p:cNvPicPr/>
              <p:nvPr/>
            </p:nvPicPr>
            <p:blipFill>
              <a:blip r:embed="rId4"/>
              <a:stretch>
                <a:fillRect/>
              </a:stretch>
            </p:blipFill>
            <p:spPr>
              <a:xfrm>
                <a:off x="642960" y="562320"/>
                <a:ext cx="8258400" cy="4448160"/>
              </a:xfrm>
              <a:prstGeom prst="rect">
                <a:avLst/>
              </a:prstGeom>
            </p:spPr>
          </p:pic>
        </mc:Fallback>
      </mc:AlternateContent>
    </p:spTree>
    <p:extLst>
      <p:ext uri="{BB962C8B-B14F-4D97-AF65-F5344CB8AC3E}">
        <p14:creationId xmlns:p14="http://schemas.microsoft.com/office/powerpoint/2010/main" val="530449741"/>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FC882-A288-45FD-9593-6B2F8D5668BA}"/>
              </a:ext>
            </a:extLst>
          </p:cNvPr>
          <p:cNvSpPr>
            <a:spLocks noGrp="1"/>
          </p:cNvSpPr>
          <p:nvPr>
            <p:ph type="title"/>
          </p:nvPr>
        </p:nvSpPr>
        <p:spPr>
          <a:xfrm>
            <a:off x="0" y="0"/>
            <a:ext cx="8870950" cy="640080"/>
          </a:xfrm>
        </p:spPr>
        <p:txBody>
          <a:bodyPr/>
          <a:lstStyle/>
          <a:p>
            <a:r>
              <a:rPr lang="en-US" sz="2800" b="1" dirty="0"/>
              <a:t>When events are not Mutually exclusive – be careful in calculation !!</a:t>
            </a:r>
            <a:endParaRPr lang="en-US" dirty="0"/>
          </a:p>
        </p:txBody>
      </p:sp>
      <p:pic>
        <p:nvPicPr>
          <p:cNvPr id="5" name="Content Placeholder 4">
            <a:extLst>
              <a:ext uri="{FF2B5EF4-FFF2-40B4-BE49-F238E27FC236}">
                <a16:creationId xmlns:a16="http://schemas.microsoft.com/office/drawing/2014/main" id="{9518B9F0-73A4-45CF-AB04-F2591F776DA0}"/>
              </a:ext>
            </a:extLst>
          </p:cNvPr>
          <p:cNvPicPr>
            <a:picLocks noGrp="1" noChangeAspect="1"/>
          </p:cNvPicPr>
          <p:nvPr>
            <p:ph sz="half" idx="13"/>
          </p:nvPr>
        </p:nvPicPr>
        <p:blipFill>
          <a:blip r:embed="rId2"/>
          <a:stretch>
            <a:fillRect/>
          </a:stretch>
        </p:blipFill>
        <p:spPr>
          <a:xfrm>
            <a:off x="222202" y="1680156"/>
            <a:ext cx="4283075" cy="1673201"/>
          </a:xfrm>
        </p:spPr>
      </p:pic>
      <p:pic>
        <p:nvPicPr>
          <p:cNvPr id="6" name="Picture 5">
            <a:extLst>
              <a:ext uri="{FF2B5EF4-FFF2-40B4-BE49-F238E27FC236}">
                <a16:creationId xmlns:a16="http://schemas.microsoft.com/office/drawing/2014/main" id="{09BDB48C-2C80-4EBF-A09F-0ED942636CAE}"/>
              </a:ext>
            </a:extLst>
          </p:cNvPr>
          <p:cNvPicPr>
            <a:picLocks noChangeAspect="1"/>
          </p:cNvPicPr>
          <p:nvPr/>
        </p:nvPicPr>
        <p:blipFill>
          <a:blip r:embed="rId3"/>
          <a:stretch>
            <a:fillRect/>
          </a:stretch>
        </p:blipFill>
        <p:spPr>
          <a:xfrm>
            <a:off x="5319210" y="898548"/>
            <a:ext cx="3602588" cy="1673202"/>
          </a:xfrm>
          <a:prstGeom prst="rect">
            <a:avLst/>
          </a:prstGeom>
        </p:spPr>
      </p:pic>
      <p:pic>
        <p:nvPicPr>
          <p:cNvPr id="8" name="Picture 7">
            <a:extLst>
              <a:ext uri="{FF2B5EF4-FFF2-40B4-BE49-F238E27FC236}">
                <a16:creationId xmlns:a16="http://schemas.microsoft.com/office/drawing/2014/main" id="{642F7A70-E2DC-4B17-9983-FAE6C2260F81}"/>
              </a:ext>
            </a:extLst>
          </p:cNvPr>
          <p:cNvPicPr>
            <a:picLocks noChangeAspect="1"/>
          </p:cNvPicPr>
          <p:nvPr/>
        </p:nvPicPr>
        <p:blipFill>
          <a:blip r:embed="rId4"/>
          <a:stretch>
            <a:fillRect/>
          </a:stretch>
        </p:blipFill>
        <p:spPr>
          <a:xfrm>
            <a:off x="5319210" y="2830218"/>
            <a:ext cx="3327279" cy="2293699"/>
          </a:xfrm>
          <a:prstGeom prst="rect">
            <a:avLst/>
          </a:prstGeom>
        </p:spPr>
      </p:pic>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7004D23E-AD12-4FAF-88F2-698C438600CA}"/>
                  </a:ext>
                </a:extLst>
              </p14:cNvPr>
              <p14:cNvContentPartPr/>
              <p14:nvPr/>
            </p14:nvContentPartPr>
            <p14:xfrm>
              <a:off x="1204920" y="1123920"/>
              <a:ext cx="7639560" cy="4015080"/>
            </p14:xfrm>
          </p:contentPart>
        </mc:Choice>
        <mc:Fallback>
          <p:pic>
            <p:nvPicPr>
              <p:cNvPr id="3" name="Ink 2">
                <a:extLst>
                  <a:ext uri="{FF2B5EF4-FFF2-40B4-BE49-F238E27FC236}">
                    <a16:creationId xmlns:a16="http://schemas.microsoft.com/office/drawing/2014/main" id="{7004D23E-AD12-4FAF-88F2-698C438600CA}"/>
                  </a:ext>
                </a:extLst>
              </p:cNvPr>
              <p:cNvPicPr/>
              <p:nvPr/>
            </p:nvPicPr>
            <p:blipFill>
              <a:blip r:embed="rId6"/>
              <a:stretch>
                <a:fillRect/>
              </a:stretch>
            </p:blipFill>
            <p:spPr>
              <a:xfrm>
                <a:off x="1195560" y="1114560"/>
                <a:ext cx="7658280" cy="4033800"/>
              </a:xfrm>
              <a:prstGeom prst="rect">
                <a:avLst/>
              </a:prstGeom>
            </p:spPr>
          </p:pic>
        </mc:Fallback>
      </mc:AlternateContent>
    </p:spTree>
    <p:extLst>
      <p:ext uri="{BB962C8B-B14F-4D97-AF65-F5344CB8AC3E}">
        <p14:creationId xmlns:p14="http://schemas.microsoft.com/office/powerpoint/2010/main" val="1439727634"/>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EF96E-90B7-46D2-AD75-2CC0774C8934}"/>
              </a:ext>
            </a:extLst>
          </p:cNvPr>
          <p:cNvSpPr>
            <a:spLocks noGrp="1"/>
          </p:cNvSpPr>
          <p:nvPr>
            <p:ph type="title"/>
          </p:nvPr>
        </p:nvSpPr>
        <p:spPr>
          <a:xfrm>
            <a:off x="0" y="22860"/>
            <a:ext cx="7175597" cy="640080"/>
          </a:xfrm>
        </p:spPr>
        <p:txBody>
          <a:bodyPr/>
          <a:lstStyle/>
          <a:p>
            <a:r>
              <a:rPr lang="en-US" dirty="0"/>
              <a:t>Confusion Matrix</a:t>
            </a:r>
          </a:p>
        </p:txBody>
      </p:sp>
      <p:pic>
        <p:nvPicPr>
          <p:cNvPr id="5" name="Content Placeholder 4">
            <a:extLst>
              <a:ext uri="{FF2B5EF4-FFF2-40B4-BE49-F238E27FC236}">
                <a16:creationId xmlns:a16="http://schemas.microsoft.com/office/drawing/2014/main" id="{9920DD8A-BA59-42B7-893A-BAF94EE63290}"/>
              </a:ext>
            </a:extLst>
          </p:cNvPr>
          <p:cNvPicPr>
            <a:picLocks noGrp="1" noChangeAspect="1"/>
          </p:cNvPicPr>
          <p:nvPr>
            <p:ph sz="half" idx="13"/>
          </p:nvPr>
        </p:nvPicPr>
        <p:blipFill>
          <a:blip r:embed="rId2"/>
          <a:stretch>
            <a:fillRect/>
          </a:stretch>
        </p:blipFill>
        <p:spPr>
          <a:xfrm>
            <a:off x="0" y="648872"/>
            <a:ext cx="3741464" cy="1922878"/>
          </a:xfrm>
        </p:spPr>
      </p:pic>
      <p:sp>
        <p:nvSpPr>
          <p:cNvPr id="6" name="TextBox 5">
            <a:extLst>
              <a:ext uri="{FF2B5EF4-FFF2-40B4-BE49-F238E27FC236}">
                <a16:creationId xmlns:a16="http://schemas.microsoft.com/office/drawing/2014/main" id="{2D500167-F1FB-4EED-92FC-77B5F19207F7}"/>
              </a:ext>
            </a:extLst>
          </p:cNvPr>
          <p:cNvSpPr txBox="1"/>
          <p:nvPr/>
        </p:nvSpPr>
        <p:spPr>
          <a:xfrm>
            <a:off x="3915864" y="662940"/>
            <a:ext cx="5109523" cy="861774"/>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200" b="0" i="0" dirty="0">
                <a:solidFill>
                  <a:srgbClr val="444444"/>
                </a:solidFill>
                <a:effectLst/>
                <a:latin typeface="Open Sans" panose="020B0606030504020204" pitchFamily="34" charset="0"/>
              </a:rPr>
              <a:t>A confusion matrix is a table that is often used to </a:t>
            </a:r>
            <a:r>
              <a:rPr lang="en-US" sz="1200" b="1" i="0" dirty="0">
                <a:solidFill>
                  <a:srgbClr val="444444"/>
                </a:solidFill>
                <a:effectLst/>
                <a:latin typeface="Open Sans" panose="020B0606030504020204" pitchFamily="34" charset="0"/>
              </a:rPr>
              <a:t>describe the performance of a classification model</a:t>
            </a:r>
            <a:r>
              <a:rPr lang="en-US" sz="1200" b="0" i="0" dirty="0">
                <a:solidFill>
                  <a:srgbClr val="444444"/>
                </a:solidFill>
                <a:effectLst/>
                <a:latin typeface="Open Sans" panose="020B0606030504020204" pitchFamily="34" charset="0"/>
              </a:rPr>
              <a:t> (or "classifier") on a set of test data for which the true values are known.</a:t>
            </a:r>
          </a:p>
          <a:p>
            <a:pPr marL="171450" indent="-1714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sp>
        <p:nvSpPr>
          <p:cNvPr id="7" name="TextBox 6">
            <a:extLst>
              <a:ext uri="{FF2B5EF4-FFF2-40B4-BE49-F238E27FC236}">
                <a16:creationId xmlns:a16="http://schemas.microsoft.com/office/drawing/2014/main" id="{D6E5CE8C-21A6-4A4C-BE62-D7D0F505810D}"/>
              </a:ext>
            </a:extLst>
          </p:cNvPr>
          <p:cNvSpPr txBox="1"/>
          <p:nvPr/>
        </p:nvSpPr>
        <p:spPr>
          <a:xfrm>
            <a:off x="3975196" y="1668256"/>
            <a:ext cx="4990861" cy="2893100"/>
          </a:xfrm>
          <a:prstGeom prst="rect">
            <a:avLst/>
          </a:prstGeom>
          <a:noFill/>
        </p:spPr>
        <p:txBody>
          <a:bodyPr wrap="square" rtlCol="0">
            <a:spAutoFit/>
          </a:bodyPr>
          <a:lstStyle/>
          <a:p>
            <a:pPr algn="l"/>
            <a:r>
              <a:rPr lang="en-US" sz="1200" b="0" i="0" dirty="0">
                <a:solidFill>
                  <a:srgbClr val="444444"/>
                </a:solidFill>
                <a:effectLst/>
                <a:latin typeface="Open Sans" panose="020B0606030504020204" pitchFamily="34" charset="0"/>
              </a:rPr>
              <a:t>Let's now define the most basic terms, which are whole numbers (not rates):</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positives (TP):</a:t>
            </a:r>
            <a:r>
              <a:rPr lang="en-US" sz="1200" b="0" i="0" dirty="0">
                <a:solidFill>
                  <a:srgbClr val="444444"/>
                </a:solidFill>
                <a:effectLst/>
                <a:latin typeface="Open Sans" panose="020B0606030504020204" pitchFamily="34" charset="0"/>
              </a:rPr>
              <a:t> These are cases in which we predicted yes (they have the disease), and they do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true negatives (TN):</a:t>
            </a:r>
            <a:r>
              <a:rPr lang="en-US" sz="1200" b="0" i="0" dirty="0">
                <a:solidFill>
                  <a:srgbClr val="444444"/>
                </a:solidFill>
                <a:effectLst/>
                <a:latin typeface="Open Sans" panose="020B0606030504020204" pitchFamily="34" charset="0"/>
              </a:rPr>
              <a:t> We predicted no, and they don't have the disease.</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positives (FP):</a:t>
            </a:r>
            <a:r>
              <a:rPr lang="en-US" sz="1200" b="0" i="0" dirty="0">
                <a:solidFill>
                  <a:srgbClr val="444444"/>
                </a:solidFill>
                <a:effectLst/>
                <a:latin typeface="Open Sans" panose="020B0606030504020204" pitchFamily="34" charset="0"/>
              </a:rPr>
              <a:t> We predicted yes, but they don't actually have the disease. (Also known as a "Type I error.")</a:t>
            </a:r>
          </a:p>
          <a:p>
            <a:pPr algn="l"/>
            <a:endParaRPr lang="en-US" sz="1200" b="0" i="0" dirty="0">
              <a:solidFill>
                <a:srgbClr val="444444"/>
              </a:solidFill>
              <a:effectLst/>
              <a:latin typeface="Open Sans" panose="020B0606030504020204" pitchFamily="34" charset="0"/>
            </a:endParaRPr>
          </a:p>
          <a:p>
            <a:pPr algn="l">
              <a:buFont typeface="Arial" panose="020B0604020202020204" pitchFamily="34" charset="0"/>
              <a:buChar char="•"/>
            </a:pPr>
            <a:r>
              <a:rPr lang="en-US" sz="1200" b="1" i="0" dirty="0">
                <a:solidFill>
                  <a:srgbClr val="444444"/>
                </a:solidFill>
                <a:effectLst/>
                <a:latin typeface="Open Sans" panose="020B0606030504020204" pitchFamily="34" charset="0"/>
              </a:rPr>
              <a:t>false negatives (FN):</a:t>
            </a:r>
            <a:r>
              <a:rPr lang="en-US" sz="1200" b="0" i="0" dirty="0">
                <a:solidFill>
                  <a:srgbClr val="444444"/>
                </a:solidFill>
                <a:effectLst/>
                <a:latin typeface="Open Sans" panose="020B0606030504020204" pitchFamily="34" charset="0"/>
              </a:rPr>
              <a:t> We predicted no, but they actually do have the disease. (Also known as a "Type II error.")</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EC78D233-E406-4593-8D1F-864240CA86A8}"/>
              </a:ext>
            </a:extLst>
          </p:cNvPr>
          <p:cNvPicPr>
            <a:picLocks noChangeAspect="1"/>
          </p:cNvPicPr>
          <p:nvPr/>
        </p:nvPicPr>
        <p:blipFill>
          <a:blip r:embed="rId3"/>
          <a:stretch>
            <a:fillRect/>
          </a:stretch>
        </p:blipFill>
        <p:spPr>
          <a:xfrm>
            <a:off x="177942" y="2571749"/>
            <a:ext cx="3486637" cy="1774711"/>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E63D97E1-B0E1-4700-97B3-B8125DDEDD95}"/>
                  </a:ext>
                </a:extLst>
              </p14:cNvPr>
              <p14:cNvContentPartPr/>
              <p14:nvPr/>
            </p14:nvContentPartPr>
            <p14:xfrm>
              <a:off x="0" y="57240"/>
              <a:ext cx="9139680" cy="4067280"/>
            </p14:xfrm>
          </p:contentPart>
        </mc:Choice>
        <mc:Fallback>
          <p:pic>
            <p:nvPicPr>
              <p:cNvPr id="3" name="Ink 2">
                <a:extLst>
                  <a:ext uri="{FF2B5EF4-FFF2-40B4-BE49-F238E27FC236}">
                    <a16:creationId xmlns:a16="http://schemas.microsoft.com/office/drawing/2014/main" id="{E63D97E1-B0E1-4700-97B3-B8125DDEDD95}"/>
                  </a:ext>
                </a:extLst>
              </p:cNvPr>
              <p:cNvPicPr/>
              <p:nvPr/>
            </p:nvPicPr>
            <p:blipFill>
              <a:blip r:embed="rId5"/>
              <a:stretch>
                <a:fillRect/>
              </a:stretch>
            </p:blipFill>
            <p:spPr>
              <a:xfrm>
                <a:off x="-9360" y="47880"/>
                <a:ext cx="9158400" cy="4086000"/>
              </a:xfrm>
              <a:prstGeom prst="rect">
                <a:avLst/>
              </a:prstGeom>
            </p:spPr>
          </p:pic>
        </mc:Fallback>
      </mc:AlternateContent>
    </p:spTree>
    <p:extLst>
      <p:ext uri="{BB962C8B-B14F-4D97-AF65-F5344CB8AC3E}">
        <p14:creationId xmlns:p14="http://schemas.microsoft.com/office/powerpoint/2010/main" val="2910173245"/>
      </p:ext>
    </p:extLst>
  </p:cSld>
  <p:clrMapOvr>
    <a:masterClrMapping/>
  </p:clrMapOvr>
  <p:transition spd="med">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200400"/>
          </a:xfrm>
        </p:spPr>
        <p:txBody>
          <a:bodyPr>
            <a:normAutofit fontScale="92500" lnSpcReduction="10000"/>
          </a:bodyPr>
          <a:lstStyle/>
          <a:p>
            <a:pPr marL="0" indent="0">
              <a:buNone/>
            </a:pPr>
            <a:r>
              <a:rPr lang="en-US" sz="1800" b="1" dirty="0"/>
              <a:t>Some examples of “False Positives”</a:t>
            </a:r>
          </a:p>
          <a:p>
            <a:pPr algn="l" fontAlgn="base">
              <a:buFont typeface="Arial" panose="020B0604020202020204" pitchFamily="34" charset="0"/>
              <a:buChar char="•"/>
            </a:pPr>
            <a:r>
              <a:rPr lang="en-US" sz="2400" b="0" i="0" dirty="0">
                <a:solidFill>
                  <a:srgbClr val="777777"/>
                </a:solidFill>
                <a:effectLst/>
                <a:latin typeface="inherit"/>
              </a:rPr>
              <a:t>A pregnancy test is positive, when in fact you aren’t pregnant.</a:t>
            </a:r>
          </a:p>
          <a:p>
            <a:pPr algn="l" fontAlgn="base">
              <a:buFont typeface="Arial" panose="020B0604020202020204" pitchFamily="34" charset="0"/>
              <a:buChar char="•"/>
            </a:pPr>
            <a:r>
              <a:rPr lang="en-US" sz="2400" b="0" i="0" dirty="0">
                <a:solidFill>
                  <a:srgbClr val="777777"/>
                </a:solidFill>
                <a:effectLst/>
                <a:latin typeface="inherit"/>
              </a:rPr>
              <a:t>A cancer screening test comes back positive, but you don’t have the disease.</a:t>
            </a:r>
          </a:p>
          <a:p>
            <a:pPr algn="l" fontAlgn="base">
              <a:buFont typeface="Arial" panose="020B0604020202020204" pitchFamily="34" charset="0"/>
              <a:buChar char="•"/>
            </a:pPr>
            <a:r>
              <a:rPr lang="en-US" sz="2400" b="0" i="0" dirty="0">
                <a:solidFill>
                  <a:srgbClr val="777777"/>
                </a:solidFill>
                <a:effectLst/>
                <a:latin typeface="inherit"/>
              </a:rPr>
              <a:t>A prenatal test comes back positive for Down’s Syndrome, when your fetus does not have the disorder.</a:t>
            </a:r>
          </a:p>
          <a:p>
            <a:pPr algn="l" fontAlgn="base">
              <a:buFont typeface="Arial" panose="020B0604020202020204" pitchFamily="34" charset="0"/>
              <a:buChar char="•"/>
            </a:pPr>
            <a:r>
              <a:rPr lang="en-US" sz="2400" b="0" i="0" dirty="0">
                <a:solidFill>
                  <a:srgbClr val="777777"/>
                </a:solidFill>
                <a:effectLst/>
                <a:latin typeface="inherit"/>
              </a:rPr>
              <a:t>Virus software on your computer incorrectly identifies a harmless program as a malicious one.</a:t>
            </a:r>
          </a:p>
          <a:p>
            <a:endParaRPr lang="en-US" dirty="0"/>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F98E4284-E3D7-4323-8CB7-4D10F8D7B38C}"/>
                  </a:ext>
                </a:extLst>
              </p14:cNvPr>
              <p14:cNvContentPartPr/>
              <p14:nvPr/>
            </p14:nvContentPartPr>
            <p14:xfrm>
              <a:off x="781200" y="333360"/>
              <a:ext cx="6834240" cy="4153320"/>
            </p14:xfrm>
          </p:contentPart>
        </mc:Choice>
        <mc:Fallback>
          <p:pic>
            <p:nvPicPr>
              <p:cNvPr id="4" name="Ink 3">
                <a:extLst>
                  <a:ext uri="{FF2B5EF4-FFF2-40B4-BE49-F238E27FC236}">
                    <a16:creationId xmlns:a16="http://schemas.microsoft.com/office/drawing/2014/main" id="{F98E4284-E3D7-4323-8CB7-4D10F8D7B38C}"/>
                  </a:ext>
                </a:extLst>
              </p:cNvPr>
              <p:cNvPicPr/>
              <p:nvPr/>
            </p:nvPicPr>
            <p:blipFill>
              <a:blip r:embed="rId3"/>
              <a:stretch>
                <a:fillRect/>
              </a:stretch>
            </p:blipFill>
            <p:spPr>
              <a:xfrm>
                <a:off x="771840" y="324000"/>
                <a:ext cx="6852960" cy="4172040"/>
              </a:xfrm>
              <a:prstGeom prst="rect">
                <a:avLst/>
              </a:prstGeom>
            </p:spPr>
          </p:pic>
        </mc:Fallback>
      </mc:AlternateContent>
    </p:spTree>
    <p:extLst>
      <p:ext uri="{BB962C8B-B14F-4D97-AF65-F5344CB8AC3E}">
        <p14:creationId xmlns:p14="http://schemas.microsoft.com/office/powerpoint/2010/main" val="3860074758"/>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60434-E852-455D-ACA9-15F50D092100}"/>
              </a:ext>
            </a:extLst>
          </p:cNvPr>
          <p:cNvSpPr>
            <a:spLocks noGrp="1"/>
          </p:cNvSpPr>
          <p:nvPr>
            <p:ph type="title"/>
          </p:nvPr>
        </p:nvSpPr>
        <p:spPr>
          <a:xfrm>
            <a:off x="0" y="0"/>
            <a:ext cx="4295219" cy="640080"/>
          </a:xfrm>
        </p:spPr>
        <p:txBody>
          <a:bodyPr/>
          <a:lstStyle/>
          <a:p>
            <a:r>
              <a:rPr lang="en-US" dirty="0"/>
              <a:t>Confusion Matrix</a:t>
            </a:r>
          </a:p>
        </p:txBody>
      </p:sp>
      <p:sp>
        <p:nvSpPr>
          <p:cNvPr id="3" name="Content Placeholder 2">
            <a:extLst>
              <a:ext uri="{FF2B5EF4-FFF2-40B4-BE49-F238E27FC236}">
                <a16:creationId xmlns:a16="http://schemas.microsoft.com/office/drawing/2014/main" id="{BAFDD8EE-05F2-465F-9896-1600B846F7B9}"/>
              </a:ext>
            </a:extLst>
          </p:cNvPr>
          <p:cNvSpPr>
            <a:spLocks noGrp="1"/>
          </p:cNvSpPr>
          <p:nvPr>
            <p:ph sz="half" idx="13"/>
          </p:nvPr>
        </p:nvSpPr>
        <p:spPr>
          <a:xfrm>
            <a:off x="97722" y="742688"/>
            <a:ext cx="8662369" cy="3822332"/>
          </a:xfrm>
        </p:spPr>
        <p:txBody>
          <a:bodyPr>
            <a:normAutofit/>
          </a:bodyPr>
          <a:lstStyle/>
          <a:p>
            <a:pPr marL="0" indent="0">
              <a:buNone/>
            </a:pPr>
            <a:r>
              <a:rPr lang="en-US" sz="1800" b="1" dirty="0"/>
              <a:t>Some examples of “False Negatives”</a:t>
            </a:r>
          </a:p>
          <a:p>
            <a:pPr algn="l" fontAlgn="base">
              <a:buFont typeface="Arial" panose="020B0604020202020204" pitchFamily="34" charset="0"/>
              <a:buChar char="•"/>
            </a:pPr>
            <a:r>
              <a:rPr lang="en-US" sz="2000" b="1" i="0" dirty="0">
                <a:solidFill>
                  <a:srgbClr val="777777"/>
                </a:solidFill>
                <a:effectLst/>
                <a:latin typeface="inherit"/>
              </a:rPr>
              <a:t>Quality control</a:t>
            </a:r>
            <a:r>
              <a:rPr lang="en-US" sz="2000" b="0" i="0" dirty="0">
                <a:solidFill>
                  <a:srgbClr val="777777"/>
                </a:solidFill>
                <a:effectLst/>
                <a:latin typeface="inherit"/>
              </a:rPr>
              <a:t> in manufacturing; a false negative in this area means that a defective item passes through the cracks.</a:t>
            </a:r>
          </a:p>
          <a:p>
            <a:pPr algn="l" fontAlgn="base">
              <a:buFont typeface="Arial" panose="020B0604020202020204" pitchFamily="34" charset="0"/>
              <a:buChar char="•"/>
            </a:pPr>
            <a:r>
              <a:rPr lang="en-US" sz="2000" b="0" i="0" dirty="0">
                <a:solidFill>
                  <a:srgbClr val="777777"/>
                </a:solidFill>
                <a:effectLst/>
                <a:latin typeface="inherit"/>
              </a:rPr>
              <a:t>In </a:t>
            </a:r>
            <a:r>
              <a:rPr lang="en-US" sz="2000" b="1" i="0" dirty="0">
                <a:solidFill>
                  <a:srgbClr val="777777"/>
                </a:solidFill>
                <a:effectLst/>
                <a:latin typeface="inherit"/>
              </a:rPr>
              <a:t>software testing</a:t>
            </a:r>
            <a:r>
              <a:rPr lang="en-US" sz="2000" b="0" i="0" dirty="0">
                <a:solidFill>
                  <a:srgbClr val="777777"/>
                </a:solidFill>
                <a:effectLst/>
                <a:latin typeface="inherit"/>
              </a:rPr>
              <a:t>, a false negative would mean that a test designed to catch something (i.e. a virus) has failed.</a:t>
            </a:r>
          </a:p>
          <a:p>
            <a:pPr algn="l" fontAlgn="base">
              <a:buFont typeface="Arial" panose="020B0604020202020204" pitchFamily="34" charset="0"/>
              <a:buChar char="•"/>
            </a:pPr>
            <a:r>
              <a:rPr lang="en-US" sz="2000" b="0" i="0" dirty="0">
                <a:solidFill>
                  <a:srgbClr val="777777"/>
                </a:solidFill>
                <a:effectLst/>
                <a:latin typeface="inherit"/>
              </a:rPr>
              <a:t>In the </a:t>
            </a:r>
            <a:r>
              <a:rPr lang="en-US" sz="2000" b="1" i="0" dirty="0">
                <a:solidFill>
                  <a:srgbClr val="777777"/>
                </a:solidFill>
                <a:effectLst/>
                <a:latin typeface="inherit"/>
              </a:rPr>
              <a:t>Justice System</a:t>
            </a:r>
            <a:r>
              <a:rPr lang="en-US" sz="2000" b="0" i="0" dirty="0">
                <a:solidFill>
                  <a:srgbClr val="777777"/>
                </a:solidFill>
                <a:effectLst/>
                <a:latin typeface="inherit"/>
              </a:rPr>
              <a:t>, a false negative occurs when a guilty suspect is found “Not Guilty” and allowed to walk free.</a:t>
            </a:r>
          </a:p>
          <a:p>
            <a:pPr marL="0" indent="0">
              <a:buNone/>
            </a:pPr>
            <a:endParaRPr lang="en-US" dirty="0"/>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F89CFC23-6276-4113-BC45-31734758DAC4}"/>
                  </a:ext>
                </a:extLst>
              </p14:cNvPr>
              <p14:cNvContentPartPr/>
              <p14:nvPr/>
            </p14:nvContentPartPr>
            <p14:xfrm>
              <a:off x="357120" y="19080"/>
              <a:ext cx="8615880" cy="4800960"/>
            </p14:xfrm>
          </p:contentPart>
        </mc:Choice>
        <mc:Fallback>
          <p:pic>
            <p:nvPicPr>
              <p:cNvPr id="4" name="Ink 3">
                <a:extLst>
                  <a:ext uri="{FF2B5EF4-FFF2-40B4-BE49-F238E27FC236}">
                    <a16:creationId xmlns:a16="http://schemas.microsoft.com/office/drawing/2014/main" id="{F89CFC23-6276-4113-BC45-31734758DAC4}"/>
                  </a:ext>
                </a:extLst>
              </p:cNvPr>
              <p:cNvPicPr/>
              <p:nvPr/>
            </p:nvPicPr>
            <p:blipFill>
              <a:blip r:embed="rId3"/>
              <a:stretch>
                <a:fillRect/>
              </a:stretch>
            </p:blipFill>
            <p:spPr>
              <a:xfrm>
                <a:off x="347760" y="9720"/>
                <a:ext cx="8634600" cy="4819680"/>
              </a:xfrm>
              <a:prstGeom prst="rect">
                <a:avLst/>
              </a:prstGeom>
            </p:spPr>
          </p:pic>
        </mc:Fallback>
      </mc:AlternateContent>
    </p:spTree>
    <p:extLst>
      <p:ext uri="{BB962C8B-B14F-4D97-AF65-F5344CB8AC3E}">
        <p14:creationId xmlns:p14="http://schemas.microsoft.com/office/powerpoint/2010/main" val="2405493443"/>
      </p:ext>
    </p:extLst>
  </p:cSld>
  <p:clrMapOvr>
    <a:masterClrMapping/>
  </p:clrMapOvr>
  <p:transition spd="med">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7488E-8B76-4070-9124-EB3B7EE8E2C7}"/>
              </a:ext>
            </a:extLst>
          </p:cNvPr>
          <p:cNvSpPr>
            <a:spLocks noGrp="1"/>
          </p:cNvSpPr>
          <p:nvPr>
            <p:ph type="title"/>
          </p:nvPr>
        </p:nvSpPr>
        <p:spPr>
          <a:xfrm>
            <a:off x="1" y="113029"/>
            <a:ext cx="8914791" cy="640080"/>
          </a:xfrm>
        </p:spPr>
        <p:txBody>
          <a:bodyPr/>
          <a:lstStyle/>
          <a:p>
            <a:r>
              <a:rPr lang="en-US" dirty="0"/>
              <a:t>Example : Allergy or Not ? </a:t>
            </a:r>
          </a:p>
        </p:txBody>
      </p:sp>
      <p:pic>
        <p:nvPicPr>
          <p:cNvPr id="5" name="Content Placeholder 4" descr="A cat lying on a blanket&#10;&#10;Description automatically generated with medium confidence">
            <a:extLst>
              <a:ext uri="{FF2B5EF4-FFF2-40B4-BE49-F238E27FC236}">
                <a16:creationId xmlns:a16="http://schemas.microsoft.com/office/drawing/2014/main" id="{E162F585-2F27-4E01-AB27-7C8FA2C2A2EA}"/>
              </a:ext>
            </a:extLst>
          </p:cNvPr>
          <p:cNvPicPr>
            <a:picLocks noGrp="1" noChangeAspect="1"/>
          </p:cNvPicPr>
          <p:nvPr>
            <p:ph sz="half" idx="13"/>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38456" y="851339"/>
            <a:ext cx="2576336" cy="2058116"/>
          </a:xfrm>
        </p:spPr>
      </p:pic>
      <p:sp>
        <p:nvSpPr>
          <p:cNvPr id="7" name="TextBox 6">
            <a:extLst>
              <a:ext uri="{FF2B5EF4-FFF2-40B4-BE49-F238E27FC236}">
                <a16:creationId xmlns:a16="http://schemas.microsoft.com/office/drawing/2014/main" id="{134A7D84-DB8B-4044-84C0-9D7670045B52}"/>
              </a:ext>
            </a:extLst>
          </p:cNvPr>
          <p:cNvSpPr txBox="1"/>
          <p:nvPr/>
        </p:nvSpPr>
        <p:spPr>
          <a:xfrm>
            <a:off x="305339" y="976599"/>
            <a:ext cx="5326085" cy="1661993"/>
          </a:xfrm>
          <a:prstGeom prst="rect">
            <a:avLst/>
          </a:prstGeom>
          <a:noFill/>
        </p:spPr>
        <p:txBody>
          <a:bodyPr wrap="square" rtlCol="0">
            <a:spAutoFit/>
          </a:bodyPr>
          <a:lstStyle/>
          <a:p>
            <a:pPr algn="l"/>
            <a:r>
              <a:rPr lang="en-US" sz="1100" b="0" i="0" dirty="0">
                <a:solidFill>
                  <a:srgbClr val="333333"/>
                </a:solidFill>
                <a:effectLst/>
                <a:latin typeface="Verdana" panose="020B0604030504040204" pitchFamily="34" charset="0"/>
              </a:rPr>
              <a:t>Hunter says she is itchy. There is a test for Allergy to Cats, but this test is not always right:</a:t>
            </a:r>
          </a:p>
          <a:p>
            <a:pPr algn="l"/>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really do</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80%</a:t>
            </a:r>
            <a:r>
              <a:rPr lang="en-US" sz="1100" b="0" i="0" dirty="0">
                <a:solidFill>
                  <a:srgbClr val="333333"/>
                </a:solidFill>
                <a:effectLst/>
                <a:latin typeface="Verdana" panose="020B0604030504040204" pitchFamily="34" charset="0"/>
              </a:rPr>
              <a:t> of the time</a:t>
            </a:r>
          </a:p>
          <a:p>
            <a:pPr marL="171450" indent="-171450" algn="l">
              <a:buFont typeface="Arial" panose="020B0604020202020204" pitchFamily="34" charset="0"/>
              <a:buChar char="•"/>
            </a:pPr>
            <a:endParaRPr lang="en-US" sz="1100" b="0" i="0" dirty="0">
              <a:solidFill>
                <a:srgbClr val="333333"/>
              </a:solidFill>
              <a:effectLst/>
              <a:latin typeface="Verdana" panose="020B0604030504040204" pitchFamily="34" charset="0"/>
            </a:endParaRPr>
          </a:p>
          <a:p>
            <a:pPr marL="171450" indent="-171450" algn="l">
              <a:buFont typeface="Arial" panose="020B0604020202020204" pitchFamily="34" charset="0"/>
              <a:buChar char="•"/>
            </a:pPr>
            <a:r>
              <a:rPr lang="en-US" sz="1100" b="0" i="0" dirty="0">
                <a:solidFill>
                  <a:srgbClr val="333333"/>
                </a:solidFill>
                <a:effectLst/>
                <a:latin typeface="Verdana" panose="020B0604030504040204" pitchFamily="34" charset="0"/>
              </a:rPr>
              <a:t>For people that </a:t>
            </a:r>
            <a:r>
              <a:rPr lang="en-US" sz="1100" b="1" i="0" dirty="0">
                <a:solidFill>
                  <a:srgbClr val="333333"/>
                </a:solidFill>
                <a:effectLst/>
                <a:latin typeface="Verdana" panose="020B0604030504040204" pitchFamily="34" charset="0"/>
              </a:rPr>
              <a:t>do not</a:t>
            </a:r>
            <a:r>
              <a:rPr lang="en-US" sz="1100" b="0" i="0" dirty="0">
                <a:solidFill>
                  <a:srgbClr val="333333"/>
                </a:solidFill>
                <a:effectLst/>
                <a:latin typeface="Verdana" panose="020B0604030504040204" pitchFamily="34" charset="0"/>
              </a:rPr>
              <a:t> have the allergy, the test says "Yes" </a:t>
            </a:r>
            <a:r>
              <a:rPr lang="en-US" sz="1100" b="1" i="0" dirty="0">
                <a:solidFill>
                  <a:srgbClr val="333333"/>
                </a:solidFill>
                <a:effectLst/>
                <a:latin typeface="Verdana" panose="020B0604030504040204" pitchFamily="34" charset="0"/>
              </a:rPr>
              <a:t>10%</a:t>
            </a:r>
            <a:r>
              <a:rPr lang="en-US" sz="1100" b="0" i="0" dirty="0">
                <a:solidFill>
                  <a:srgbClr val="333333"/>
                </a:solidFill>
                <a:effectLst/>
                <a:latin typeface="Verdana" panose="020B0604030504040204" pitchFamily="34" charset="0"/>
              </a:rPr>
              <a:t> of the time ("false positive")</a:t>
            </a:r>
          </a:p>
          <a:p>
            <a:pPr>
              <a:spcBef>
                <a:spcPts val="0"/>
              </a:spcBef>
              <a:spcAft>
                <a:spcPts val="0"/>
              </a:spcAft>
              <a:buClr>
                <a:schemeClr val="bg1"/>
              </a:buClr>
            </a:pPr>
            <a:endParaRPr lang="en-US" sz="1400" dirty="0" err="1">
              <a:solidFill>
                <a:schemeClr val="bg2"/>
              </a:solidFill>
              <a:latin typeface="+mn-lt"/>
            </a:endParaRPr>
          </a:p>
        </p:txBody>
      </p:sp>
      <p:pic>
        <p:nvPicPr>
          <p:cNvPr id="9" name="Picture 8">
            <a:extLst>
              <a:ext uri="{FF2B5EF4-FFF2-40B4-BE49-F238E27FC236}">
                <a16:creationId xmlns:a16="http://schemas.microsoft.com/office/drawing/2014/main" id="{5A985D4C-E60E-4201-8BBE-8E238B61E08B}"/>
              </a:ext>
            </a:extLst>
          </p:cNvPr>
          <p:cNvPicPr>
            <a:picLocks noChangeAspect="1"/>
          </p:cNvPicPr>
          <p:nvPr/>
        </p:nvPicPr>
        <p:blipFill>
          <a:blip r:embed="rId4"/>
          <a:stretch>
            <a:fillRect/>
          </a:stretch>
        </p:blipFill>
        <p:spPr>
          <a:xfrm>
            <a:off x="260524" y="2975111"/>
            <a:ext cx="5639236" cy="1324311"/>
          </a:xfrm>
          <a:prstGeom prst="rect">
            <a:avLst/>
          </a:prstGeom>
        </p:spPr>
      </p:pic>
      <p:sp>
        <p:nvSpPr>
          <p:cNvPr id="10" name="TextBox 9">
            <a:extLst>
              <a:ext uri="{FF2B5EF4-FFF2-40B4-BE49-F238E27FC236}">
                <a16:creationId xmlns:a16="http://schemas.microsoft.com/office/drawing/2014/main" id="{FBEFB2C8-1750-4B8C-8485-879C100EC5F9}"/>
              </a:ext>
            </a:extLst>
          </p:cNvPr>
          <p:cNvSpPr txBox="1"/>
          <p:nvPr/>
        </p:nvSpPr>
        <p:spPr>
          <a:xfrm>
            <a:off x="106183" y="2778650"/>
            <a:ext cx="2862198" cy="261610"/>
          </a:xfrm>
          <a:prstGeom prst="rect">
            <a:avLst/>
          </a:prstGeom>
          <a:noFill/>
        </p:spPr>
        <p:txBody>
          <a:bodyPr wrap="square" rtlCol="0">
            <a:spAutoFit/>
          </a:bodyPr>
          <a:lstStyle/>
          <a:p>
            <a:pPr>
              <a:spcBef>
                <a:spcPts val="0"/>
              </a:spcBef>
              <a:spcAft>
                <a:spcPts val="0"/>
              </a:spcAft>
              <a:buClr>
                <a:schemeClr val="bg1"/>
              </a:buClr>
            </a:pPr>
            <a:r>
              <a:rPr lang="en-US" sz="1100" b="1" i="1" dirty="0">
                <a:solidFill>
                  <a:srgbClr val="333333"/>
                </a:solidFill>
                <a:latin typeface="Verdana" panose="020B0604030504040204" pitchFamily="34" charset="0"/>
              </a:rPr>
              <a:t>Here is the table : </a:t>
            </a: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000AD299-41A7-4FFC-854C-5DB750BA9293}"/>
                  </a:ext>
                </a:extLst>
              </p14:cNvPr>
              <p14:cNvContentPartPr/>
              <p14:nvPr/>
            </p14:nvContentPartPr>
            <p14:xfrm>
              <a:off x="571680" y="133200"/>
              <a:ext cx="8410680" cy="5005800"/>
            </p14:xfrm>
          </p:contentPart>
        </mc:Choice>
        <mc:Fallback>
          <p:pic>
            <p:nvPicPr>
              <p:cNvPr id="3" name="Ink 2">
                <a:extLst>
                  <a:ext uri="{FF2B5EF4-FFF2-40B4-BE49-F238E27FC236}">
                    <a16:creationId xmlns:a16="http://schemas.microsoft.com/office/drawing/2014/main" id="{000AD299-41A7-4FFC-854C-5DB750BA9293}"/>
                  </a:ext>
                </a:extLst>
              </p:cNvPr>
              <p:cNvPicPr/>
              <p:nvPr/>
            </p:nvPicPr>
            <p:blipFill>
              <a:blip r:embed="rId6"/>
              <a:stretch>
                <a:fillRect/>
              </a:stretch>
            </p:blipFill>
            <p:spPr>
              <a:xfrm>
                <a:off x="562320" y="123840"/>
                <a:ext cx="8429400" cy="5024520"/>
              </a:xfrm>
              <a:prstGeom prst="rect">
                <a:avLst/>
              </a:prstGeom>
            </p:spPr>
          </p:pic>
        </mc:Fallback>
      </mc:AlternateContent>
    </p:spTree>
    <p:extLst>
      <p:ext uri="{BB962C8B-B14F-4D97-AF65-F5344CB8AC3E}">
        <p14:creationId xmlns:p14="http://schemas.microsoft.com/office/powerpoint/2010/main" val="3596897327"/>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p:spTree>
    <p:extLst>
      <p:ext uri="{BB962C8B-B14F-4D97-AF65-F5344CB8AC3E}">
        <p14:creationId xmlns:p14="http://schemas.microsoft.com/office/powerpoint/2010/main" val="2499727815"/>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p:spTree>
    <p:extLst>
      <p:ext uri="{BB962C8B-B14F-4D97-AF65-F5344CB8AC3E}">
        <p14:creationId xmlns:p14="http://schemas.microsoft.com/office/powerpoint/2010/main" val="59286024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p:sp>
        <p:nvSpPr>
          <p:cNvPr id="4" name="Rectangle 3">
            <a:extLst>
              <a:ext uri="{FF2B5EF4-FFF2-40B4-BE49-F238E27FC236}">
                <a16:creationId xmlns:a16="http://schemas.microsoft.com/office/drawing/2014/main" id="{E7D97A91-589E-4FF7-B191-1179B210D296}"/>
              </a:ext>
            </a:extLst>
          </p:cNvPr>
          <p:cNvSpPr/>
          <p:nvPr/>
        </p:nvSpPr>
        <p:spPr>
          <a:xfrm>
            <a:off x="6568322" y="3517996"/>
            <a:ext cx="551433" cy="167525"/>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a:solidFill>
                <a:schemeClr val="tx2"/>
              </a:solidFill>
              <a:latin typeface="+mn-lt"/>
            </a:endParaRPr>
          </a:p>
        </p:txBody>
      </p:sp>
      <p:sp>
        <p:nvSpPr>
          <p:cNvPr id="5" name="TextBox 4">
            <a:extLst>
              <a:ext uri="{FF2B5EF4-FFF2-40B4-BE49-F238E27FC236}">
                <a16:creationId xmlns:a16="http://schemas.microsoft.com/office/drawing/2014/main" id="{2717AC45-F872-450C-BBDC-D605C3F757A6}"/>
              </a:ext>
            </a:extLst>
          </p:cNvPr>
          <p:cNvSpPr txBox="1"/>
          <p:nvPr/>
        </p:nvSpPr>
        <p:spPr>
          <a:xfrm>
            <a:off x="6484561" y="3446994"/>
            <a:ext cx="1270388" cy="477054"/>
          </a:xfrm>
          <a:prstGeom prst="rect">
            <a:avLst/>
          </a:prstGeom>
          <a:noFill/>
        </p:spPr>
        <p:txBody>
          <a:bodyPr wrap="square" rtlCol="0">
            <a:spAutoFit/>
          </a:bodyPr>
          <a:lstStyle/>
          <a:p>
            <a:pPr>
              <a:spcBef>
                <a:spcPts val="0"/>
              </a:spcBef>
              <a:spcAft>
                <a:spcPts val="0"/>
              </a:spcAft>
              <a:buClr>
                <a:schemeClr val="bg1"/>
              </a:buClr>
            </a:pPr>
            <a:r>
              <a:rPr lang="en-US" sz="1100" b="1" dirty="0">
                <a:solidFill>
                  <a:schemeClr val="accent2">
                    <a:lumMod val="75000"/>
                  </a:schemeClr>
                </a:solidFill>
                <a:latin typeface="+mn-lt"/>
              </a:rPr>
              <a:t>Varianc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99946415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p:spTree>
    <p:extLst>
      <p:ext uri="{BB962C8B-B14F-4D97-AF65-F5344CB8AC3E}">
        <p14:creationId xmlns:p14="http://schemas.microsoft.com/office/powerpoint/2010/main" val="88978110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p:spTree>
    <p:extLst>
      <p:ext uri="{BB962C8B-B14F-4D97-AF65-F5344CB8AC3E}">
        <p14:creationId xmlns:p14="http://schemas.microsoft.com/office/powerpoint/2010/main" val="171706440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2513017721"/>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0AD-7FFD-4732-86A0-DD18718379E4}"/>
              </a:ext>
            </a:extLst>
          </p:cNvPr>
          <p:cNvSpPr>
            <a:spLocks noGrp="1"/>
          </p:cNvSpPr>
          <p:nvPr>
            <p:ph type="title"/>
          </p:nvPr>
        </p:nvSpPr>
        <p:spPr>
          <a:xfrm>
            <a:off x="137160" y="22860"/>
            <a:ext cx="7955280" cy="640080"/>
          </a:xfrm>
        </p:spPr>
        <p:txBody>
          <a:bodyPr/>
          <a:lstStyle/>
          <a:p>
            <a:r>
              <a:rPr lang="en-US" dirty="0"/>
              <a:t>Types of Statistical Studies</a:t>
            </a:r>
          </a:p>
        </p:txBody>
      </p:sp>
      <p:sp>
        <p:nvSpPr>
          <p:cNvPr id="3" name="Content Placeholder 2">
            <a:extLst>
              <a:ext uri="{FF2B5EF4-FFF2-40B4-BE49-F238E27FC236}">
                <a16:creationId xmlns:a16="http://schemas.microsoft.com/office/drawing/2014/main" id="{51EABE99-0FF9-42EC-AD6B-E1B530304558}"/>
              </a:ext>
            </a:extLst>
          </p:cNvPr>
          <p:cNvSpPr>
            <a:spLocks noGrp="1"/>
          </p:cNvSpPr>
          <p:nvPr>
            <p:ph sz="half" idx="13"/>
          </p:nvPr>
        </p:nvSpPr>
        <p:spPr>
          <a:xfrm>
            <a:off x="243004" y="971550"/>
            <a:ext cx="8343587" cy="3200400"/>
          </a:xfrm>
        </p:spPr>
        <p:txBody>
          <a:bodyPr/>
          <a:lstStyle/>
          <a:p>
            <a:r>
              <a:rPr lang="en-US" dirty="0">
                <a:solidFill>
                  <a:schemeClr val="bg2">
                    <a:lumMod val="50000"/>
                    <a:lumOff val="50000"/>
                  </a:schemeClr>
                </a:solidFill>
              </a:rPr>
              <a:t>When we talk about using data to learn something about the world, we are usually talking about performing a study or an experiment </a:t>
            </a:r>
          </a:p>
          <a:p>
            <a:r>
              <a:rPr lang="en-US" dirty="0">
                <a:solidFill>
                  <a:schemeClr val="bg2">
                    <a:lumMod val="50000"/>
                    <a:lumOff val="50000"/>
                  </a:schemeClr>
                </a:solidFill>
              </a:rPr>
              <a:t>In general, there are two types of statistical studies: </a:t>
            </a:r>
            <a:r>
              <a:rPr lang="en-US" b="1" dirty="0">
                <a:solidFill>
                  <a:schemeClr val="accent1"/>
                </a:solidFill>
              </a:rPr>
              <a:t>Observational studies </a:t>
            </a:r>
            <a:r>
              <a:rPr lang="en-US" dirty="0">
                <a:solidFill>
                  <a:schemeClr val="bg2">
                    <a:lumMod val="50000"/>
                    <a:lumOff val="50000"/>
                  </a:schemeClr>
                </a:solidFill>
              </a:rPr>
              <a:t>and</a:t>
            </a:r>
            <a:r>
              <a:rPr lang="en-US" dirty="0"/>
              <a:t> </a:t>
            </a:r>
            <a:r>
              <a:rPr lang="en-US" b="1" dirty="0">
                <a:solidFill>
                  <a:schemeClr val="accent1"/>
                </a:solidFill>
              </a:rPr>
              <a:t>Experiments</a:t>
            </a:r>
          </a:p>
        </p:txBody>
      </p:sp>
      <p:sp>
        <p:nvSpPr>
          <p:cNvPr id="5" name="Oval 4">
            <a:extLst>
              <a:ext uri="{FF2B5EF4-FFF2-40B4-BE49-F238E27FC236}">
                <a16:creationId xmlns:a16="http://schemas.microsoft.com/office/drawing/2014/main" id="{C10FF536-7FE0-4E2C-8F4A-A9E4EAE14BC5}"/>
              </a:ext>
            </a:extLst>
          </p:cNvPr>
          <p:cNvSpPr/>
          <p:nvPr/>
        </p:nvSpPr>
        <p:spPr>
          <a:xfrm>
            <a:off x="945716" y="3357758"/>
            <a:ext cx="2764912"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bservational</a:t>
            </a:r>
          </a:p>
          <a:p>
            <a:pPr algn="ctr">
              <a:lnSpc>
                <a:spcPct val="90000"/>
              </a:lnSpc>
              <a:spcBef>
                <a:spcPts val="600"/>
              </a:spcBef>
              <a:spcAft>
                <a:spcPts val="0"/>
              </a:spcAft>
            </a:pPr>
            <a:r>
              <a:rPr lang="en-US" sz="2000" dirty="0">
                <a:solidFill>
                  <a:schemeClr val="tx2"/>
                </a:solidFill>
                <a:latin typeface="+mn-lt"/>
              </a:rPr>
              <a:t>Study</a:t>
            </a:r>
          </a:p>
        </p:txBody>
      </p:sp>
      <p:sp>
        <p:nvSpPr>
          <p:cNvPr id="6" name="Oval 5">
            <a:extLst>
              <a:ext uri="{FF2B5EF4-FFF2-40B4-BE49-F238E27FC236}">
                <a16:creationId xmlns:a16="http://schemas.microsoft.com/office/drawing/2014/main" id="{EF6BB1B6-3440-4E16-AA74-7538562431A4}"/>
              </a:ext>
            </a:extLst>
          </p:cNvPr>
          <p:cNvSpPr/>
          <p:nvPr/>
        </p:nvSpPr>
        <p:spPr>
          <a:xfrm>
            <a:off x="4750705" y="3370284"/>
            <a:ext cx="2545705" cy="814192"/>
          </a:xfrm>
          <a:prstGeom prst="ellipse">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Experiments</a:t>
            </a:r>
          </a:p>
        </p:txBody>
      </p:sp>
      <p:sp>
        <p:nvSpPr>
          <p:cNvPr id="7" name="Rectangle: Rounded Corners 6">
            <a:extLst>
              <a:ext uri="{FF2B5EF4-FFF2-40B4-BE49-F238E27FC236}">
                <a16:creationId xmlns:a16="http://schemas.microsoft.com/office/drawing/2014/main" id="{BAAEBE95-2F1B-4168-94E4-96BB97737860}"/>
              </a:ext>
            </a:extLst>
          </p:cNvPr>
          <p:cNvSpPr/>
          <p:nvPr/>
        </p:nvSpPr>
        <p:spPr>
          <a:xfrm>
            <a:off x="3122112" y="1999624"/>
            <a:ext cx="1985376" cy="618316"/>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Statistical Studies</a:t>
            </a:r>
          </a:p>
        </p:txBody>
      </p:sp>
      <p:cxnSp>
        <p:nvCxnSpPr>
          <p:cNvPr id="9" name="Straight Arrow Connector 8">
            <a:extLst>
              <a:ext uri="{FF2B5EF4-FFF2-40B4-BE49-F238E27FC236}">
                <a16:creationId xmlns:a16="http://schemas.microsoft.com/office/drawing/2014/main" id="{C0ACEFDC-C19C-4513-8D70-A2B3D29D65B0}"/>
              </a:ext>
            </a:extLst>
          </p:cNvPr>
          <p:cNvCxnSpPr>
            <a:cxnSpLocks/>
            <a:endCxn id="5" idx="0"/>
          </p:cNvCxnSpPr>
          <p:nvPr/>
        </p:nvCxnSpPr>
        <p:spPr>
          <a:xfrm flipH="1">
            <a:off x="2328172" y="2624203"/>
            <a:ext cx="1786628" cy="733555"/>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63CFE5AD-4E34-4C2A-9489-63A58828807D}"/>
              </a:ext>
            </a:extLst>
          </p:cNvPr>
          <p:cNvCxnSpPr>
            <a:stCxn id="7" idx="2"/>
            <a:endCxn id="6" idx="0"/>
          </p:cNvCxnSpPr>
          <p:nvPr/>
        </p:nvCxnSpPr>
        <p:spPr>
          <a:xfrm>
            <a:off x="4114800" y="2617940"/>
            <a:ext cx="1908758" cy="752344"/>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9397678"/>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E8DB-7C7A-4DDC-A4AF-37EFDD4F3167}"/>
              </a:ext>
            </a:extLst>
          </p:cNvPr>
          <p:cNvSpPr>
            <a:spLocks noGrp="1"/>
          </p:cNvSpPr>
          <p:nvPr>
            <p:ph type="title"/>
          </p:nvPr>
        </p:nvSpPr>
        <p:spPr>
          <a:xfrm>
            <a:off x="1877" y="2286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pic>
        <p:nvPicPr>
          <p:cNvPr id="8" name="Picture 7">
            <a:extLst>
              <a:ext uri="{FF2B5EF4-FFF2-40B4-BE49-F238E27FC236}">
                <a16:creationId xmlns:a16="http://schemas.microsoft.com/office/drawing/2014/main" id="{7A762CF4-1B9D-4987-8C10-992B4959F552}"/>
              </a:ext>
            </a:extLst>
          </p:cNvPr>
          <p:cNvPicPr>
            <a:picLocks noChangeAspect="1"/>
          </p:cNvPicPr>
          <p:nvPr/>
        </p:nvPicPr>
        <p:blipFill>
          <a:blip r:embed="rId2"/>
          <a:stretch>
            <a:fillRect/>
          </a:stretch>
        </p:blipFill>
        <p:spPr>
          <a:xfrm>
            <a:off x="5747495" y="1347331"/>
            <a:ext cx="3396505" cy="2153694"/>
          </a:xfrm>
          <a:prstGeom prst="rect">
            <a:avLst/>
          </a:prstGeom>
        </p:spPr>
      </p:pic>
      <p:sp>
        <p:nvSpPr>
          <p:cNvPr id="10" name="Content Placeholder 9">
            <a:extLst>
              <a:ext uri="{FF2B5EF4-FFF2-40B4-BE49-F238E27FC236}">
                <a16:creationId xmlns:a16="http://schemas.microsoft.com/office/drawing/2014/main" id="{78499D2F-5C34-4281-8B7C-D04161065915}"/>
              </a:ext>
            </a:extLst>
          </p:cNvPr>
          <p:cNvSpPr>
            <a:spLocks noGrp="1"/>
          </p:cNvSpPr>
          <p:nvPr>
            <p:ph sz="half" idx="13"/>
          </p:nvPr>
        </p:nvSpPr>
        <p:spPr>
          <a:xfrm>
            <a:off x="-1" y="971550"/>
            <a:ext cx="5599135" cy="3200400"/>
          </a:xfrm>
        </p:spPr>
        <p:txBody>
          <a:bodyPr/>
          <a:lstStyle/>
          <a:p>
            <a:pPr marL="0" indent="0">
              <a:buNone/>
            </a:pPr>
            <a:r>
              <a:rPr lang="en-US" sz="1200" b="1" i="1" dirty="0">
                <a:solidFill>
                  <a:schemeClr val="bg2">
                    <a:lumMod val="50000"/>
                    <a:lumOff val="50000"/>
                  </a:schemeClr>
                </a:solidFill>
              </a:rPr>
              <a:t>Many students listen to music while studying. Does listening to music improve learning? Students in a statistics class decide to investigate this question. </a:t>
            </a:r>
          </a:p>
          <a:p>
            <a:pPr marL="0" indent="0">
              <a:buNone/>
            </a:pPr>
            <a:r>
              <a:rPr lang="en-US" sz="1200" b="1" i="1" dirty="0">
                <a:solidFill>
                  <a:schemeClr val="accent1"/>
                </a:solidFill>
              </a:rPr>
              <a:t>Study 1 : </a:t>
            </a:r>
          </a:p>
          <a:p>
            <a:pPr marL="0" indent="0">
              <a:buNone/>
            </a:pPr>
            <a:r>
              <a:rPr lang="en-US" sz="1200" i="1" dirty="0">
                <a:solidFill>
                  <a:schemeClr val="bg2">
                    <a:lumMod val="50000"/>
                    <a:lumOff val="50000"/>
                  </a:schemeClr>
                </a:solidFill>
              </a:rPr>
              <a:t>Do the majority of college students listen to music while they study? Do the majority of college students believe that listening to music improves their learning?</a:t>
            </a:r>
          </a:p>
          <a:p>
            <a:pPr marL="0" indent="0">
              <a:buNone/>
            </a:pPr>
            <a:r>
              <a:rPr lang="en-US" sz="1200" i="1" dirty="0">
                <a:solidFill>
                  <a:schemeClr val="accent1"/>
                </a:solidFill>
              </a:rPr>
              <a:t>Survey Questions : Sent to all the students</a:t>
            </a:r>
          </a:p>
          <a:p>
            <a:pPr marL="0" indent="0">
              <a:buNone/>
            </a:pPr>
            <a:r>
              <a:rPr lang="en-US" sz="1200" i="1" dirty="0">
                <a:solidFill>
                  <a:schemeClr val="bg2">
                    <a:lumMod val="50000"/>
                    <a:lumOff val="50000"/>
                  </a:schemeClr>
                </a:solidFill>
              </a:rPr>
              <a:t>Do you listen to music while you study?</a:t>
            </a:r>
          </a:p>
          <a:p>
            <a:pPr marL="0" indent="0">
              <a:buNone/>
            </a:pPr>
            <a:r>
              <a:rPr lang="en-US" sz="1200" i="1" dirty="0">
                <a:solidFill>
                  <a:schemeClr val="bg2">
                    <a:lumMod val="50000"/>
                    <a:lumOff val="50000"/>
                  </a:schemeClr>
                </a:solidFill>
              </a:rPr>
              <a:t>Do you think listening to music improves your concentration and memory?</a:t>
            </a:r>
          </a:p>
          <a:p>
            <a:pPr marL="0" indent="0">
              <a:buNone/>
            </a:pPr>
            <a:endParaRPr lang="en-US" sz="1200" b="1" i="1" dirty="0">
              <a:solidFill>
                <a:schemeClr val="bg2">
                  <a:lumMod val="50000"/>
                  <a:lumOff val="50000"/>
                </a:schemeClr>
              </a:solidFill>
            </a:endParaRPr>
          </a:p>
        </p:txBody>
      </p:sp>
    </p:spTree>
    <p:extLst>
      <p:ext uri="{BB962C8B-B14F-4D97-AF65-F5344CB8AC3E}">
        <p14:creationId xmlns:p14="http://schemas.microsoft.com/office/powerpoint/2010/main" val="647538906"/>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18BCBB9-C3AC-40C5-95B3-3E911B1A5E73}"/>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8" name="TextBox 7">
            <a:extLst>
              <a:ext uri="{FF2B5EF4-FFF2-40B4-BE49-F238E27FC236}">
                <a16:creationId xmlns:a16="http://schemas.microsoft.com/office/drawing/2014/main" id="{39BACF91-6D93-4CB5-9A9C-CEEF211954A4}"/>
              </a:ext>
            </a:extLst>
          </p:cNvPr>
          <p:cNvSpPr txBox="1"/>
          <p:nvPr/>
        </p:nvSpPr>
        <p:spPr>
          <a:xfrm>
            <a:off x="-68894" y="1190466"/>
            <a:ext cx="5749447" cy="2462213"/>
          </a:xfrm>
          <a:prstGeom prst="rect">
            <a:avLst/>
          </a:prstGeom>
          <a:noFill/>
        </p:spPr>
        <p:txBody>
          <a:bodyPr wrap="square" rtlCol="0">
            <a:spAutoFit/>
          </a:bodyPr>
          <a:lstStyle/>
          <a:p>
            <a:pPr marL="0" indent="0">
              <a:buNone/>
            </a:pPr>
            <a:r>
              <a:rPr lang="en-US" sz="1400" b="1" i="1" dirty="0">
                <a:solidFill>
                  <a:schemeClr val="accent1"/>
                </a:solidFill>
              </a:rPr>
              <a:t>Study 2 : </a:t>
            </a:r>
          </a:p>
          <a:p>
            <a:pPr marL="0" indent="0">
              <a:buNone/>
            </a:pPr>
            <a:r>
              <a:rPr lang="en-US" sz="1400" i="1" dirty="0">
                <a:solidFill>
                  <a:schemeClr val="bg2">
                    <a:lumMod val="50000"/>
                    <a:lumOff val="50000"/>
                  </a:schemeClr>
                </a:solidFill>
              </a:rPr>
              <a:t>When we compare students who study with music to students who study in a quiet environment, which group gives higher ratings for understanding what they studied?</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divides the class into two groups: (1) those who listen to music when they study and (2) those who do not listen to music when they study. The students keep a journal for a week. Each time they study, they record the following information:</a:t>
            </a:r>
          </a:p>
          <a:p>
            <a:pPr marL="0" indent="0">
              <a:buNone/>
            </a:pPr>
            <a:endParaRPr lang="en-US" sz="1000" dirty="0">
              <a:solidFill>
                <a:schemeClr val="bg2">
                  <a:lumMod val="50000"/>
                  <a:lumOff val="50000"/>
                </a:schemeClr>
              </a:solidFill>
              <a:latin typeface="+mn-lt"/>
            </a:endParaRPr>
          </a:p>
          <a:p>
            <a:pPr algn="l" fontAlgn="base">
              <a:buFont typeface="Arial" panose="020B0604020202020204" pitchFamily="34" charset="0"/>
              <a:buChar char="•"/>
            </a:pPr>
            <a:r>
              <a:rPr lang="en-US" sz="1000" dirty="0">
                <a:solidFill>
                  <a:schemeClr val="bg2">
                    <a:lumMod val="50000"/>
                    <a:lumOff val="50000"/>
                  </a:schemeClr>
                </a:solidFill>
                <a:latin typeface="+mn-lt"/>
              </a:rPr>
              <a:t> Length of study session (in minutes)</a:t>
            </a:r>
          </a:p>
          <a:p>
            <a:pPr algn="l" fontAlgn="base">
              <a:buFont typeface="Arial" panose="020B0604020202020204" pitchFamily="34" charset="0"/>
              <a:buChar char="•"/>
            </a:pPr>
            <a:r>
              <a:rPr lang="en-US" sz="1000" dirty="0">
                <a:solidFill>
                  <a:schemeClr val="bg2">
                    <a:lumMod val="50000"/>
                    <a:lumOff val="50000"/>
                  </a:schemeClr>
                </a:solidFill>
                <a:latin typeface="+mn-lt"/>
              </a:rPr>
              <a:t> A rating of how well they understood what they studied, on a scale of 1–10: 1 = no understanding,    10 = excellent understanding.</a:t>
            </a:r>
          </a:p>
          <a:p>
            <a:pPr marL="0" indent="0">
              <a:buNone/>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22D22767-FE1F-4CAD-8B74-C0E62202ACDE}"/>
              </a:ext>
            </a:extLst>
          </p:cNvPr>
          <p:cNvPicPr>
            <a:picLocks noChangeAspect="1"/>
          </p:cNvPicPr>
          <p:nvPr/>
        </p:nvPicPr>
        <p:blipFill>
          <a:blip r:embed="rId2"/>
          <a:stretch>
            <a:fillRect/>
          </a:stretch>
        </p:blipFill>
        <p:spPr>
          <a:xfrm>
            <a:off x="5680553" y="1524296"/>
            <a:ext cx="3328167" cy="2094907"/>
          </a:xfrm>
          <a:prstGeom prst="rect">
            <a:avLst/>
          </a:prstGeom>
        </p:spPr>
      </p:pic>
    </p:spTree>
    <p:extLst>
      <p:ext uri="{BB962C8B-B14F-4D97-AF65-F5344CB8AC3E}">
        <p14:creationId xmlns:p14="http://schemas.microsoft.com/office/powerpoint/2010/main" val="131789960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B392B1B-F39D-4768-935E-054CB31A20FF}"/>
              </a:ext>
            </a:extLst>
          </p:cNvPr>
          <p:cNvSpPr>
            <a:spLocks noGrp="1"/>
          </p:cNvSpPr>
          <p:nvPr>
            <p:ph type="title"/>
          </p:nvPr>
        </p:nvSpPr>
        <p:spPr>
          <a:xfrm>
            <a:off x="0" y="0"/>
            <a:ext cx="8963626" cy="640080"/>
          </a:xfrm>
        </p:spPr>
        <p:txBody>
          <a:bodyPr/>
          <a:lstStyle/>
          <a:p>
            <a:r>
              <a:rPr lang="en-US" dirty="0"/>
              <a:t>Understanding Observational Study &amp; Experiment </a:t>
            </a:r>
            <a:br>
              <a:rPr lang="en-US" dirty="0"/>
            </a:br>
            <a:r>
              <a:rPr lang="en-US" dirty="0"/>
              <a:t>					       </a:t>
            </a:r>
            <a:r>
              <a:rPr lang="en-US" dirty="0">
                <a:solidFill>
                  <a:schemeClr val="bg2">
                    <a:lumMod val="50000"/>
                    <a:lumOff val="50000"/>
                  </a:schemeClr>
                </a:solidFill>
              </a:rPr>
              <a:t>With an Example</a:t>
            </a:r>
          </a:p>
        </p:txBody>
      </p:sp>
      <p:sp>
        <p:nvSpPr>
          <p:cNvPr id="6" name="TextBox 5">
            <a:extLst>
              <a:ext uri="{FF2B5EF4-FFF2-40B4-BE49-F238E27FC236}">
                <a16:creationId xmlns:a16="http://schemas.microsoft.com/office/drawing/2014/main" id="{DCB63690-E772-4BAF-822C-38DD0D858D8E}"/>
              </a:ext>
            </a:extLst>
          </p:cNvPr>
          <p:cNvSpPr txBox="1"/>
          <p:nvPr/>
        </p:nvSpPr>
        <p:spPr>
          <a:xfrm>
            <a:off x="43185" y="1704742"/>
            <a:ext cx="5966726" cy="1631216"/>
          </a:xfrm>
          <a:prstGeom prst="rect">
            <a:avLst/>
          </a:prstGeom>
          <a:noFill/>
        </p:spPr>
        <p:txBody>
          <a:bodyPr wrap="square" rtlCol="0">
            <a:spAutoFit/>
          </a:bodyPr>
          <a:lstStyle/>
          <a:p>
            <a:pPr marL="0" indent="0">
              <a:buNone/>
            </a:pPr>
            <a:r>
              <a:rPr lang="en-US" sz="1400" b="1" i="1" dirty="0">
                <a:solidFill>
                  <a:schemeClr val="accent1"/>
                </a:solidFill>
              </a:rPr>
              <a:t>Study 3 : </a:t>
            </a:r>
          </a:p>
          <a:p>
            <a:pPr marL="0" indent="0">
              <a:buNone/>
            </a:pPr>
            <a:r>
              <a:rPr lang="en-US" sz="1400" i="1" dirty="0">
                <a:solidFill>
                  <a:schemeClr val="bg2">
                    <a:lumMod val="50000"/>
                    <a:lumOff val="50000"/>
                  </a:schemeClr>
                </a:solidFill>
              </a:rPr>
              <a:t>Does listening to music improve students’ ability to quickly identify information?</a:t>
            </a:r>
          </a:p>
          <a:p>
            <a:pPr marL="0" indent="0">
              <a:buNone/>
            </a:pPr>
            <a:endParaRPr lang="en-US" sz="1400" i="1" dirty="0">
              <a:solidFill>
                <a:schemeClr val="bg2">
                  <a:lumMod val="50000"/>
                  <a:lumOff val="50000"/>
                </a:schemeClr>
              </a:solidFill>
              <a:latin typeface="+mn-lt"/>
            </a:endParaRPr>
          </a:p>
          <a:p>
            <a:pPr marL="0" indent="0">
              <a:buNone/>
            </a:pPr>
            <a:r>
              <a:rPr lang="en-US" sz="1000" dirty="0">
                <a:solidFill>
                  <a:schemeClr val="bg2">
                    <a:lumMod val="50000"/>
                    <a:lumOff val="50000"/>
                  </a:schemeClr>
                </a:solidFill>
                <a:latin typeface="+mn-lt"/>
              </a:rPr>
              <a:t>To investigate this question, the instructor uses word-search puzzles. She divides the class into two groups. Students on one side of the room do a word puzzle for 3 minutes while listening to music on an iPod. Students on the other side of the room do a word puzzle for 3 minutes without music. The instructor calculates the average number of words found by each group.</a:t>
            </a:r>
          </a:p>
        </p:txBody>
      </p:sp>
      <p:pic>
        <p:nvPicPr>
          <p:cNvPr id="7" name="Picture 6">
            <a:extLst>
              <a:ext uri="{FF2B5EF4-FFF2-40B4-BE49-F238E27FC236}">
                <a16:creationId xmlns:a16="http://schemas.microsoft.com/office/drawing/2014/main" id="{7313401C-CCD6-4372-B248-82C8D3522CA6}"/>
              </a:ext>
            </a:extLst>
          </p:cNvPr>
          <p:cNvPicPr>
            <a:picLocks noChangeAspect="1"/>
          </p:cNvPicPr>
          <p:nvPr/>
        </p:nvPicPr>
        <p:blipFill>
          <a:blip r:embed="rId2"/>
          <a:stretch>
            <a:fillRect/>
          </a:stretch>
        </p:blipFill>
        <p:spPr>
          <a:xfrm>
            <a:off x="6009911" y="1524296"/>
            <a:ext cx="2998809" cy="2094907"/>
          </a:xfrm>
          <a:prstGeom prst="rect">
            <a:avLst/>
          </a:prstGeom>
        </p:spPr>
      </p:pic>
    </p:spTree>
    <p:extLst>
      <p:ext uri="{BB962C8B-B14F-4D97-AF65-F5344CB8AC3E}">
        <p14:creationId xmlns:p14="http://schemas.microsoft.com/office/powerpoint/2010/main" val="4271565730"/>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93A03-5898-4C6C-BF44-6F13B753C34B}"/>
              </a:ext>
            </a:extLst>
          </p:cNvPr>
          <p:cNvSpPr>
            <a:spLocks noGrp="1"/>
          </p:cNvSpPr>
          <p:nvPr>
            <p:ph type="title"/>
          </p:nvPr>
        </p:nvSpPr>
        <p:spPr>
          <a:xfrm>
            <a:off x="137160" y="22860"/>
            <a:ext cx="7955280" cy="640080"/>
          </a:xfrm>
        </p:spPr>
        <p:txBody>
          <a:bodyPr/>
          <a:lstStyle/>
          <a:p>
            <a:r>
              <a:rPr lang="en-US" dirty="0"/>
              <a:t>Control Experiment – drug test example</a:t>
            </a:r>
          </a:p>
        </p:txBody>
      </p:sp>
      <p:sp>
        <p:nvSpPr>
          <p:cNvPr id="3" name="Content Placeholder 2">
            <a:extLst>
              <a:ext uri="{FF2B5EF4-FFF2-40B4-BE49-F238E27FC236}">
                <a16:creationId xmlns:a16="http://schemas.microsoft.com/office/drawing/2014/main" id="{B284F41B-5C6B-486A-A6B7-4AF38B491853}"/>
              </a:ext>
            </a:extLst>
          </p:cNvPr>
          <p:cNvSpPr>
            <a:spLocks noGrp="1"/>
          </p:cNvSpPr>
          <p:nvPr>
            <p:ph sz="half" idx="13"/>
          </p:nvPr>
        </p:nvSpPr>
        <p:spPr>
          <a:xfrm>
            <a:off x="230478" y="716489"/>
            <a:ext cx="7955279" cy="3200400"/>
          </a:xfrm>
        </p:spPr>
        <p:txBody>
          <a:bodyPr/>
          <a:lstStyle/>
          <a:p>
            <a:r>
              <a:rPr lang="en-US" dirty="0">
                <a:solidFill>
                  <a:schemeClr val="bg2">
                    <a:lumMod val="50000"/>
                    <a:lumOff val="50000"/>
                  </a:schemeClr>
                </a:solidFill>
              </a:rPr>
              <a:t>If we are studying the effectiveness of a pill, we should also compare it to a placebo. It is often the case that the act of receiving a treatment that a person believe will be beneficial with itself result in a beneficial effect. Regardless of whether the treatment is otherwise effective</a:t>
            </a:r>
          </a:p>
        </p:txBody>
      </p:sp>
      <p:pic>
        <p:nvPicPr>
          <p:cNvPr id="5" name="Picture 4" descr="A picture containing table, indoor, wooden, slice&#10;&#10;Description automatically generated">
            <a:extLst>
              <a:ext uri="{FF2B5EF4-FFF2-40B4-BE49-F238E27FC236}">
                <a16:creationId xmlns:a16="http://schemas.microsoft.com/office/drawing/2014/main" id="{2ABCDDB0-5640-4524-AB37-630EFD094CB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194782" y="1912562"/>
            <a:ext cx="3834432" cy="2156868"/>
          </a:xfrm>
          <a:prstGeom prst="rect">
            <a:avLst/>
          </a:prstGeom>
        </p:spPr>
      </p:pic>
      <p:sp>
        <p:nvSpPr>
          <p:cNvPr id="6" name="TextBox 5">
            <a:extLst>
              <a:ext uri="{FF2B5EF4-FFF2-40B4-BE49-F238E27FC236}">
                <a16:creationId xmlns:a16="http://schemas.microsoft.com/office/drawing/2014/main" id="{DCF10603-437E-4C7A-980F-322B67C14954}"/>
              </a:ext>
            </a:extLst>
          </p:cNvPr>
          <p:cNvSpPr txBox="1"/>
          <p:nvPr/>
        </p:nvSpPr>
        <p:spPr>
          <a:xfrm>
            <a:off x="4097350" y="5245622"/>
            <a:ext cx="5046650" cy="230832"/>
          </a:xfrm>
          <a:prstGeom prst="rect">
            <a:avLst/>
          </a:prstGeom>
          <a:noFill/>
        </p:spPr>
        <p:txBody>
          <a:bodyPr wrap="square" rtlCol="0">
            <a:spAutoFit/>
          </a:bodyPr>
          <a:lstStyle/>
          <a:p>
            <a:r>
              <a:rPr lang="en-US" sz="900">
                <a:hlinkClick r:id="rId3" tooltip="http://capitalcurrent.ca/opioid-overdoses-dwarf-covid-19/"/>
              </a:rPr>
              <a:t>This Photo</a:t>
            </a:r>
            <a:r>
              <a:rPr lang="en-US" sz="900"/>
              <a:t> by Unknown Author is licensed under </a:t>
            </a:r>
            <a:r>
              <a:rPr lang="en-US" sz="900">
                <a:hlinkClick r:id="rId4" tooltip="https://creativecommons.org/licenses/by-nc-nd/3.0/"/>
              </a:rPr>
              <a:t>CC BY-NC-ND</a:t>
            </a:r>
            <a:endParaRPr lang="en-US" sz="900"/>
          </a:p>
        </p:txBody>
      </p:sp>
    </p:spTree>
    <p:extLst>
      <p:ext uri="{BB962C8B-B14F-4D97-AF65-F5344CB8AC3E}">
        <p14:creationId xmlns:p14="http://schemas.microsoft.com/office/powerpoint/2010/main" val="4145885228"/>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10BFA-B9A1-46D8-8A38-A0F4A1088A5A}"/>
              </a:ext>
            </a:extLst>
          </p:cNvPr>
          <p:cNvSpPr>
            <a:spLocks noGrp="1"/>
          </p:cNvSpPr>
          <p:nvPr>
            <p:ph type="title"/>
          </p:nvPr>
        </p:nvSpPr>
        <p:spPr>
          <a:xfrm>
            <a:off x="67639" y="109048"/>
            <a:ext cx="7955280" cy="640080"/>
          </a:xfrm>
        </p:spPr>
        <p:txBody>
          <a:bodyPr/>
          <a:lstStyle/>
          <a:p>
            <a:r>
              <a:rPr lang="en-US" dirty="0"/>
              <a:t>Controlled Experiment</a:t>
            </a:r>
          </a:p>
        </p:txBody>
      </p:sp>
      <p:sp>
        <p:nvSpPr>
          <p:cNvPr id="3" name="Content Placeholder 2">
            <a:extLst>
              <a:ext uri="{FF2B5EF4-FFF2-40B4-BE49-F238E27FC236}">
                <a16:creationId xmlns:a16="http://schemas.microsoft.com/office/drawing/2014/main" id="{8DB84CCF-42DD-4079-ADB2-9916B5BABF84}"/>
              </a:ext>
            </a:extLst>
          </p:cNvPr>
          <p:cNvSpPr>
            <a:spLocks noGrp="1"/>
          </p:cNvSpPr>
          <p:nvPr>
            <p:ph sz="half" idx="13"/>
          </p:nvPr>
        </p:nvSpPr>
        <p:spPr>
          <a:xfrm>
            <a:off x="67639" y="879327"/>
            <a:ext cx="8518951" cy="3200400"/>
          </a:xfrm>
        </p:spPr>
        <p:txBody>
          <a:bodyPr/>
          <a:lstStyle/>
          <a:p>
            <a:r>
              <a:rPr lang="en-US" dirty="0">
                <a:solidFill>
                  <a:schemeClr val="bg2">
                    <a:lumMod val="50000"/>
                    <a:lumOff val="50000"/>
                  </a:schemeClr>
                </a:solidFill>
              </a:rPr>
              <a:t>In a controlled experiment, we can be reasonably comfortable inferring that the treatment applied to one group but not to the other caused whatever difference we observe between the two</a:t>
            </a:r>
          </a:p>
          <a:p>
            <a:r>
              <a:rPr lang="en-US" dirty="0">
                <a:solidFill>
                  <a:schemeClr val="bg2">
                    <a:lumMod val="50000"/>
                    <a:lumOff val="50000"/>
                  </a:schemeClr>
                </a:solidFill>
              </a:rPr>
              <a:t>But other we must remember that correlation does not imply causation </a:t>
            </a:r>
          </a:p>
          <a:p>
            <a:r>
              <a:rPr lang="en-US" dirty="0">
                <a:solidFill>
                  <a:schemeClr val="bg2">
                    <a:lumMod val="50000"/>
                    <a:lumOff val="50000"/>
                  </a:schemeClr>
                </a:solidFill>
              </a:rPr>
              <a:t>Variables are correlated if they “move together”, </a:t>
            </a:r>
            <a:r>
              <a:rPr lang="en-US" dirty="0" err="1">
                <a:solidFill>
                  <a:schemeClr val="bg2">
                    <a:lumMod val="50000"/>
                    <a:lumOff val="50000"/>
                  </a:schemeClr>
                </a:solidFill>
              </a:rPr>
              <a:t>i.e</a:t>
            </a:r>
            <a:r>
              <a:rPr lang="en-US" dirty="0">
                <a:solidFill>
                  <a:schemeClr val="bg2">
                    <a:lumMod val="50000"/>
                    <a:lumOff val="50000"/>
                  </a:schemeClr>
                </a:solidFill>
              </a:rPr>
              <a:t> when one variable changes the other one trends to change as well</a:t>
            </a:r>
          </a:p>
          <a:p>
            <a:r>
              <a:rPr lang="en-US" b="1" dirty="0">
                <a:solidFill>
                  <a:schemeClr val="bg2">
                    <a:lumMod val="50000"/>
                    <a:lumOff val="50000"/>
                  </a:schemeClr>
                </a:solidFill>
              </a:rPr>
              <a:t>Ex : </a:t>
            </a:r>
          </a:p>
          <a:p>
            <a:pPr lvl="1"/>
            <a:r>
              <a:rPr lang="en-US" dirty="0">
                <a:solidFill>
                  <a:schemeClr val="bg2">
                    <a:lumMod val="50000"/>
                    <a:lumOff val="50000"/>
                  </a:schemeClr>
                </a:solidFill>
              </a:rPr>
              <a:t>Temp is related to the time of the day</a:t>
            </a:r>
          </a:p>
          <a:p>
            <a:pPr lvl="1"/>
            <a:r>
              <a:rPr lang="en-US" dirty="0">
                <a:solidFill>
                  <a:schemeClr val="bg2">
                    <a:lumMod val="50000"/>
                    <a:lumOff val="50000"/>
                  </a:schemeClr>
                </a:solidFill>
              </a:rPr>
              <a:t>Human height correlated to human weight</a:t>
            </a:r>
          </a:p>
        </p:txBody>
      </p:sp>
      <p:sp>
        <p:nvSpPr>
          <p:cNvPr id="5" name="TextBox 4">
            <a:extLst>
              <a:ext uri="{FF2B5EF4-FFF2-40B4-BE49-F238E27FC236}">
                <a16:creationId xmlns:a16="http://schemas.microsoft.com/office/drawing/2014/main" id="{5CEE9E77-FE13-4C40-8BC2-E1D5843FD82C}"/>
              </a:ext>
            </a:extLst>
          </p:cNvPr>
          <p:cNvSpPr txBox="1"/>
          <p:nvPr/>
        </p:nvSpPr>
        <p:spPr>
          <a:xfrm>
            <a:off x="67639" y="3341063"/>
            <a:ext cx="8832056"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mn-lt"/>
              </a:rPr>
              <a:t>When height increase human weight increase. When one variable change the other variable also changes. It can increase or decrease. Hence, I am using the word changes, this is called as correlation</a:t>
            </a:r>
          </a:p>
        </p:txBody>
      </p:sp>
    </p:spTree>
    <p:extLst>
      <p:ext uri="{BB962C8B-B14F-4D97-AF65-F5344CB8AC3E}">
        <p14:creationId xmlns:p14="http://schemas.microsoft.com/office/powerpoint/2010/main" val="27199431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0426-E2C8-4003-8D16-72F1439DEA50}"/>
              </a:ext>
            </a:extLst>
          </p:cNvPr>
          <p:cNvSpPr>
            <a:spLocks noGrp="1"/>
          </p:cNvSpPr>
          <p:nvPr>
            <p:ph type="title"/>
          </p:nvPr>
        </p:nvSpPr>
        <p:spPr>
          <a:xfrm>
            <a:off x="137160" y="104362"/>
            <a:ext cx="7955280" cy="640080"/>
          </a:xfrm>
        </p:spPr>
        <p:txBody>
          <a:bodyPr/>
          <a:lstStyle/>
          <a:p>
            <a:r>
              <a:rPr lang="en-US" dirty="0"/>
              <a:t>Correlation and Causation</a:t>
            </a:r>
          </a:p>
        </p:txBody>
      </p:sp>
      <p:sp>
        <p:nvSpPr>
          <p:cNvPr id="3" name="Content Placeholder 2">
            <a:extLst>
              <a:ext uri="{FF2B5EF4-FFF2-40B4-BE49-F238E27FC236}">
                <a16:creationId xmlns:a16="http://schemas.microsoft.com/office/drawing/2014/main" id="{56A6245D-E2DD-4B22-B2B2-507AB068A965}"/>
              </a:ext>
            </a:extLst>
          </p:cNvPr>
          <p:cNvSpPr>
            <a:spLocks noGrp="1"/>
          </p:cNvSpPr>
          <p:nvPr>
            <p:ph sz="half" idx="13"/>
          </p:nvPr>
        </p:nvSpPr>
        <p:spPr>
          <a:xfrm>
            <a:off x="137160" y="811006"/>
            <a:ext cx="8234486" cy="3200400"/>
          </a:xfrm>
        </p:spPr>
        <p:txBody>
          <a:bodyPr/>
          <a:lstStyle/>
          <a:p>
            <a:r>
              <a:rPr lang="en-US" dirty="0">
                <a:solidFill>
                  <a:schemeClr val="bg2">
                    <a:lumMod val="50000"/>
                    <a:lumOff val="50000"/>
                  </a:schemeClr>
                </a:solidFill>
              </a:rPr>
              <a:t>If changing one variable caused a change in another, they will be correlated. But the converse is not necessarily true</a:t>
            </a:r>
          </a:p>
          <a:p>
            <a:r>
              <a:rPr lang="en-US" dirty="0">
                <a:solidFill>
                  <a:schemeClr val="bg2">
                    <a:lumMod val="50000"/>
                    <a:lumOff val="50000"/>
                  </a:schemeClr>
                </a:solidFill>
              </a:rPr>
              <a:t>If two variable are correlated, it is not necessarily the case that one has caused the other to change</a:t>
            </a:r>
          </a:p>
          <a:p>
            <a:r>
              <a:rPr lang="en-US" dirty="0">
                <a:solidFill>
                  <a:schemeClr val="bg2">
                    <a:lumMod val="50000"/>
                    <a:lumOff val="50000"/>
                  </a:schemeClr>
                </a:solidFill>
              </a:rPr>
              <a:t>For instance, Marriage &amp; Income</a:t>
            </a:r>
          </a:p>
          <a:p>
            <a:pPr lvl="1"/>
            <a:r>
              <a:rPr lang="en-US" dirty="0">
                <a:solidFill>
                  <a:schemeClr val="bg2">
                    <a:lumMod val="50000"/>
                    <a:lumOff val="50000"/>
                  </a:schemeClr>
                </a:solidFill>
              </a:rPr>
              <a:t>It is said that people who are married make more money, But is it not true that more money can get people married </a:t>
            </a:r>
          </a:p>
        </p:txBody>
      </p:sp>
    </p:spTree>
    <p:extLst>
      <p:ext uri="{BB962C8B-B14F-4D97-AF65-F5344CB8AC3E}">
        <p14:creationId xmlns:p14="http://schemas.microsoft.com/office/powerpoint/2010/main" val="3561234959"/>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C837C-ACCC-4FC8-BB8D-6A764353E397}"/>
              </a:ext>
            </a:extLst>
          </p:cNvPr>
          <p:cNvSpPr>
            <a:spLocks noGrp="1"/>
          </p:cNvSpPr>
          <p:nvPr>
            <p:ph type="title"/>
          </p:nvPr>
        </p:nvSpPr>
        <p:spPr>
          <a:xfrm>
            <a:off x="0" y="0"/>
            <a:ext cx="7955280" cy="640080"/>
          </a:xfrm>
        </p:spPr>
        <p:txBody>
          <a:bodyPr/>
          <a:lstStyle/>
          <a:p>
            <a:r>
              <a:rPr lang="en-US" dirty="0"/>
              <a:t>Confounding Variable</a:t>
            </a:r>
          </a:p>
        </p:txBody>
      </p:sp>
      <p:sp>
        <p:nvSpPr>
          <p:cNvPr id="3" name="Content Placeholder 2">
            <a:extLst>
              <a:ext uri="{FF2B5EF4-FFF2-40B4-BE49-F238E27FC236}">
                <a16:creationId xmlns:a16="http://schemas.microsoft.com/office/drawing/2014/main" id="{3E01CF73-0B6D-4BB3-8A14-4D46D9C0DF3D}"/>
              </a:ext>
            </a:extLst>
          </p:cNvPr>
          <p:cNvSpPr>
            <a:spLocks noGrp="1"/>
          </p:cNvSpPr>
          <p:nvPr>
            <p:ph sz="half" idx="13"/>
          </p:nvPr>
        </p:nvSpPr>
        <p:spPr>
          <a:xfrm>
            <a:off x="137160" y="640080"/>
            <a:ext cx="8418064" cy="1600549"/>
          </a:xfrm>
        </p:spPr>
        <p:txBody>
          <a:bodyPr>
            <a:normAutofit/>
          </a:bodyPr>
          <a:lstStyle/>
          <a:p>
            <a:r>
              <a:rPr lang="en-US" sz="1200" kern="1200" dirty="0">
                <a:solidFill>
                  <a:schemeClr val="bg2">
                    <a:lumMod val="50000"/>
                    <a:lumOff val="50000"/>
                  </a:schemeClr>
                </a:solidFill>
                <a:latin typeface="+mn-lt"/>
                <a:ea typeface="+mn-ea"/>
                <a:cs typeface="+mn-cs"/>
              </a:rPr>
              <a:t>Confounding variables (a.k.a. confounders or confounding factors) are a type of extraneous variable that are related to a study’s independent and dependent variables. A variable must meet two conditions to be a confounder:</a:t>
            </a:r>
          </a:p>
          <a:p>
            <a:pPr lvl="1"/>
            <a:r>
              <a:rPr lang="en-US" kern="1200" dirty="0">
                <a:solidFill>
                  <a:schemeClr val="bg2">
                    <a:lumMod val="50000"/>
                    <a:lumOff val="50000"/>
                  </a:schemeClr>
                </a:solidFill>
                <a:latin typeface="+mn-lt"/>
                <a:ea typeface="+mn-ea"/>
                <a:cs typeface="+mn-cs"/>
              </a:rPr>
              <a:t>It must be correlated with the independent variable. This may be a causal relationship, but it does not have to be.</a:t>
            </a:r>
          </a:p>
          <a:p>
            <a:pPr lvl="1"/>
            <a:r>
              <a:rPr lang="en-US" kern="1200" dirty="0">
                <a:solidFill>
                  <a:schemeClr val="bg2">
                    <a:lumMod val="50000"/>
                    <a:lumOff val="50000"/>
                  </a:schemeClr>
                </a:solidFill>
                <a:latin typeface="+mn-lt"/>
                <a:ea typeface="+mn-ea"/>
                <a:cs typeface="+mn-cs"/>
              </a:rPr>
              <a:t>It must be causally related to the dependent variable.</a:t>
            </a:r>
          </a:p>
          <a:p>
            <a:r>
              <a:rPr lang="en-US" sz="1200" kern="1200" dirty="0">
                <a:solidFill>
                  <a:schemeClr val="bg2">
                    <a:lumMod val="50000"/>
                    <a:lumOff val="50000"/>
                  </a:schemeClr>
                </a:solidFill>
                <a:latin typeface="+mn-lt"/>
                <a:ea typeface="+mn-ea"/>
                <a:cs typeface="+mn-cs"/>
              </a:rPr>
              <a:t>A variable that hides the true effect of another variable in your experiment. This can happen when another variable is closely related to a variable you are interested in, but you haven’t controlled it in your experiment.</a:t>
            </a:r>
          </a:p>
        </p:txBody>
      </p:sp>
      <p:sp>
        <p:nvSpPr>
          <p:cNvPr id="5" name="Rectangle 4">
            <a:extLst>
              <a:ext uri="{FF2B5EF4-FFF2-40B4-BE49-F238E27FC236}">
                <a16:creationId xmlns:a16="http://schemas.microsoft.com/office/drawing/2014/main" id="{05419016-60B7-41A0-8339-FA52456F977A}"/>
              </a:ext>
            </a:extLst>
          </p:cNvPr>
          <p:cNvSpPr/>
          <p:nvPr/>
        </p:nvSpPr>
        <p:spPr>
          <a:xfrm>
            <a:off x="137160" y="2135055"/>
            <a:ext cx="8418064"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You collect data on sunburns and ice cream consumption. You find that higher ice cream consumption is associated with a higher probability of sunburn. Does that mean ice cream consumption causes sunburn?</a:t>
            </a:r>
          </a:p>
          <a:p>
            <a:pPr>
              <a:lnSpc>
                <a:spcPct val="90000"/>
              </a:lnSpc>
              <a:spcBef>
                <a:spcPts val="600"/>
              </a:spcBef>
              <a:spcAft>
                <a:spcPts val="0"/>
              </a:spcAft>
            </a:pPr>
            <a:r>
              <a:rPr lang="en-US" sz="1200" dirty="0">
                <a:latin typeface="+mn-lt"/>
              </a:rPr>
              <a:t>Here, the confounding variable is temperature: hot temperatures cause people to both eat more ice cream and spend more time outdoors under the sun, resulting in more sunburns.</a:t>
            </a:r>
          </a:p>
        </p:txBody>
      </p:sp>
      <p:sp>
        <p:nvSpPr>
          <p:cNvPr id="6" name="Rectangle 5">
            <a:extLst>
              <a:ext uri="{FF2B5EF4-FFF2-40B4-BE49-F238E27FC236}">
                <a16:creationId xmlns:a16="http://schemas.microsoft.com/office/drawing/2014/main" id="{3D92DDC2-8FCD-45ED-B27B-D1857B405C77}"/>
              </a:ext>
            </a:extLst>
          </p:cNvPr>
          <p:cNvSpPr/>
          <p:nvPr/>
        </p:nvSpPr>
        <p:spPr>
          <a:xfrm>
            <a:off x="137160" y="2135056"/>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8" name="Picture 7">
            <a:extLst>
              <a:ext uri="{FF2B5EF4-FFF2-40B4-BE49-F238E27FC236}">
                <a16:creationId xmlns:a16="http://schemas.microsoft.com/office/drawing/2014/main" id="{E6C9A3F4-824D-4ACA-A39D-E5D996A7F2E9}"/>
              </a:ext>
            </a:extLst>
          </p:cNvPr>
          <p:cNvPicPr>
            <a:picLocks noChangeAspect="1"/>
          </p:cNvPicPr>
          <p:nvPr/>
        </p:nvPicPr>
        <p:blipFill>
          <a:blip r:embed="rId2"/>
          <a:stretch>
            <a:fillRect/>
          </a:stretch>
        </p:blipFill>
        <p:spPr>
          <a:xfrm>
            <a:off x="1948225" y="2902872"/>
            <a:ext cx="4508415" cy="2235080"/>
          </a:xfrm>
          <a:prstGeom prst="rect">
            <a:avLst/>
          </a:prstGeom>
        </p:spPr>
      </p:pic>
    </p:spTree>
    <p:extLst>
      <p:ext uri="{BB962C8B-B14F-4D97-AF65-F5344CB8AC3E}">
        <p14:creationId xmlns:p14="http://schemas.microsoft.com/office/powerpoint/2010/main" val="1334523387"/>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p:spTree>
    <p:extLst>
      <p:ext uri="{BB962C8B-B14F-4D97-AF65-F5344CB8AC3E}">
        <p14:creationId xmlns:p14="http://schemas.microsoft.com/office/powerpoint/2010/main" val="2470375232"/>
      </p:ext>
    </p:extLst>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70DB-7CD4-42FE-987B-CA260299C227}"/>
              </a:ext>
            </a:extLst>
          </p:cNvPr>
          <p:cNvSpPr>
            <a:spLocks noGrp="1"/>
          </p:cNvSpPr>
          <p:nvPr>
            <p:ph type="title"/>
          </p:nvPr>
        </p:nvSpPr>
        <p:spPr>
          <a:xfrm>
            <a:off x="0" y="0"/>
            <a:ext cx="7955280" cy="640080"/>
          </a:xfrm>
        </p:spPr>
        <p:txBody>
          <a:bodyPr/>
          <a:lstStyle/>
          <a:p>
            <a:r>
              <a:rPr lang="en-US" dirty="0"/>
              <a:t>Confounding variable – another example</a:t>
            </a:r>
          </a:p>
        </p:txBody>
      </p:sp>
      <p:pic>
        <p:nvPicPr>
          <p:cNvPr id="6" name="Picture 5">
            <a:extLst>
              <a:ext uri="{FF2B5EF4-FFF2-40B4-BE49-F238E27FC236}">
                <a16:creationId xmlns:a16="http://schemas.microsoft.com/office/drawing/2014/main" id="{9FEF74AE-492F-4044-AB48-F898E20FD7C4}"/>
              </a:ext>
            </a:extLst>
          </p:cNvPr>
          <p:cNvPicPr>
            <a:picLocks noChangeAspect="1"/>
          </p:cNvPicPr>
          <p:nvPr/>
        </p:nvPicPr>
        <p:blipFill>
          <a:blip r:embed="rId2"/>
          <a:stretch>
            <a:fillRect/>
          </a:stretch>
        </p:blipFill>
        <p:spPr>
          <a:xfrm>
            <a:off x="1778048" y="2621078"/>
            <a:ext cx="4483149" cy="2390490"/>
          </a:xfrm>
          <a:prstGeom prst="rect">
            <a:avLst/>
          </a:prstGeom>
        </p:spPr>
      </p:pic>
      <p:pic>
        <p:nvPicPr>
          <p:cNvPr id="8" name="Picture 7">
            <a:extLst>
              <a:ext uri="{FF2B5EF4-FFF2-40B4-BE49-F238E27FC236}">
                <a16:creationId xmlns:a16="http://schemas.microsoft.com/office/drawing/2014/main" id="{9CB35E85-EAE6-4AF3-81B5-25A0F95A4565}"/>
              </a:ext>
            </a:extLst>
          </p:cNvPr>
          <p:cNvPicPr>
            <a:picLocks noChangeAspect="1"/>
          </p:cNvPicPr>
          <p:nvPr/>
        </p:nvPicPr>
        <p:blipFill>
          <a:blip r:embed="rId3"/>
          <a:stretch>
            <a:fillRect/>
          </a:stretch>
        </p:blipFill>
        <p:spPr>
          <a:xfrm>
            <a:off x="1305288" y="637701"/>
            <a:ext cx="5572125" cy="685800"/>
          </a:xfrm>
          <a:prstGeom prst="rect">
            <a:avLst/>
          </a:prstGeom>
        </p:spPr>
      </p:pic>
      <p:sp>
        <p:nvSpPr>
          <p:cNvPr id="9" name="TextBox 8">
            <a:extLst>
              <a:ext uri="{FF2B5EF4-FFF2-40B4-BE49-F238E27FC236}">
                <a16:creationId xmlns:a16="http://schemas.microsoft.com/office/drawing/2014/main" id="{F454474E-454D-495E-BF3A-33238FDCC41B}"/>
              </a:ext>
            </a:extLst>
          </p:cNvPr>
          <p:cNvSpPr txBox="1"/>
          <p:nvPr/>
        </p:nvSpPr>
        <p:spPr>
          <a:xfrm>
            <a:off x="0" y="1321122"/>
            <a:ext cx="9095139" cy="1061829"/>
          </a:xfrm>
          <a:prstGeom prst="rect">
            <a:avLst/>
          </a:prstGeom>
          <a:noFill/>
        </p:spPr>
        <p:txBody>
          <a:bodyPr wrap="square" rtlCol="0">
            <a:spAutoFit/>
          </a:bodyPr>
          <a:lstStyle/>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If you find that people who consume more alcohol are more likely to die, it might seem intuitive to conclude that alcohol use increases the risk of death. However, the situation might be more complex. It is possible that alcohol use is not the only mortality-affecting factor that differs between the two groups.</a:t>
            </a:r>
          </a:p>
          <a:p>
            <a:pPr>
              <a:spcBef>
                <a:spcPts val="0"/>
              </a:spcBef>
              <a:spcAft>
                <a:spcPts val="0"/>
              </a:spcAft>
              <a:buClr>
                <a:schemeClr val="bg1"/>
              </a:buClr>
            </a:pPr>
            <a:endParaRPr lang="en-US" sz="1050" dirty="0">
              <a:solidFill>
                <a:schemeClr val="bg2">
                  <a:lumMod val="50000"/>
                  <a:lumOff val="50000"/>
                </a:schemeClr>
              </a:solidFill>
              <a:latin typeface="+mn-lt"/>
            </a:endParaRPr>
          </a:p>
          <a:p>
            <a:pPr marL="171450" indent="-171450">
              <a:spcBef>
                <a:spcPts val="0"/>
              </a:spcBef>
              <a:spcAft>
                <a:spcPts val="0"/>
              </a:spcAft>
              <a:buClr>
                <a:schemeClr val="bg1"/>
              </a:buClr>
              <a:buFont typeface="Arial" panose="020B0604020202020204" pitchFamily="34" charset="0"/>
              <a:buChar char="•"/>
            </a:pPr>
            <a:r>
              <a:rPr lang="en-US" sz="1050" dirty="0">
                <a:solidFill>
                  <a:schemeClr val="bg2">
                    <a:lumMod val="50000"/>
                    <a:lumOff val="50000"/>
                  </a:schemeClr>
                </a:solidFill>
                <a:latin typeface="+mn-lt"/>
              </a:rPr>
              <a:t>People who consume less alcohol might be more likely to eat a healthier diet or less likely to smoke, for example. Eating a healthy diet or smoking might in turn affect mortality. These other influencing factors are called </a:t>
            </a:r>
            <a:r>
              <a:rPr lang="en-US" sz="1050" b="1" dirty="0">
                <a:solidFill>
                  <a:schemeClr val="bg2">
                    <a:lumMod val="50000"/>
                    <a:lumOff val="50000"/>
                  </a:schemeClr>
                </a:solidFill>
                <a:latin typeface="+mn-lt"/>
              </a:rPr>
              <a:t>confounding variables.</a:t>
            </a:r>
          </a:p>
        </p:txBody>
      </p:sp>
    </p:spTree>
    <p:extLst>
      <p:ext uri="{BB962C8B-B14F-4D97-AF65-F5344CB8AC3E}">
        <p14:creationId xmlns:p14="http://schemas.microsoft.com/office/powerpoint/2010/main" val="1826951538"/>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D1EA-7DF3-48CC-B31A-49D4AA1AAF47}"/>
              </a:ext>
            </a:extLst>
          </p:cNvPr>
          <p:cNvSpPr>
            <a:spLocks noGrp="1"/>
          </p:cNvSpPr>
          <p:nvPr>
            <p:ph type="title"/>
          </p:nvPr>
        </p:nvSpPr>
        <p:spPr>
          <a:xfrm>
            <a:off x="0" y="22860"/>
            <a:ext cx="7955280" cy="640080"/>
          </a:xfrm>
        </p:spPr>
        <p:txBody>
          <a:bodyPr/>
          <a:lstStyle/>
          <a:p>
            <a:r>
              <a:rPr lang="en-US" dirty="0"/>
              <a:t>What is hypothesis ? </a:t>
            </a:r>
          </a:p>
        </p:txBody>
      </p:sp>
      <p:sp>
        <p:nvSpPr>
          <p:cNvPr id="3" name="Content Placeholder 2">
            <a:extLst>
              <a:ext uri="{FF2B5EF4-FFF2-40B4-BE49-F238E27FC236}">
                <a16:creationId xmlns:a16="http://schemas.microsoft.com/office/drawing/2014/main" id="{752E4901-1085-409B-A059-026B6D6F6B60}"/>
              </a:ext>
            </a:extLst>
          </p:cNvPr>
          <p:cNvSpPr>
            <a:spLocks noGrp="1"/>
          </p:cNvSpPr>
          <p:nvPr>
            <p:ph sz="half" idx="13"/>
          </p:nvPr>
        </p:nvSpPr>
        <p:spPr>
          <a:xfrm>
            <a:off x="120755" y="662939"/>
            <a:ext cx="8918543" cy="3615895"/>
          </a:xfrm>
        </p:spPr>
        <p:txBody>
          <a:bodyPr>
            <a:normAutofit fontScale="92500" lnSpcReduction="20000"/>
          </a:bodyPr>
          <a:lstStyle/>
          <a:p>
            <a:pPr marL="0" indent="0">
              <a:buNone/>
            </a:pPr>
            <a:r>
              <a:rPr lang="en-US" sz="2000" kern="1200" dirty="0">
                <a:solidFill>
                  <a:schemeClr val="bg2">
                    <a:lumMod val="50000"/>
                    <a:lumOff val="50000"/>
                  </a:schemeClr>
                </a:solidFill>
                <a:latin typeface="+mn-lt"/>
                <a:ea typeface="+mn-ea"/>
                <a:cs typeface="+mn-cs"/>
              </a:rPr>
              <a:t>A hypothesis is a </a:t>
            </a:r>
            <a:r>
              <a:rPr lang="en-US" sz="2000" b="1" kern="1200" dirty="0">
                <a:solidFill>
                  <a:schemeClr val="bg2">
                    <a:lumMod val="50000"/>
                    <a:lumOff val="50000"/>
                  </a:schemeClr>
                </a:solidFill>
                <a:latin typeface="+mn-lt"/>
                <a:ea typeface="+mn-ea"/>
                <a:cs typeface="+mn-cs"/>
              </a:rPr>
              <a:t>tentative statement </a:t>
            </a:r>
            <a:r>
              <a:rPr lang="en-US" sz="2000" kern="1200" dirty="0">
                <a:solidFill>
                  <a:schemeClr val="bg2">
                    <a:lumMod val="50000"/>
                    <a:lumOff val="50000"/>
                  </a:schemeClr>
                </a:solidFill>
                <a:latin typeface="+mn-lt"/>
                <a:ea typeface="+mn-ea"/>
                <a:cs typeface="+mn-cs"/>
              </a:rPr>
              <a:t>about the relationship between </a:t>
            </a:r>
            <a:r>
              <a:rPr lang="en-US" sz="2000" b="1" kern="1200" dirty="0">
                <a:solidFill>
                  <a:schemeClr val="bg2">
                    <a:lumMod val="50000"/>
                    <a:lumOff val="50000"/>
                  </a:schemeClr>
                </a:solidFill>
                <a:latin typeface="+mn-lt"/>
                <a:ea typeface="+mn-ea"/>
                <a:cs typeface="+mn-cs"/>
              </a:rPr>
              <a:t>two or more variables</a:t>
            </a:r>
            <a:r>
              <a:rPr lang="en-US" sz="2000" kern="1200" dirty="0">
                <a:solidFill>
                  <a:schemeClr val="bg2">
                    <a:lumMod val="50000"/>
                    <a:lumOff val="50000"/>
                  </a:schemeClr>
                </a:solidFill>
                <a:latin typeface="+mn-lt"/>
                <a:ea typeface="+mn-ea"/>
                <a:cs typeface="+mn-cs"/>
              </a:rPr>
              <a:t>. It is a specific, testable prediction about what you expect to happen in a study.</a:t>
            </a:r>
          </a:p>
          <a:p>
            <a:pPr marL="0" indent="0">
              <a:buNone/>
            </a:pPr>
            <a:endParaRPr lang="en-US" sz="2000" kern="1200" dirty="0">
              <a:solidFill>
                <a:schemeClr val="bg2">
                  <a:lumMod val="50000"/>
                  <a:lumOff val="50000"/>
                </a:schemeClr>
              </a:solidFill>
              <a:latin typeface="+mn-lt"/>
              <a:ea typeface="+mn-ea"/>
              <a:cs typeface="+mn-cs"/>
            </a:endParaRPr>
          </a:p>
          <a:p>
            <a:pPr marL="0" indent="0" algn="l" fontAlgn="base">
              <a:buNone/>
            </a:pPr>
            <a:r>
              <a:rPr lang="en-US" sz="2000" b="1" kern="1200" dirty="0">
                <a:solidFill>
                  <a:schemeClr val="accent1"/>
                </a:solidFill>
                <a:latin typeface="+mn-lt"/>
                <a:ea typeface="+mn-ea"/>
                <a:cs typeface="+mn-cs"/>
              </a:rPr>
              <a:t>A few examples:</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at breakfast will perform better on a math exam than students who do not eat breakfast."</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Students who experience test anxiety prior to an English exam will get higher scores than students who do not experience test anxiety."​</a:t>
            </a:r>
          </a:p>
          <a:p>
            <a:pPr algn="l" fontAlgn="base">
              <a:buFont typeface="Arial" panose="020B0604020202020204" pitchFamily="34" charset="0"/>
              <a:buChar char="•"/>
            </a:pPr>
            <a:r>
              <a:rPr lang="en-US" sz="2000" kern="1200" dirty="0">
                <a:solidFill>
                  <a:schemeClr val="bg2">
                    <a:lumMod val="50000"/>
                    <a:lumOff val="50000"/>
                  </a:schemeClr>
                </a:solidFill>
                <a:latin typeface="+mn-lt"/>
                <a:ea typeface="+mn-ea"/>
                <a:cs typeface="+mn-cs"/>
              </a:rPr>
              <a:t>"Motorists who talk on the phone while driving will be more likely to make errors on a driving course than those who do not talk on the phone."</a:t>
            </a:r>
          </a:p>
          <a:p>
            <a:endParaRPr lang="en-US" dirty="0"/>
          </a:p>
        </p:txBody>
      </p:sp>
    </p:spTree>
    <p:extLst>
      <p:ext uri="{BB962C8B-B14F-4D97-AF65-F5344CB8AC3E}">
        <p14:creationId xmlns:p14="http://schemas.microsoft.com/office/powerpoint/2010/main" val="864598898"/>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A2DF-C782-43C3-85DD-ED0625E18554}"/>
              </a:ext>
            </a:extLst>
          </p:cNvPr>
          <p:cNvSpPr>
            <a:spLocks noGrp="1"/>
          </p:cNvSpPr>
          <p:nvPr>
            <p:ph type="title"/>
          </p:nvPr>
        </p:nvSpPr>
        <p:spPr>
          <a:xfrm>
            <a:off x="104702" y="179389"/>
            <a:ext cx="7955280" cy="640080"/>
          </a:xfrm>
        </p:spPr>
        <p:txBody>
          <a:bodyPr/>
          <a:lstStyle/>
          <a:p>
            <a:r>
              <a:rPr lang="en-US" dirty="0"/>
              <a:t>Blinding</a:t>
            </a:r>
          </a:p>
        </p:txBody>
      </p:sp>
      <p:sp>
        <p:nvSpPr>
          <p:cNvPr id="3" name="Content Placeholder 2">
            <a:extLst>
              <a:ext uri="{FF2B5EF4-FFF2-40B4-BE49-F238E27FC236}">
                <a16:creationId xmlns:a16="http://schemas.microsoft.com/office/drawing/2014/main" id="{CA9BD4F2-0478-4661-9007-E1477BAC0E01}"/>
              </a:ext>
            </a:extLst>
          </p:cNvPr>
          <p:cNvSpPr>
            <a:spLocks noGrp="1"/>
          </p:cNvSpPr>
          <p:nvPr>
            <p:ph sz="half" idx="13"/>
          </p:nvPr>
        </p:nvSpPr>
        <p:spPr>
          <a:xfrm>
            <a:off x="146583" y="819469"/>
            <a:ext cx="8606528" cy="3200400"/>
          </a:xfrm>
        </p:spPr>
        <p:txBody>
          <a:bodyPr/>
          <a:lstStyle/>
          <a:p>
            <a:pPr marL="0" indent="0">
              <a:buNone/>
            </a:pPr>
            <a:r>
              <a:rPr lang="en-US" sz="1900" kern="1200" dirty="0">
                <a:solidFill>
                  <a:schemeClr val="bg2">
                    <a:lumMod val="50000"/>
                    <a:lumOff val="50000"/>
                  </a:schemeClr>
                </a:solidFill>
                <a:latin typeface="+mn-lt"/>
                <a:ea typeface="+mn-ea"/>
                <a:cs typeface="+mn-cs"/>
              </a:rPr>
              <a:t>In medical trials, the term blinding, or double-blind, usually refers to the practice of keeping patients in the dark as to whether they are receiving a placebo or not. It can also refer to allocation concealment, which is used to avoid selection bias.</a:t>
            </a:r>
          </a:p>
          <a:p>
            <a:endParaRPr lang="en-US" dirty="0"/>
          </a:p>
        </p:txBody>
      </p:sp>
      <p:sp>
        <p:nvSpPr>
          <p:cNvPr id="7" name="TextBox 6">
            <a:extLst>
              <a:ext uri="{FF2B5EF4-FFF2-40B4-BE49-F238E27FC236}">
                <a16:creationId xmlns:a16="http://schemas.microsoft.com/office/drawing/2014/main" id="{57A9F8A8-4B62-43A5-827C-02314C36DAE8}"/>
              </a:ext>
            </a:extLst>
          </p:cNvPr>
          <p:cNvSpPr txBox="1"/>
          <p:nvPr/>
        </p:nvSpPr>
        <p:spPr>
          <a:xfrm>
            <a:off x="104702" y="205216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12" name="Picture 11">
            <a:extLst>
              <a:ext uri="{FF2B5EF4-FFF2-40B4-BE49-F238E27FC236}">
                <a16:creationId xmlns:a16="http://schemas.microsoft.com/office/drawing/2014/main" id="{FA7E0177-D7DE-4E84-A38C-4853407DF3DE}"/>
              </a:ext>
            </a:extLst>
          </p:cNvPr>
          <p:cNvPicPr>
            <a:picLocks noChangeAspect="1"/>
          </p:cNvPicPr>
          <p:nvPr/>
        </p:nvPicPr>
        <p:blipFill>
          <a:blip r:embed="rId2"/>
          <a:stretch>
            <a:fillRect/>
          </a:stretch>
        </p:blipFill>
        <p:spPr>
          <a:xfrm>
            <a:off x="7203518" y="1848169"/>
            <a:ext cx="1828800" cy="2171700"/>
          </a:xfrm>
          <a:prstGeom prst="rect">
            <a:avLst/>
          </a:prstGeom>
        </p:spPr>
      </p:pic>
    </p:spTree>
    <p:extLst>
      <p:ext uri="{BB962C8B-B14F-4D97-AF65-F5344CB8AC3E}">
        <p14:creationId xmlns:p14="http://schemas.microsoft.com/office/powerpoint/2010/main" val="339969583"/>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B2BFF-8604-46B0-8FE4-7231BB82B7EE}"/>
              </a:ext>
            </a:extLst>
          </p:cNvPr>
          <p:cNvSpPr>
            <a:spLocks noGrp="1"/>
          </p:cNvSpPr>
          <p:nvPr>
            <p:ph type="title"/>
          </p:nvPr>
        </p:nvSpPr>
        <p:spPr>
          <a:xfrm>
            <a:off x="137160" y="174163"/>
            <a:ext cx="7955280" cy="640080"/>
          </a:xfrm>
        </p:spPr>
        <p:txBody>
          <a:bodyPr/>
          <a:lstStyle/>
          <a:p>
            <a:r>
              <a:rPr lang="en-US" dirty="0"/>
              <a:t>Double Blinding</a:t>
            </a:r>
          </a:p>
        </p:txBody>
      </p:sp>
      <p:sp>
        <p:nvSpPr>
          <p:cNvPr id="3" name="Content Placeholder 2">
            <a:extLst>
              <a:ext uri="{FF2B5EF4-FFF2-40B4-BE49-F238E27FC236}">
                <a16:creationId xmlns:a16="http://schemas.microsoft.com/office/drawing/2014/main" id="{7D960FF3-9A2A-4E15-829A-89A59910B291}"/>
              </a:ext>
            </a:extLst>
          </p:cNvPr>
          <p:cNvSpPr>
            <a:spLocks noGrp="1"/>
          </p:cNvSpPr>
          <p:nvPr>
            <p:ph sz="half" idx="13"/>
          </p:nvPr>
        </p:nvSpPr>
        <p:spPr>
          <a:xfrm>
            <a:off x="204694" y="767197"/>
            <a:ext cx="8681040" cy="3200400"/>
          </a:xfrm>
        </p:spPr>
        <p:txBody>
          <a:bodyPr/>
          <a:lstStyle/>
          <a:p>
            <a:r>
              <a:rPr lang="en-US" sz="1900" kern="1200" dirty="0">
                <a:solidFill>
                  <a:schemeClr val="bg2">
                    <a:lumMod val="50000"/>
                    <a:lumOff val="50000"/>
                  </a:schemeClr>
                </a:solidFill>
                <a:latin typeface="+mn-lt"/>
                <a:ea typeface="+mn-ea"/>
                <a:cs typeface="+mn-cs"/>
              </a:rPr>
              <a:t>A double-blind study is one in which neither the participants nor the experimenters know who is receiving a particular treatment. </a:t>
            </a:r>
          </a:p>
        </p:txBody>
      </p:sp>
      <p:sp>
        <p:nvSpPr>
          <p:cNvPr id="5" name="Rectangle 4">
            <a:extLst>
              <a:ext uri="{FF2B5EF4-FFF2-40B4-BE49-F238E27FC236}">
                <a16:creationId xmlns:a16="http://schemas.microsoft.com/office/drawing/2014/main" id="{467F6821-631D-4CAA-A896-3A96D96D480A}"/>
              </a:ext>
            </a:extLst>
          </p:cNvPr>
          <p:cNvSpPr/>
          <p:nvPr/>
        </p:nvSpPr>
        <p:spPr>
          <a:xfrm>
            <a:off x="137160" y="3561440"/>
            <a:ext cx="8606527" cy="767817"/>
          </a:xfrm>
          <a:prstGeom prst="rect">
            <a:avLst/>
          </a:prstGeom>
          <a:solidFill>
            <a:schemeClr val="tx1">
              <a:lumMod val="20000"/>
              <a:lumOff val="80000"/>
            </a:schemeClr>
          </a:solidFill>
          <a:ln w="12700" cmpd="sng">
            <a:noFill/>
          </a:ln>
          <a:effectLst/>
        </p:spPr>
        <p:txBody>
          <a:bodyPr wrap="square" lIns="182880" tIns="137160" rIns="137160" bIns="137160" rtlCol="0" anchor="ctr">
            <a:noAutofit/>
          </a:bodyPr>
          <a:lstStyle/>
          <a:p>
            <a:pPr>
              <a:lnSpc>
                <a:spcPct val="90000"/>
              </a:lnSpc>
              <a:spcBef>
                <a:spcPts val="600"/>
              </a:spcBef>
              <a:spcAft>
                <a:spcPts val="0"/>
              </a:spcAft>
            </a:pPr>
            <a:r>
              <a:rPr lang="en-US" sz="1200" dirty="0">
                <a:latin typeface="+mn-lt"/>
              </a:rPr>
              <a:t>Blinding and double blinding are methods that are used to try and eliminate bias that occurs when researchers and the subject are aware of which group is in which study </a:t>
            </a:r>
          </a:p>
        </p:txBody>
      </p:sp>
      <p:sp>
        <p:nvSpPr>
          <p:cNvPr id="6" name="Rectangle 5">
            <a:extLst>
              <a:ext uri="{FF2B5EF4-FFF2-40B4-BE49-F238E27FC236}">
                <a16:creationId xmlns:a16="http://schemas.microsoft.com/office/drawing/2014/main" id="{CB4C82C2-5050-4599-A646-370098578078}"/>
              </a:ext>
            </a:extLst>
          </p:cNvPr>
          <p:cNvSpPr/>
          <p:nvPr/>
        </p:nvSpPr>
        <p:spPr>
          <a:xfrm>
            <a:off x="137161" y="3561441"/>
            <a:ext cx="135066" cy="753856"/>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7" name="TextBox 6">
            <a:extLst>
              <a:ext uri="{FF2B5EF4-FFF2-40B4-BE49-F238E27FC236}">
                <a16:creationId xmlns:a16="http://schemas.microsoft.com/office/drawing/2014/main" id="{951382A6-2BCC-493A-B623-979398C5254C}"/>
              </a:ext>
            </a:extLst>
          </p:cNvPr>
          <p:cNvSpPr txBox="1"/>
          <p:nvPr/>
        </p:nvSpPr>
        <p:spPr>
          <a:xfrm>
            <a:off x="137160" y="1702653"/>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pic>
        <p:nvPicPr>
          <p:cNvPr id="8" name="Picture 7" descr="Icon&#10;&#10;Description automatically generated">
            <a:extLst>
              <a:ext uri="{FF2B5EF4-FFF2-40B4-BE49-F238E27FC236}">
                <a16:creationId xmlns:a16="http://schemas.microsoft.com/office/drawing/2014/main" id="{60E230BE-A23E-4204-8EAF-66940F443B7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327980" y="1606424"/>
            <a:ext cx="2678860" cy="1607316"/>
          </a:xfrm>
          <a:prstGeom prst="rect">
            <a:avLst/>
          </a:prstGeom>
        </p:spPr>
      </p:pic>
    </p:spTree>
    <p:extLst>
      <p:ext uri="{BB962C8B-B14F-4D97-AF65-F5344CB8AC3E}">
        <p14:creationId xmlns:p14="http://schemas.microsoft.com/office/powerpoint/2010/main" val="643188253"/>
      </p:ext>
    </p:extLst>
  </p:cSld>
  <p:clrMapOvr>
    <a:masterClrMapping/>
  </p:clrMapOvr>
  <p:transition spd="med">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A2F82-C58B-485C-BE38-1016ABFCB027}"/>
              </a:ext>
            </a:extLst>
          </p:cNvPr>
          <p:cNvSpPr>
            <a:spLocks noGrp="1"/>
          </p:cNvSpPr>
          <p:nvPr>
            <p:ph type="title"/>
          </p:nvPr>
        </p:nvSpPr>
        <p:spPr>
          <a:xfrm>
            <a:off x="50954" y="118322"/>
            <a:ext cx="7955280" cy="640080"/>
          </a:xfrm>
        </p:spPr>
        <p:txBody>
          <a:bodyPr/>
          <a:lstStyle/>
          <a:p>
            <a:r>
              <a:rPr lang="en-US" dirty="0"/>
              <a:t>Why blinding is important in Statistics?</a:t>
            </a:r>
          </a:p>
        </p:txBody>
      </p:sp>
      <p:sp>
        <p:nvSpPr>
          <p:cNvPr id="3" name="Content Placeholder 2">
            <a:extLst>
              <a:ext uri="{FF2B5EF4-FFF2-40B4-BE49-F238E27FC236}">
                <a16:creationId xmlns:a16="http://schemas.microsoft.com/office/drawing/2014/main" id="{2FB9D893-65BA-48E9-9032-45983A01F364}"/>
              </a:ext>
            </a:extLst>
          </p:cNvPr>
          <p:cNvSpPr>
            <a:spLocks noGrp="1"/>
          </p:cNvSpPr>
          <p:nvPr>
            <p:ph sz="half" idx="13"/>
          </p:nvPr>
        </p:nvSpPr>
        <p:spPr>
          <a:xfrm>
            <a:off x="169617" y="971550"/>
            <a:ext cx="7836617" cy="3200400"/>
          </a:xfrm>
        </p:spPr>
        <p:txBody>
          <a:bodyPr/>
          <a:lstStyle/>
          <a:p>
            <a:r>
              <a:rPr lang="en-US" sz="1900" kern="1200" dirty="0">
                <a:solidFill>
                  <a:schemeClr val="bg2">
                    <a:lumMod val="50000"/>
                    <a:lumOff val="50000"/>
                  </a:schemeClr>
                </a:solidFill>
                <a:latin typeface="+mn-lt"/>
                <a:ea typeface="+mn-ea"/>
                <a:cs typeface="+mn-cs"/>
              </a:rPr>
              <a:t>Blinding is especially important in subjective trials to avoid skewed results</a:t>
            </a:r>
            <a:r>
              <a:rPr lang="en-US" sz="1800" kern="12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t>
            </a:r>
            <a:r>
              <a:rPr lang="en-US" sz="1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dirty="0"/>
          </a:p>
        </p:txBody>
      </p:sp>
      <p:sp>
        <p:nvSpPr>
          <p:cNvPr id="5" name="TextBox 4">
            <a:extLst>
              <a:ext uri="{FF2B5EF4-FFF2-40B4-BE49-F238E27FC236}">
                <a16:creationId xmlns:a16="http://schemas.microsoft.com/office/drawing/2014/main" id="{5918F907-DDBC-4B77-AF68-08312351098E}"/>
              </a:ext>
            </a:extLst>
          </p:cNvPr>
          <p:cNvSpPr txBox="1"/>
          <p:nvPr/>
        </p:nvSpPr>
        <p:spPr>
          <a:xfrm>
            <a:off x="169617" y="1793395"/>
            <a:ext cx="495591"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a:t>
            </a:r>
          </a:p>
        </p:txBody>
      </p:sp>
    </p:spTree>
    <p:extLst>
      <p:ext uri="{BB962C8B-B14F-4D97-AF65-F5344CB8AC3E}">
        <p14:creationId xmlns:p14="http://schemas.microsoft.com/office/powerpoint/2010/main" val="2582633460"/>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1D351213-FBD3-480C-A88B-DF5DA84D003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0"/>
            <a:ext cx="9144000" cy="5143500"/>
          </a:xfrm>
          <a:prstGeom prst="rect">
            <a:avLst/>
          </a:prstGeom>
        </p:spPr>
      </p:pic>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173" name="think-cell Slide" r:id="rId8" imgW="529" imgH="530" progId="TCLayout.ActiveDocument.1">
                  <p:embed/>
                </p:oleObj>
              </mc:Choice>
              <mc:Fallback>
                <p:oleObj name="think-cell Slide" r:id="rId8"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9"/>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75610" y="1382590"/>
            <a:ext cx="8992779" cy="3035543"/>
          </a:xfrm>
        </p:spPr>
        <p:txBody>
          <a:bodyPr/>
          <a:lstStyle/>
          <a:p>
            <a:r>
              <a:rPr lang="en-US" sz="4800" dirty="0">
                <a:solidFill>
                  <a:schemeClr val="tx2"/>
                </a:solidFill>
              </a:rPr>
              <a:t>Describing Data through Statistics</a:t>
            </a:r>
            <a:br>
              <a:rPr lang="en-US" dirty="0"/>
            </a:br>
            <a:br>
              <a:rPr lang="en-US" dirty="0"/>
            </a:br>
            <a:r>
              <a:rPr lang="en-US" dirty="0"/>
              <a:t> </a:t>
            </a:r>
          </a:p>
        </p:txBody>
      </p:sp>
    </p:spTree>
    <p:extLst>
      <p:ext uri="{BB962C8B-B14F-4D97-AF65-F5344CB8AC3E}">
        <p14:creationId xmlns:p14="http://schemas.microsoft.com/office/powerpoint/2010/main" val="850901763"/>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180"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Central Tendency</a:t>
            </a:r>
            <a:br>
              <a:rPr lang="en-US" dirty="0"/>
            </a:br>
            <a:br>
              <a:rPr lang="en-US" dirty="0"/>
            </a:br>
            <a:r>
              <a:rPr lang="en-US" dirty="0"/>
              <a:t> </a:t>
            </a:r>
          </a:p>
        </p:txBody>
      </p:sp>
    </p:spTree>
    <p:extLst>
      <p:ext uri="{BB962C8B-B14F-4D97-AF65-F5344CB8AC3E}">
        <p14:creationId xmlns:p14="http://schemas.microsoft.com/office/powerpoint/2010/main" val="665294110"/>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B17AC-8C6F-4E8F-927B-93ABAEA6606B}"/>
              </a:ext>
            </a:extLst>
          </p:cNvPr>
          <p:cNvSpPr>
            <a:spLocks noGrp="1"/>
          </p:cNvSpPr>
          <p:nvPr>
            <p:ph type="title"/>
          </p:nvPr>
        </p:nvSpPr>
        <p:spPr>
          <a:xfrm>
            <a:off x="261756" y="147311"/>
            <a:ext cx="8229600" cy="637794"/>
          </a:xfrm>
        </p:spPr>
        <p:txBody>
          <a:bodyPr/>
          <a:lstStyle/>
          <a:p>
            <a:r>
              <a:rPr lang="en-US" dirty="0"/>
              <a:t>Finding Central Value</a:t>
            </a:r>
          </a:p>
        </p:txBody>
      </p:sp>
      <p:sp>
        <p:nvSpPr>
          <p:cNvPr id="3" name="TextBox 2">
            <a:extLst>
              <a:ext uri="{FF2B5EF4-FFF2-40B4-BE49-F238E27FC236}">
                <a16:creationId xmlns:a16="http://schemas.microsoft.com/office/drawing/2014/main" id="{338B153F-82EC-4EC3-A01C-319C19798D05}"/>
              </a:ext>
            </a:extLst>
          </p:cNvPr>
          <p:cNvSpPr txBox="1"/>
          <p:nvPr/>
        </p:nvSpPr>
        <p:spPr>
          <a:xfrm>
            <a:off x="349008" y="1088904"/>
            <a:ext cx="6421740" cy="181588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For Two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and 7 </a:t>
            </a:r>
          </a:p>
          <a:p>
            <a:pPr>
              <a:spcBef>
                <a:spcPts val="0"/>
              </a:spcBef>
              <a:spcAft>
                <a:spcPts val="0"/>
              </a:spcAft>
              <a:buClr>
                <a:schemeClr val="bg1"/>
              </a:buClr>
            </a:pPr>
            <a:r>
              <a:rPr lang="en-US" sz="1400" dirty="0">
                <a:solidFill>
                  <a:schemeClr val="bg2">
                    <a:lumMod val="50000"/>
                    <a:lumOff val="50000"/>
                  </a:schemeClr>
                </a:solidFill>
                <a:latin typeface="+mn-lt"/>
              </a:rPr>
              <a:t>	</a:t>
            </a: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 </a:t>
            </a:r>
            <a:r>
              <a:rPr lang="en-US" sz="1400" dirty="0">
                <a:solidFill>
                  <a:schemeClr val="bg2">
                    <a:lumMod val="50000"/>
                    <a:lumOff val="50000"/>
                  </a:schemeClr>
                </a:solidFill>
                <a:latin typeface="+mn-lt"/>
              </a:rPr>
              <a:t>+ 7) / 2 = </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b="1" dirty="0">
                <a:solidFill>
                  <a:schemeClr val="bg2">
                    <a:lumMod val="50000"/>
                    <a:lumOff val="50000"/>
                  </a:schemeClr>
                </a:solidFill>
                <a:latin typeface="+mn-lt"/>
              </a:rPr>
              <a:t>For three numbers </a:t>
            </a:r>
            <a:r>
              <a:rPr lang="en-US" sz="1400" b="1">
                <a:solidFill>
                  <a:schemeClr val="bg2">
                    <a:lumMod val="50000"/>
                    <a:lumOff val="50000"/>
                  </a:schemeClr>
                </a:solidFill>
                <a:latin typeface="+mn-lt"/>
              </a:rPr>
              <a:t>: 3, </a:t>
            </a:r>
            <a:r>
              <a:rPr lang="en-US" sz="1400" b="1" dirty="0">
                <a:solidFill>
                  <a:schemeClr val="bg2">
                    <a:lumMod val="50000"/>
                    <a:lumOff val="50000"/>
                  </a:schemeClr>
                </a:solidFill>
                <a:latin typeface="+mn-lt"/>
              </a:rPr>
              <a:t>7, 8</a:t>
            </a:r>
          </a:p>
          <a:p>
            <a:pPr>
              <a:spcBef>
                <a:spcPts val="0"/>
              </a:spcBef>
              <a:spcAft>
                <a:spcPts val="0"/>
              </a:spcAft>
              <a:buClr>
                <a:schemeClr val="bg1"/>
              </a:buClr>
            </a:pPr>
            <a:endParaRPr lang="en-US" sz="1400" dirty="0">
              <a:solidFill>
                <a:schemeClr val="bg2">
                  <a:lumMod val="50000"/>
                  <a:lumOff val="50000"/>
                </a:schemeClr>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mn-lt"/>
              </a:rPr>
              <a:t>	Central value </a:t>
            </a:r>
            <a:r>
              <a:rPr lang="en-US" sz="1400">
                <a:solidFill>
                  <a:schemeClr val="bg2">
                    <a:lumMod val="50000"/>
                    <a:lumOff val="50000"/>
                  </a:schemeClr>
                </a:solidFill>
                <a:latin typeface="+mn-lt"/>
              </a:rPr>
              <a:t>: (3+7+8</a:t>
            </a:r>
            <a:r>
              <a:rPr lang="en-US" sz="1400" dirty="0">
                <a:solidFill>
                  <a:schemeClr val="bg2">
                    <a:lumMod val="50000"/>
                    <a:lumOff val="50000"/>
                  </a:schemeClr>
                </a:solidFill>
                <a:latin typeface="+mn-lt"/>
              </a:rPr>
              <a:t>) / 2 = </a:t>
            </a:r>
          </a:p>
        </p:txBody>
      </p:sp>
    </p:spTree>
    <p:extLst>
      <p:ext uri="{BB962C8B-B14F-4D97-AF65-F5344CB8AC3E}">
        <p14:creationId xmlns:p14="http://schemas.microsoft.com/office/powerpoint/2010/main" val="3501129861"/>
      </p:ext>
    </p:extLst>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3019A-8969-4E41-917D-0CD27630D77D}"/>
              </a:ext>
            </a:extLst>
          </p:cNvPr>
          <p:cNvSpPr>
            <a:spLocks noGrp="1"/>
          </p:cNvSpPr>
          <p:nvPr>
            <p:ph type="title"/>
          </p:nvPr>
        </p:nvSpPr>
        <p:spPr>
          <a:xfrm>
            <a:off x="0" y="0"/>
            <a:ext cx="8229600" cy="637794"/>
          </a:xfrm>
        </p:spPr>
        <p:txBody>
          <a:bodyPr/>
          <a:lstStyle/>
          <a:p>
            <a:r>
              <a:rPr lang="en-US" dirty="0"/>
              <a:t>Measure of Central Tendency</a:t>
            </a:r>
          </a:p>
        </p:txBody>
      </p:sp>
      <p:sp>
        <p:nvSpPr>
          <p:cNvPr id="4" name="Content Placeholder 2">
            <a:extLst>
              <a:ext uri="{FF2B5EF4-FFF2-40B4-BE49-F238E27FC236}">
                <a16:creationId xmlns:a16="http://schemas.microsoft.com/office/drawing/2014/main" id="{39E72A63-31AC-4F6E-9D77-DF5F16FB8C2D}"/>
              </a:ext>
            </a:extLst>
          </p:cNvPr>
          <p:cNvSpPr txBox="1">
            <a:spLocks/>
          </p:cNvSpPr>
          <p:nvPr/>
        </p:nvSpPr>
        <p:spPr>
          <a:xfrm>
            <a:off x="196491" y="637794"/>
            <a:ext cx="7836617" cy="3200400"/>
          </a:xfrm>
          <a:prstGeom prst="rect">
            <a:avLst/>
          </a:prstGeom>
        </p:spPr>
        <p:txBody>
          <a:bodyPr/>
          <a:lst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r>
              <a:rPr lang="en-US" sz="1900" b="1" kern="1200" dirty="0">
                <a:solidFill>
                  <a:schemeClr val="bg2">
                    <a:lumMod val="50000"/>
                    <a:lumOff val="50000"/>
                  </a:schemeClr>
                </a:solidFill>
                <a:latin typeface="+mn-lt"/>
                <a:ea typeface="+mn-ea"/>
              </a:rPr>
              <a:t>Measure of central tendency </a:t>
            </a:r>
            <a:r>
              <a:rPr lang="en-US" sz="1900" i="1" kern="1200" dirty="0">
                <a:solidFill>
                  <a:schemeClr val="bg2">
                    <a:lumMod val="50000"/>
                    <a:lumOff val="50000"/>
                  </a:schemeClr>
                </a:solidFill>
                <a:latin typeface="+mn-lt"/>
                <a:ea typeface="+mn-ea"/>
              </a:rPr>
              <a:t>yield information about the center, or middle part,</a:t>
            </a:r>
            <a:r>
              <a:rPr lang="en-US" sz="1900" kern="1200" dirty="0">
                <a:solidFill>
                  <a:schemeClr val="bg2">
                    <a:lumMod val="50000"/>
                    <a:lumOff val="50000"/>
                  </a:schemeClr>
                </a:solidFill>
                <a:latin typeface="+mn-lt"/>
                <a:ea typeface="+mn-ea"/>
              </a:rPr>
              <a:t> </a:t>
            </a:r>
            <a:r>
              <a:rPr lang="en-US" sz="1900" i="1" kern="1200" dirty="0">
                <a:solidFill>
                  <a:schemeClr val="bg2">
                    <a:lumMod val="50000"/>
                    <a:lumOff val="50000"/>
                  </a:schemeClr>
                </a:solidFill>
                <a:latin typeface="+mn-lt"/>
                <a:ea typeface="+mn-ea"/>
              </a:rPr>
              <a:t>of a group of numbers</a:t>
            </a:r>
            <a:endParaRPr lang="en-US" i="1" kern="0" dirty="0"/>
          </a:p>
        </p:txBody>
      </p:sp>
      <p:sp>
        <p:nvSpPr>
          <p:cNvPr id="5" name="Rectangle 4">
            <a:extLst>
              <a:ext uri="{FF2B5EF4-FFF2-40B4-BE49-F238E27FC236}">
                <a16:creationId xmlns:a16="http://schemas.microsoft.com/office/drawing/2014/main" id="{A43048EA-074A-4CE3-A9B1-938902706637}"/>
              </a:ext>
            </a:extLst>
          </p:cNvPr>
          <p:cNvSpPr/>
          <p:nvPr/>
        </p:nvSpPr>
        <p:spPr>
          <a:xfrm>
            <a:off x="320041"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6" name="TextBox 5">
            <a:extLst>
              <a:ext uri="{FF2B5EF4-FFF2-40B4-BE49-F238E27FC236}">
                <a16:creationId xmlns:a16="http://schemas.microsoft.com/office/drawing/2014/main" id="{700023B3-6EF9-4F3A-8FD6-79F54B337413}"/>
              </a:ext>
            </a:extLst>
          </p:cNvPr>
          <p:cNvSpPr txBox="1"/>
          <p:nvPr/>
        </p:nvSpPr>
        <p:spPr>
          <a:xfrm>
            <a:off x="390889" y="1745038"/>
            <a:ext cx="1961422" cy="1631216"/>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AN :</a:t>
            </a:r>
          </a:p>
          <a:p>
            <a:pPr>
              <a:spcBef>
                <a:spcPts val="0"/>
              </a:spcBef>
              <a:spcAft>
                <a:spcPts val="0"/>
              </a:spcAft>
              <a:buClr>
                <a:schemeClr val="bg1"/>
              </a:buClr>
            </a:pPr>
            <a:endParaRPr lang="en-US" sz="14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a:t>
            </a:r>
            <a:r>
              <a:rPr lang="en-US" sz="1800" b="0" i="0" dirty="0">
                <a:solidFill>
                  <a:schemeClr val="bg2">
                    <a:lumMod val="50000"/>
                    <a:lumOff val="50000"/>
                  </a:schemeClr>
                </a:solidFill>
                <a:effectLst/>
                <a:latin typeface="Inter"/>
              </a:rPr>
              <a:t>he sum of all values divided by the total number of values</a:t>
            </a:r>
            <a:endParaRPr lang="en-US" b="1" dirty="0">
              <a:solidFill>
                <a:schemeClr val="bg2">
                  <a:lumMod val="50000"/>
                  <a:lumOff val="50000"/>
                </a:schemeClr>
              </a:solidFill>
              <a:latin typeface="+mn-lt"/>
            </a:endParaRPr>
          </a:p>
        </p:txBody>
      </p:sp>
      <p:sp>
        <p:nvSpPr>
          <p:cNvPr id="7" name="Rectangle 6">
            <a:extLst>
              <a:ext uri="{FF2B5EF4-FFF2-40B4-BE49-F238E27FC236}">
                <a16:creationId xmlns:a16="http://schemas.microsoft.com/office/drawing/2014/main" id="{1A7A125E-8E88-4D2C-B02B-C3AD10A4C40F}"/>
              </a:ext>
            </a:extLst>
          </p:cNvPr>
          <p:cNvSpPr/>
          <p:nvPr/>
        </p:nvSpPr>
        <p:spPr>
          <a:xfrm>
            <a:off x="3306964"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8" name="TextBox 7">
            <a:extLst>
              <a:ext uri="{FF2B5EF4-FFF2-40B4-BE49-F238E27FC236}">
                <a16:creationId xmlns:a16="http://schemas.microsoft.com/office/drawing/2014/main" id="{89DAB812-C601-44F9-A00D-018D6B1E0839}"/>
              </a:ext>
            </a:extLst>
          </p:cNvPr>
          <p:cNvSpPr txBox="1"/>
          <p:nvPr/>
        </p:nvSpPr>
        <p:spPr>
          <a:xfrm>
            <a:off x="3377812" y="1745038"/>
            <a:ext cx="1961422" cy="130805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EDIAN :</a:t>
            </a:r>
            <a:endParaRPr lang="en-US" sz="1100" b="1" dirty="0">
              <a:solidFill>
                <a:schemeClr val="accent1"/>
              </a:solidFill>
              <a:latin typeface="+mn-lt"/>
            </a:endParaRPr>
          </a:p>
          <a:p>
            <a:pPr>
              <a:spcBef>
                <a:spcPts val="0"/>
              </a:spcBef>
              <a:spcAft>
                <a:spcPts val="0"/>
              </a:spcAft>
              <a:buClr>
                <a:schemeClr val="bg1"/>
              </a:buClr>
            </a:pPr>
            <a:endParaRPr lang="en-US" sz="1100" b="1" dirty="0">
              <a:solidFill>
                <a:schemeClr val="accent1"/>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Inter"/>
              </a:rPr>
              <a:t>The middle number in an ordered data set</a:t>
            </a:r>
          </a:p>
        </p:txBody>
      </p:sp>
      <p:sp>
        <p:nvSpPr>
          <p:cNvPr id="9" name="Rectangle 8">
            <a:extLst>
              <a:ext uri="{FF2B5EF4-FFF2-40B4-BE49-F238E27FC236}">
                <a16:creationId xmlns:a16="http://schemas.microsoft.com/office/drawing/2014/main" id="{905A28FF-286E-472E-85BF-8CEB657F1CF3}"/>
              </a:ext>
            </a:extLst>
          </p:cNvPr>
          <p:cNvSpPr/>
          <p:nvPr/>
        </p:nvSpPr>
        <p:spPr>
          <a:xfrm>
            <a:off x="6293888" y="1584495"/>
            <a:ext cx="2226668" cy="1926522"/>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67FCE0DA-E98D-49E1-B9C2-4C30AF458A0C}"/>
              </a:ext>
            </a:extLst>
          </p:cNvPr>
          <p:cNvSpPr txBox="1"/>
          <p:nvPr/>
        </p:nvSpPr>
        <p:spPr>
          <a:xfrm>
            <a:off x="6364736" y="1745038"/>
            <a:ext cx="1961422" cy="892552"/>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accent1"/>
                </a:solidFill>
                <a:latin typeface="+mn-lt"/>
              </a:rPr>
              <a:t>MODE :</a:t>
            </a:r>
            <a:endParaRPr lang="en-US" sz="1000" b="1" dirty="0">
              <a:solidFill>
                <a:schemeClr val="accent1"/>
              </a:solidFill>
              <a:latin typeface="+mn-lt"/>
            </a:endParaRPr>
          </a:p>
          <a:p>
            <a:pPr>
              <a:spcBef>
                <a:spcPts val="0"/>
              </a:spcBef>
              <a:spcAft>
                <a:spcPts val="0"/>
              </a:spcAft>
              <a:buClr>
                <a:schemeClr val="bg1"/>
              </a:buClr>
            </a:pPr>
            <a:endParaRPr lang="en-US" sz="1000" b="1" dirty="0">
              <a:solidFill>
                <a:schemeClr val="accent1"/>
              </a:solidFill>
              <a:latin typeface="+mn-lt"/>
            </a:endParaRPr>
          </a:p>
          <a:p>
            <a:pPr>
              <a:spcBef>
                <a:spcPts val="0"/>
              </a:spcBef>
              <a:spcAft>
                <a:spcPts val="0"/>
              </a:spcAft>
              <a:buClr>
                <a:schemeClr val="bg1"/>
              </a:buClr>
            </a:pPr>
            <a:r>
              <a:rPr lang="en-US" sz="1400" dirty="0">
                <a:solidFill>
                  <a:schemeClr val="bg2">
                    <a:lumMod val="50000"/>
                    <a:lumOff val="50000"/>
                  </a:schemeClr>
                </a:solidFill>
                <a:latin typeface="Inter"/>
              </a:rPr>
              <a:t>The most frequent value</a:t>
            </a:r>
          </a:p>
          <a:p>
            <a:pPr>
              <a:spcBef>
                <a:spcPts val="0"/>
              </a:spcBef>
              <a:spcAft>
                <a:spcPts val="0"/>
              </a:spcAft>
              <a:buClr>
                <a:schemeClr val="bg1"/>
              </a:buClr>
            </a:pPr>
            <a:endParaRPr lang="en-US" sz="1400" b="1" dirty="0">
              <a:solidFill>
                <a:schemeClr val="accent1"/>
              </a:solidFill>
              <a:latin typeface="+mn-lt"/>
            </a:endParaRPr>
          </a:p>
        </p:txBody>
      </p:sp>
    </p:spTree>
    <p:extLst>
      <p:ext uri="{BB962C8B-B14F-4D97-AF65-F5344CB8AC3E}">
        <p14:creationId xmlns:p14="http://schemas.microsoft.com/office/powerpoint/2010/main" val="4068607360"/>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8C326E3-E793-4419-9749-AAB5C1FA8435}"/>
              </a:ext>
            </a:extLst>
          </p:cNvPr>
          <p:cNvSpPr>
            <a:spLocks noGrp="1"/>
          </p:cNvSpPr>
          <p:nvPr>
            <p:ph type="body" sz="quarter" idx="10"/>
          </p:nvPr>
        </p:nvSpPr>
        <p:spPr>
          <a:xfrm>
            <a:off x="274318" y="659921"/>
            <a:ext cx="7955280" cy="238842"/>
          </a:xfrm>
        </p:spPr>
        <p:txBody>
          <a:bodyPr/>
          <a:lstStyle/>
          <a:p>
            <a:pPr marL="0" indent="0">
              <a:buNone/>
            </a:pPr>
            <a:r>
              <a:rPr lang="en-US" dirty="0"/>
              <a:t>Let’s </a:t>
            </a:r>
            <a:r>
              <a:rPr lang="en-US" dirty="0" err="1"/>
              <a:t>Gooooooooooo</a:t>
            </a:r>
            <a:r>
              <a:rPr lang="en-US" dirty="0"/>
              <a:t>… </a:t>
            </a:r>
          </a:p>
        </p:txBody>
      </p:sp>
      <p:sp>
        <p:nvSpPr>
          <p:cNvPr id="2" name="Title 1">
            <a:extLst>
              <a:ext uri="{FF2B5EF4-FFF2-40B4-BE49-F238E27FC236}">
                <a16:creationId xmlns:a16="http://schemas.microsoft.com/office/drawing/2014/main" id="{4643F953-1C23-46FD-AAAE-48D1EF3239AA}"/>
              </a:ext>
            </a:extLst>
          </p:cNvPr>
          <p:cNvSpPr>
            <a:spLocks noGrp="1"/>
          </p:cNvSpPr>
          <p:nvPr>
            <p:ph type="title"/>
          </p:nvPr>
        </p:nvSpPr>
        <p:spPr>
          <a:xfrm>
            <a:off x="176597" y="73388"/>
            <a:ext cx="7955280" cy="640080"/>
          </a:xfrm>
        </p:spPr>
        <p:txBody>
          <a:bodyPr>
            <a:normAutofit/>
          </a:bodyPr>
          <a:lstStyle/>
          <a:p>
            <a:r>
              <a:rPr lang="en-US" sz="3200" dirty="0"/>
              <a:t>Ready ??????????????</a:t>
            </a:r>
            <a:endParaRPr lang="en-US" dirty="0"/>
          </a:p>
        </p:txBody>
      </p:sp>
      <p:pic>
        <p:nvPicPr>
          <p:cNvPr id="6" name="Picture 5" descr="A red car driving on a road&#10;&#10;Description automatically generated with medium confidence">
            <a:extLst>
              <a:ext uri="{FF2B5EF4-FFF2-40B4-BE49-F238E27FC236}">
                <a16:creationId xmlns:a16="http://schemas.microsoft.com/office/drawing/2014/main" id="{24B9B8C4-AA54-41BC-B108-D9677BC8109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74318" y="1189538"/>
            <a:ext cx="6908259" cy="3570926"/>
          </a:xfrm>
          <a:prstGeom prst="rect">
            <a:avLst/>
          </a:prstGeom>
        </p:spPr>
      </p:pic>
    </p:spTree>
    <p:extLst>
      <p:ext uri="{BB962C8B-B14F-4D97-AF65-F5344CB8AC3E}">
        <p14:creationId xmlns:p14="http://schemas.microsoft.com/office/powerpoint/2010/main" val="379037975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p:spTree>
    <p:extLst>
      <p:ext uri="{BB962C8B-B14F-4D97-AF65-F5344CB8AC3E}">
        <p14:creationId xmlns:p14="http://schemas.microsoft.com/office/powerpoint/2010/main" val="2602528787"/>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6C7DD8-E1BC-4EBD-BFD4-E6A6AF47F2E0}"/>
              </a:ext>
            </a:extLst>
          </p:cNvPr>
          <p:cNvSpPr>
            <a:spLocks noGrp="1"/>
          </p:cNvSpPr>
          <p:nvPr>
            <p:ph type="title"/>
          </p:nvPr>
        </p:nvSpPr>
        <p:spPr>
          <a:xfrm>
            <a:off x="113776" y="118322"/>
            <a:ext cx="7955280" cy="640080"/>
          </a:xfrm>
        </p:spPr>
        <p:txBody>
          <a:bodyPr/>
          <a:lstStyle/>
          <a:p>
            <a:r>
              <a:rPr lang="en-US" dirty="0"/>
              <a:t>Mean </a:t>
            </a:r>
          </a:p>
        </p:txBody>
      </p:sp>
      <p:sp>
        <p:nvSpPr>
          <p:cNvPr id="4" name="Content Placeholder 3">
            <a:extLst>
              <a:ext uri="{FF2B5EF4-FFF2-40B4-BE49-F238E27FC236}">
                <a16:creationId xmlns:a16="http://schemas.microsoft.com/office/drawing/2014/main" id="{76ABAD4C-07E6-4B48-A259-F8E361E4AAD0}"/>
              </a:ext>
            </a:extLst>
          </p:cNvPr>
          <p:cNvSpPr>
            <a:spLocks noGrp="1"/>
          </p:cNvSpPr>
          <p:nvPr>
            <p:ph sz="half" idx="1"/>
          </p:nvPr>
        </p:nvSpPr>
        <p:spPr>
          <a:xfrm>
            <a:off x="113776" y="828544"/>
            <a:ext cx="7955280" cy="3017520"/>
          </a:xfrm>
        </p:spPr>
        <p:txBody>
          <a:bodyPr/>
          <a:lstStyle/>
          <a:p>
            <a:r>
              <a:rPr lang="en-US" dirty="0"/>
              <a:t>The mean is the average of a group of number and is computed by summing all numbers and dividing by the number of numbers.</a:t>
            </a:r>
          </a:p>
          <a:p>
            <a:endParaRPr lang="en-US" dirty="0"/>
          </a:p>
          <a:p>
            <a:pPr marL="0" indent="0">
              <a:buNone/>
            </a:pPr>
            <a:r>
              <a:rPr lang="en-US" b="1" dirty="0"/>
              <a:t>Ex: </a:t>
            </a:r>
            <a:r>
              <a:rPr lang="en-US" dirty="0"/>
              <a:t>of a Jumping castle</a:t>
            </a:r>
          </a:p>
          <a:p>
            <a:endParaRPr lang="en-US" dirty="0"/>
          </a:p>
          <a:p>
            <a:pPr marL="0" indent="0">
              <a:buNone/>
            </a:pPr>
            <a:endParaRPr lang="en-US" dirty="0"/>
          </a:p>
        </p:txBody>
      </p:sp>
      <p:pic>
        <p:nvPicPr>
          <p:cNvPr id="8" name="Picture 7" descr="A picture containing tree, outdoor, colorful&#10;&#10;Description automatically generated">
            <a:extLst>
              <a:ext uri="{FF2B5EF4-FFF2-40B4-BE49-F238E27FC236}">
                <a16:creationId xmlns:a16="http://schemas.microsoft.com/office/drawing/2014/main" id="{431D9C13-880E-4616-A698-2D43B2DD595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40741" y="1898600"/>
            <a:ext cx="2919771" cy="1947464"/>
          </a:xfrm>
          <a:prstGeom prst="rect">
            <a:avLst/>
          </a:prstGeom>
        </p:spPr>
      </p:pic>
      <p:sp>
        <p:nvSpPr>
          <p:cNvPr id="10" name="TextBox 9">
            <a:extLst>
              <a:ext uri="{FF2B5EF4-FFF2-40B4-BE49-F238E27FC236}">
                <a16:creationId xmlns:a16="http://schemas.microsoft.com/office/drawing/2014/main" id="{9527B901-F112-4CF6-B0AB-5B0206A695F7}"/>
              </a:ext>
            </a:extLst>
          </p:cNvPr>
          <p:cNvSpPr txBox="1"/>
          <p:nvPr/>
        </p:nvSpPr>
        <p:spPr>
          <a:xfrm>
            <a:off x="113776" y="4271853"/>
            <a:ext cx="5086438" cy="3077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solidFill>
                <a:latin typeface="+mn-lt"/>
              </a:rPr>
              <a:t>Here the mean is accurate but not useful</a:t>
            </a:r>
          </a:p>
        </p:txBody>
      </p:sp>
    </p:spTree>
    <p:extLst>
      <p:ext uri="{BB962C8B-B14F-4D97-AF65-F5344CB8AC3E}">
        <p14:creationId xmlns:p14="http://schemas.microsoft.com/office/powerpoint/2010/main" val="2688859099"/>
      </p:ext>
    </p:extLst>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22DD31-3378-4BFD-858A-45134180E98B}"/>
              </a:ext>
            </a:extLst>
          </p:cNvPr>
          <p:cNvSpPr>
            <a:spLocks noGrp="1"/>
          </p:cNvSpPr>
          <p:nvPr>
            <p:ph type="title"/>
          </p:nvPr>
        </p:nvSpPr>
        <p:spPr>
          <a:xfrm>
            <a:off x="78874" y="83421"/>
            <a:ext cx="7955280" cy="640080"/>
          </a:xfrm>
        </p:spPr>
        <p:txBody>
          <a:bodyPr/>
          <a:lstStyle/>
          <a:p>
            <a:r>
              <a:rPr lang="en-US" dirty="0"/>
              <a:t>Median</a:t>
            </a:r>
          </a:p>
        </p:txBody>
      </p:sp>
      <p:sp>
        <p:nvSpPr>
          <p:cNvPr id="4" name="Content Placeholder 3">
            <a:extLst>
              <a:ext uri="{FF2B5EF4-FFF2-40B4-BE49-F238E27FC236}">
                <a16:creationId xmlns:a16="http://schemas.microsoft.com/office/drawing/2014/main" id="{6E9599F9-7E29-4BD8-8E52-18FF8C724383}"/>
              </a:ext>
            </a:extLst>
          </p:cNvPr>
          <p:cNvSpPr>
            <a:spLocks noGrp="1"/>
          </p:cNvSpPr>
          <p:nvPr>
            <p:ph sz="half" idx="1"/>
          </p:nvPr>
        </p:nvSpPr>
        <p:spPr>
          <a:xfrm>
            <a:off x="204517" y="870425"/>
            <a:ext cx="8269388" cy="3017520"/>
          </a:xfrm>
        </p:spPr>
        <p:txBody>
          <a:bodyPr/>
          <a:lstStyle/>
          <a:p>
            <a:r>
              <a:rPr lang="en-US" dirty="0"/>
              <a:t>List all the numbers in order and choose the middle one</a:t>
            </a:r>
          </a:p>
          <a:p>
            <a:r>
              <a:rPr lang="en-US" dirty="0"/>
              <a:t>Ex : Jumping castle continued </a:t>
            </a:r>
          </a:p>
          <a:p>
            <a:r>
              <a:rPr lang="en-US" dirty="0"/>
              <a:t>List the ages in order.</a:t>
            </a:r>
          </a:p>
        </p:txBody>
      </p:sp>
      <p:pic>
        <p:nvPicPr>
          <p:cNvPr id="6" name="Picture 5" descr="A group of planets in space&#10;&#10;Description automatically generated with low confidence">
            <a:extLst>
              <a:ext uri="{FF2B5EF4-FFF2-40B4-BE49-F238E27FC236}">
                <a16:creationId xmlns:a16="http://schemas.microsoft.com/office/drawing/2014/main" id="{375C0BAF-A535-485E-8530-85DE19CD3DC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1532996662"/>
      </p:ext>
    </p:extLst>
  </p:cSld>
  <p:clrMapOvr>
    <a:masterClrMapping/>
  </p:clrMapOvr>
  <p:transition spd="med">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ABBA51-A685-4F2C-AE0B-DE4088F8EF66}"/>
              </a:ext>
            </a:extLst>
          </p:cNvPr>
          <p:cNvSpPr>
            <a:spLocks noGrp="1"/>
          </p:cNvSpPr>
          <p:nvPr>
            <p:ph type="title"/>
          </p:nvPr>
        </p:nvSpPr>
        <p:spPr/>
        <p:txBody>
          <a:bodyPr/>
          <a:lstStyle/>
          <a:p>
            <a:r>
              <a:rPr lang="en-US" dirty="0"/>
              <a:t>Median – Two middle numbers</a:t>
            </a:r>
          </a:p>
        </p:txBody>
      </p:sp>
      <p:sp>
        <p:nvSpPr>
          <p:cNvPr id="4" name="Content Placeholder 3">
            <a:extLst>
              <a:ext uri="{FF2B5EF4-FFF2-40B4-BE49-F238E27FC236}">
                <a16:creationId xmlns:a16="http://schemas.microsoft.com/office/drawing/2014/main" id="{B4DE2912-DDA6-440E-BEA6-B3A254DD16E9}"/>
              </a:ext>
            </a:extLst>
          </p:cNvPr>
          <p:cNvSpPr>
            <a:spLocks noGrp="1"/>
          </p:cNvSpPr>
          <p:nvPr>
            <p:ph sz="half" idx="1"/>
          </p:nvPr>
        </p:nvSpPr>
        <p:spPr>
          <a:xfrm>
            <a:off x="274319" y="1010028"/>
            <a:ext cx="7955280" cy="3017520"/>
          </a:xfrm>
        </p:spPr>
        <p:txBody>
          <a:bodyPr/>
          <a:lstStyle/>
          <a:p>
            <a:r>
              <a:rPr lang="en-US" dirty="0"/>
              <a:t>If there are two middle number, then just take the average of those two numbers</a:t>
            </a:r>
          </a:p>
          <a:p>
            <a:endParaRPr lang="en-US" dirty="0"/>
          </a:p>
          <a:p>
            <a:r>
              <a:rPr lang="en-US" dirty="0"/>
              <a:t>Ex : find Median of 7,9,10,11,11,15</a:t>
            </a:r>
          </a:p>
        </p:txBody>
      </p:sp>
    </p:spTree>
    <p:extLst>
      <p:ext uri="{BB962C8B-B14F-4D97-AF65-F5344CB8AC3E}">
        <p14:creationId xmlns:p14="http://schemas.microsoft.com/office/powerpoint/2010/main" val="3262174151"/>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25CB22-FF51-4206-A208-F34D589823FC}"/>
              </a:ext>
            </a:extLst>
          </p:cNvPr>
          <p:cNvSpPr>
            <a:spLocks noGrp="1"/>
          </p:cNvSpPr>
          <p:nvPr>
            <p:ph type="title"/>
          </p:nvPr>
        </p:nvSpPr>
        <p:spPr>
          <a:xfrm>
            <a:off x="78874" y="13926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38C4030F-B49C-4D2E-A105-0BDA558200F7}"/>
              </a:ext>
            </a:extLst>
          </p:cNvPr>
          <p:cNvSpPr>
            <a:spLocks noGrp="1"/>
          </p:cNvSpPr>
          <p:nvPr>
            <p:ph sz="half" idx="1"/>
          </p:nvPr>
        </p:nvSpPr>
        <p:spPr>
          <a:xfrm>
            <a:off x="148677" y="670095"/>
            <a:ext cx="7955280" cy="3908885"/>
          </a:xfrm>
        </p:spPr>
        <p:txBody>
          <a:bodyPr/>
          <a:lstStyle/>
          <a:p>
            <a:r>
              <a:rPr lang="en-US" sz="1400" dirty="0">
                <a:solidFill>
                  <a:schemeClr val="bg2">
                    <a:lumMod val="50000"/>
                    <a:lumOff val="50000"/>
                  </a:schemeClr>
                </a:solidFill>
                <a:latin typeface="Inter"/>
              </a:rPr>
              <a:t>The most frequent value. (the value that occurs the highest number of times)</a:t>
            </a:r>
          </a:p>
          <a:p>
            <a:endParaRPr lang="en-US" dirty="0">
              <a:solidFill>
                <a:schemeClr val="bg2">
                  <a:lumMod val="50000"/>
                  <a:lumOff val="50000"/>
                </a:schemeClr>
              </a:solidFill>
              <a:latin typeface="Inter"/>
            </a:endParaRPr>
          </a:p>
          <a:p>
            <a:r>
              <a:rPr lang="en-US" sz="1400" dirty="0">
                <a:solidFill>
                  <a:schemeClr val="bg2">
                    <a:lumMod val="50000"/>
                    <a:lumOff val="50000"/>
                  </a:schemeClr>
                </a:solidFill>
                <a:latin typeface="Inter"/>
              </a:rPr>
              <a:t>Ex : Jumping castle continued</a:t>
            </a:r>
          </a:p>
          <a:p>
            <a:r>
              <a:rPr lang="en-US" dirty="0">
                <a:solidFill>
                  <a:schemeClr val="bg2">
                    <a:lumMod val="50000"/>
                    <a:lumOff val="50000"/>
                  </a:schemeClr>
                </a:solidFill>
                <a:latin typeface="Inter"/>
              </a:rPr>
              <a:t>Group the numbers so we can count them : </a:t>
            </a:r>
            <a:endParaRPr lang="en-US" sz="1400" dirty="0">
              <a:solidFill>
                <a:schemeClr val="bg2">
                  <a:lumMod val="50000"/>
                  <a:lumOff val="50000"/>
                </a:schemeClr>
              </a:solidFill>
              <a:latin typeface="Inter"/>
            </a:endParaRPr>
          </a:p>
          <a:p>
            <a:endParaRPr lang="en-US" dirty="0"/>
          </a:p>
        </p:txBody>
      </p:sp>
      <p:pic>
        <p:nvPicPr>
          <p:cNvPr id="6" name="Picture 5" descr="A group of planets in space&#10;&#10;Description automatically generated with low confidence">
            <a:extLst>
              <a:ext uri="{FF2B5EF4-FFF2-40B4-BE49-F238E27FC236}">
                <a16:creationId xmlns:a16="http://schemas.microsoft.com/office/drawing/2014/main" id="{9913AA4F-182A-4CFF-96F3-3A802A25BE2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272543" y="1502296"/>
            <a:ext cx="3666940" cy="2446035"/>
          </a:xfrm>
          <a:prstGeom prst="rect">
            <a:avLst/>
          </a:prstGeom>
        </p:spPr>
      </p:pic>
    </p:spTree>
    <p:extLst>
      <p:ext uri="{BB962C8B-B14F-4D97-AF65-F5344CB8AC3E}">
        <p14:creationId xmlns:p14="http://schemas.microsoft.com/office/powerpoint/2010/main" val="636038740"/>
      </p:ext>
    </p:extLst>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0E9BB-181B-4BF0-A706-7A35CF408AD5}"/>
              </a:ext>
            </a:extLst>
          </p:cNvPr>
          <p:cNvSpPr>
            <a:spLocks noGrp="1"/>
          </p:cNvSpPr>
          <p:nvPr>
            <p:ph type="title"/>
          </p:nvPr>
        </p:nvSpPr>
        <p:spPr>
          <a:xfrm>
            <a:off x="204518" y="132282"/>
            <a:ext cx="7955280" cy="640080"/>
          </a:xfrm>
        </p:spPr>
        <p:txBody>
          <a:bodyPr/>
          <a:lstStyle/>
          <a:p>
            <a:r>
              <a:rPr lang="en-US" dirty="0"/>
              <a:t>Mode</a:t>
            </a:r>
          </a:p>
        </p:txBody>
      </p:sp>
      <p:sp>
        <p:nvSpPr>
          <p:cNvPr id="4" name="Content Placeholder 3">
            <a:extLst>
              <a:ext uri="{FF2B5EF4-FFF2-40B4-BE49-F238E27FC236}">
                <a16:creationId xmlns:a16="http://schemas.microsoft.com/office/drawing/2014/main" id="{F7D859AF-EC6C-404E-A3A5-5C9B7B9266E3}"/>
              </a:ext>
            </a:extLst>
          </p:cNvPr>
          <p:cNvSpPr>
            <a:spLocks noGrp="1"/>
          </p:cNvSpPr>
          <p:nvPr>
            <p:ph sz="half" idx="1"/>
          </p:nvPr>
        </p:nvSpPr>
        <p:spPr>
          <a:xfrm>
            <a:off x="274320" y="718956"/>
            <a:ext cx="7955280" cy="3853044"/>
          </a:xfrm>
        </p:spPr>
        <p:txBody>
          <a:bodyPr/>
          <a:lstStyle/>
          <a:p>
            <a:r>
              <a:rPr lang="en-US" dirty="0">
                <a:solidFill>
                  <a:schemeClr val="bg2">
                    <a:lumMod val="50000"/>
                    <a:lumOff val="50000"/>
                  </a:schemeClr>
                </a:solidFill>
              </a:rPr>
              <a:t>But Mode can be tricky, there can sometime be more than one mode</a:t>
            </a:r>
          </a:p>
          <a:p>
            <a:endParaRPr lang="en-US" dirty="0">
              <a:solidFill>
                <a:schemeClr val="bg2">
                  <a:lumMod val="50000"/>
                  <a:lumOff val="50000"/>
                </a:schemeClr>
              </a:solidFill>
            </a:endParaRPr>
          </a:p>
          <a:p>
            <a:r>
              <a:rPr lang="en-US" dirty="0">
                <a:solidFill>
                  <a:schemeClr val="bg2">
                    <a:lumMod val="50000"/>
                    <a:lumOff val="50000"/>
                  </a:schemeClr>
                </a:solidFill>
              </a:rPr>
              <a:t>Ex : What is the Mode of 10,11,11,12,12,13,14</a:t>
            </a:r>
          </a:p>
          <a:p>
            <a:endParaRPr lang="en-US" dirty="0"/>
          </a:p>
          <a:p>
            <a:endParaRPr lang="en-US" dirty="0"/>
          </a:p>
        </p:txBody>
      </p:sp>
    </p:spTree>
    <p:extLst>
      <p:ext uri="{BB962C8B-B14F-4D97-AF65-F5344CB8AC3E}">
        <p14:creationId xmlns:p14="http://schemas.microsoft.com/office/powerpoint/2010/main" val="3651340896"/>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05FE6-98FF-4D7B-B314-563F75F834DB}"/>
              </a:ext>
            </a:extLst>
          </p:cNvPr>
          <p:cNvSpPr>
            <a:spLocks noGrp="1"/>
          </p:cNvSpPr>
          <p:nvPr>
            <p:ph type="title"/>
          </p:nvPr>
        </p:nvSpPr>
        <p:spPr>
          <a:xfrm>
            <a:off x="50954" y="83420"/>
            <a:ext cx="7955280" cy="640080"/>
          </a:xfrm>
        </p:spPr>
        <p:txBody>
          <a:bodyPr/>
          <a:lstStyle/>
          <a:p>
            <a:r>
              <a:rPr lang="en-US" dirty="0"/>
              <a:t>Grouping</a:t>
            </a:r>
          </a:p>
        </p:txBody>
      </p:sp>
      <p:sp>
        <p:nvSpPr>
          <p:cNvPr id="4" name="Content Placeholder 3">
            <a:extLst>
              <a:ext uri="{FF2B5EF4-FFF2-40B4-BE49-F238E27FC236}">
                <a16:creationId xmlns:a16="http://schemas.microsoft.com/office/drawing/2014/main" id="{7467BCD5-CB99-4999-9385-6B8338F1F152}"/>
              </a:ext>
            </a:extLst>
          </p:cNvPr>
          <p:cNvSpPr>
            <a:spLocks noGrp="1"/>
          </p:cNvSpPr>
          <p:nvPr>
            <p:ph sz="half" idx="1"/>
          </p:nvPr>
        </p:nvSpPr>
        <p:spPr>
          <a:xfrm>
            <a:off x="50953" y="870425"/>
            <a:ext cx="8583495" cy="3757416"/>
          </a:xfrm>
        </p:spPr>
        <p:txBody>
          <a:bodyPr/>
          <a:lstStyle/>
          <a:p>
            <a:r>
              <a:rPr lang="en-US" dirty="0">
                <a:solidFill>
                  <a:schemeClr val="bg2">
                    <a:lumMod val="50000"/>
                    <a:lumOff val="50000"/>
                  </a:schemeClr>
                </a:solidFill>
                <a:latin typeface="Inter"/>
              </a:rPr>
              <a:t>In Some cases (such as when all values appear the same number of times) the mode is not useful. But we can group the values to see if one group has more than the others </a:t>
            </a:r>
          </a:p>
          <a:p>
            <a:r>
              <a:rPr lang="en-US" dirty="0">
                <a:solidFill>
                  <a:schemeClr val="bg2">
                    <a:lumMod val="50000"/>
                    <a:lumOff val="50000"/>
                  </a:schemeClr>
                </a:solidFill>
                <a:latin typeface="Inter"/>
              </a:rPr>
              <a:t>Ex : 5, 8, 12, 17, 21</a:t>
            </a:r>
            <a:r>
              <a:rPr lang="en-US">
                <a:solidFill>
                  <a:schemeClr val="bg2">
                    <a:lumMod val="50000"/>
                    <a:lumOff val="50000"/>
                  </a:schemeClr>
                </a:solidFill>
                <a:latin typeface="Inter"/>
              </a:rPr>
              <a:t>, 23, </a:t>
            </a:r>
            <a:r>
              <a:rPr lang="en-US" dirty="0">
                <a:solidFill>
                  <a:schemeClr val="bg2">
                    <a:lumMod val="50000"/>
                    <a:lumOff val="50000"/>
                  </a:schemeClr>
                </a:solidFill>
                <a:latin typeface="Inter"/>
              </a:rPr>
              <a:t>26, 27</a:t>
            </a:r>
            <a:r>
              <a:rPr lang="en-US">
                <a:solidFill>
                  <a:schemeClr val="bg2">
                    <a:lumMod val="50000"/>
                    <a:lumOff val="50000"/>
                  </a:schemeClr>
                </a:solidFill>
                <a:latin typeface="Inter"/>
              </a:rPr>
              <a:t>, 34</a:t>
            </a:r>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endParaRPr lang="en-US" dirty="0">
              <a:solidFill>
                <a:schemeClr val="bg2">
                  <a:lumMod val="50000"/>
                  <a:lumOff val="50000"/>
                </a:schemeClr>
              </a:solidFill>
              <a:latin typeface="Inter"/>
            </a:endParaRPr>
          </a:p>
          <a:p>
            <a:r>
              <a:rPr lang="en-US" b="1" i="1" dirty="0">
                <a:solidFill>
                  <a:schemeClr val="bg2">
                    <a:lumMod val="50000"/>
                    <a:lumOff val="50000"/>
                  </a:schemeClr>
                </a:solidFill>
                <a:latin typeface="Inter"/>
              </a:rPr>
              <a:t>Note : You could use different grouping and get a different answer</a:t>
            </a:r>
          </a:p>
        </p:txBody>
      </p:sp>
    </p:spTree>
    <p:extLst>
      <p:ext uri="{BB962C8B-B14F-4D97-AF65-F5344CB8AC3E}">
        <p14:creationId xmlns:p14="http://schemas.microsoft.com/office/powerpoint/2010/main" val="1995959026"/>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BDE561-1E11-496C-86F7-9FC450554141}"/>
              </a:ext>
            </a:extLst>
          </p:cNvPr>
          <p:cNvSpPr>
            <a:spLocks noGrp="1"/>
          </p:cNvSpPr>
          <p:nvPr>
            <p:ph type="title"/>
          </p:nvPr>
        </p:nvSpPr>
        <p:spPr>
          <a:xfrm>
            <a:off x="0" y="27981"/>
            <a:ext cx="7955280" cy="640080"/>
          </a:xfrm>
        </p:spPr>
        <p:txBody>
          <a:bodyPr/>
          <a:lstStyle/>
          <a:p>
            <a:r>
              <a:rPr lang="en-US" dirty="0"/>
              <a:t>Grouping another example</a:t>
            </a:r>
          </a:p>
        </p:txBody>
      </p:sp>
      <p:sp>
        <p:nvSpPr>
          <p:cNvPr id="4" name="Content Placeholder 3">
            <a:extLst>
              <a:ext uri="{FF2B5EF4-FFF2-40B4-BE49-F238E27FC236}">
                <a16:creationId xmlns:a16="http://schemas.microsoft.com/office/drawing/2014/main" id="{835414F6-32F3-427B-8782-BB4FFF32D390}"/>
              </a:ext>
            </a:extLst>
          </p:cNvPr>
          <p:cNvSpPr>
            <a:spLocks noGrp="1"/>
          </p:cNvSpPr>
          <p:nvPr>
            <p:ph sz="half" idx="1"/>
          </p:nvPr>
        </p:nvSpPr>
        <p:spPr>
          <a:xfrm>
            <a:off x="0" y="528398"/>
            <a:ext cx="8890620" cy="3952860"/>
          </a:xfrm>
        </p:spPr>
        <p:txBody>
          <a:bodyPr>
            <a:normAutofit/>
          </a:bodyPr>
          <a:lstStyle/>
          <a:p>
            <a:r>
              <a:rPr lang="en-US" dirty="0">
                <a:solidFill>
                  <a:schemeClr val="bg2">
                    <a:lumMod val="50000"/>
                    <a:lumOff val="50000"/>
                  </a:schemeClr>
                </a:solidFill>
              </a:rPr>
              <a:t>Grouping also help to find what the typical values are when the real-world messes things up!</a:t>
            </a:r>
          </a:p>
          <a:p>
            <a:r>
              <a:rPr lang="en-US" dirty="0">
                <a:solidFill>
                  <a:schemeClr val="bg2">
                    <a:lumMod val="50000"/>
                    <a:lumOff val="50000"/>
                  </a:schemeClr>
                </a:solidFill>
              </a:rPr>
              <a:t>Ex : How long to load a truck?</a:t>
            </a:r>
          </a:p>
          <a:p>
            <a:r>
              <a:rPr lang="en-US" dirty="0">
                <a:solidFill>
                  <a:schemeClr val="bg2">
                    <a:lumMod val="50000"/>
                    <a:lumOff val="50000"/>
                  </a:schemeClr>
                </a:solidFill>
              </a:rPr>
              <a:t>Robert recorded how long it take to load a truck in minutes:</a:t>
            </a:r>
          </a:p>
          <a:p>
            <a:pPr lvl="2"/>
            <a:r>
              <a:rPr lang="en-US" sz="1400" dirty="0">
                <a:solidFill>
                  <a:schemeClr val="bg2">
                    <a:lumMod val="50000"/>
                    <a:lumOff val="50000"/>
                  </a:schemeClr>
                </a:solidFill>
              </a:rPr>
              <a:t>46, 47, 43, 53, 69, 67, 46, 50, 57, 58, 45, 48, 61</a:t>
            </a:r>
          </a:p>
          <a:p>
            <a:r>
              <a:rPr lang="en-US" dirty="0">
                <a:solidFill>
                  <a:schemeClr val="bg2">
                    <a:lumMod val="50000"/>
                    <a:lumOff val="50000"/>
                  </a:schemeClr>
                </a:solidFill>
              </a:rPr>
              <a:t>It takes longer when there is break time or lunch so an average is not very useful.</a:t>
            </a:r>
          </a:p>
          <a:p>
            <a:r>
              <a:rPr lang="en-US" dirty="0">
                <a:solidFill>
                  <a:schemeClr val="bg2">
                    <a:lumMod val="50000"/>
                    <a:lumOff val="50000"/>
                  </a:schemeClr>
                </a:solidFill>
              </a:rPr>
              <a:t>But grouping by 5s gives:</a:t>
            </a:r>
          </a:p>
          <a:p>
            <a:pPr marL="0" indent="0">
              <a:buNone/>
            </a:pPr>
            <a:endParaRPr lang="en-US" dirty="0">
              <a:solidFill>
                <a:schemeClr val="bg2">
                  <a:lumMod val="50000"/>
                  <a:lumOff val="50000"/>
                </a:schemeClr>
              </a:solidFill>
            </a:endParaRPr>
          </a:p>
          <a:p>
            <a:pPr>
              <a:lnSpc>
                <a:spcPct val="10000"/>
              </a:lnSpc>
            </a:pPr>
            <a:r>
              <a:rPr lang="en-US" dirty="0">
                <a:solidFill>
                  <a:schemeClr val="bg2">
                    <a:lumMod val="50000"/>
                    <a:lumOff val="50000"/>
                  </a:schemeClr>
                </a:solidFill>
              </a:rPr>
              <a:t>40 - 44 : 1</a:t>
            </a:r>
          </a:p>
          <a:p>
            <a:pPr>
              <a:lnSpc>
                <a:spcPct val="10000"/>
              </a:lnSpc>
            </a:pPr>
            <a:r>
              <a:rPr lang="en-US" dirty="0">
                <a:solidFill>
                  <a:schemeClr val="bg2">
                    <a:lumMod val="50000"/>
                    <a:lumOff val="50000"/>
                  </a:schemeClr>
                </a:solidFill>
              </a:rPr>
              <a:t>45 - 49 : 5</a:t>
            </a:r>
          </a:p>
          <a:p>
            <a:pPr>
              <a:lnSpc>
                <a:spcPct val="10000"/>
              </a:lnSpc>
            </a:pPr>
            <a:r>
              <a:rPr lang="en-US" dirty="0">
                <a:solidFill>
                  <a:schemeClr val="bg2">
                    <a:lumMod val="50000"/>
                    <a:lumOff val="50000"/>
                  </a:schemeClr>
                </a:solidFill>
              </a:rPr>
              <a:t>50 – 54 : 2</a:t>
            </a:r>
          </a:p>
          <a:p>
            <a:pPr>
              <a:lnSpc>
                <a:spcPct val="10000"/>
              </a:lnSpc>
            </a:pPr>
            <a:r>
              <a:rPr lang="en-US" dirty="0">
                <a:solidFill>
                  <a:schemeClr val="bg2">
                    <a:lumMod val="50000"/>
                    <a:lumOff val="50000"/>
                  </a:schemeClr>
                </a:solidFill>
              </a:rPr>
              <a:t>55 – 59 : 2</a:t>
            </a:r>
          </a:p>
          <a:p>
            <a:pPr>
              <a:lnSpc>
                <a:spcPct val="10000"/>
              </a:lnSpc>
            </a:pPr>
            <a:r>
              <a:rPr lang="en-US" dirty="0">
                <a:solidFill>
                  <a:schemeClr val="bg2">
                    <a:lumMod val="50000"/>
                    <a:lumOff val="50000"/>
                  </a:schemeClr>
                </a:solidFill>
              </a:rPr>
              <a:t>60 – 64 : 1</a:t>
            </a:r>
          </a:p>
          <a:p>
            <a:pPr>
              <a:lnSpc>
                <a:spcPct val="10000"/>
              </a:lnSpc>
            </a:pPr>
            <a:r>
              <a:rPr lang="en-US" dirty="0">
                <a:solidFill>
                  <a:schemeClr val="bg2">
                    <a:lumMod val="50000"/>
                    <a:lumOff val="50000"/>
                  </a:schemeClr>
                </a:solidFill>
              </a:rPr>
              <a:t>64 – 69 : 2</a:t>
            </a:r>
          </a:p>
          <a:p>
            <a:r>
              <a:rPr lang="en-US" dirty="0">
                <a:solidFill>
                  <a:schemeClr val="bg2">
                    <a:lumMod val="50000"/>
                    <a:lumOff val="50000"/>
                  </a:schemeClr>
                </a:solidFill>
              </a:rPr>
              <a:t>“45 – 49” appear most often, so we can say it normally take about 37 minutes to fill a pallet</a:t>
            </a:r>
          </a:p>
          <a:p>
            <a:endParaRPr lang="en-US" sz="1600" dirty="0"/>
          </a:p>
          <a:p>
            <a:pPr lvl="3"/>
            <a:endParaRPr lang="en-US" sz="1600" dirty="0"/>
          </a:p>
          <a:p>
            <a:pPr lvl="3"/>
            <a:endParaRPr lang="en-US" sz="1600" dirty="0"/>
          </a:p>
        </p:txBody>
      </p:sp>
      <p:pic>
        <p:nvPicPr>
          <p:cNvPr id="11" name="Picture 10" descr="A picture containing truck, green, road, sky&#10;&#10;Description automatically generated">
            <a:extLst>
              <a:ext uri="{FF2B5EF4-FFF2-40B4-BE49-F238E27FC236}">
                <a16:creationId xmlns:a16="http://schemas.microsoft.com/office/drawing/2014/main" id="{DFA02102-7297-4F45-88F7-388D314238A0}"/>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905209" y="2121966"/>
            <a:ext cx="3187834" cy="1793157"/>
          </a:xfrm>
          <a:prstGeom prst="rect">
            <a:avLst/>
          </a:prstGeom>
        </p:spPr>
      </p:pic>
    </p:spTree>
    <p:extLst>
      <p:ext uri="{BB962C8B-B14F-4D97-AF65-F5344CB8AC3E}">
        <p14:creationId xmlns:p14="http://schemas.microsoft.com/office/powerpoint/2010/main" val="3831935352"/>
      </p:ext>
    </p:extLst>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6B03A-C11B-445A-B3EE-89676853E2DC}"/>
              </a:ext>
            </a:extLst>
          </p:cNvPr>
          <p:cNvSpPr>
            <a:spLocks noGrp="1"/>
          </p:cNvSpPr>
          <p:nvPr>
            <p:ph type="title"/>
          </p:nvPr>
        </p:nvSpPr>
        <p:spPr>
          <a:xfrm>
            <a:off x="92835" y="90401"/>
            <a:ext cx="7955280" cy="640080"/>
          </a:xfrm>
        </p:spPr>
        <p:txBody>
          <a:bodyPr/>
          <a:lstStyle/>
          <a:p>
            <a:r>
              <a:rPr lang="en-US" dirty="0"/>
              <a:t>Outlier </a:t>
            </a:r>
          </a:p>
        </p:txBody>
      </p:sp>
      <p:sp>
        <p:nvSpPr>
          <p:cNvPr id="4" name="Content Placeholder 3">
            <a:extLst>
              <a:ext uri="{FF2B5EF4-FFF2-40B4-BE49-F238E27FC236}">
                <a16:creationId xmlns:a16="http://schemas.microsoft.com/office/drawing/2014/main" id="{CB5A1369-CDB1-4F9B-ADBB-7DB33F294B4E}"/>
              </a:ext>
            </a:extLst>
          </p:cNvPr>
          <p:cNvSpPr>
            <a:spLocks noGrp="1"/>
          </p:cNvSpPr>
          <p:nvPr>
            <p:ph sz="half" idx="1"/>
          </p:nvPr>
        </p:nvSpPr>
        <p:spPr>
          <a:xfrm>
            <a:off x="197539" y="650990"/>
            <a:ext cx="7955280" cy="3841519"/>
          </a:xfrm>
        </p:spPr>
        <p:txBody>
          <a:bodyPr/>
          <a:lstStyle/>
          <a:p>
            <a:r>
              <a:rPr lang="en-US" dirty="0">
                <a:solidFill>
                  <a:schemeClr val="bg2">
                    <a:lumMod val="50000"/>
                    <a:lumOff val="50000"/>
                  </a:schemeClr>
                </a:solidFill>
                <a:latin typeface="Inter"/>
              </a:rPr>
              <a:t>A value that "lies outside" (is much smaller or larger than) most of the other values in a set of data. They can change the mean a lot, so we can either not used them or use mean median mode instead.</a:t>
            </a:r>
          </a:p>
          <a:p>
            <a:r>
              <a:rPr lang="en-US" dirty="0">
                <a:solidFill>
                  <a:schemeClr val="bg2">
                    <a:lumMod val="50000"/>
                    <a:lumOff val="50000"/>
                  </a:schemeClr>
                </a:solidFill>
                <a:latin typeface="Inter"/>
              </a:rPr>
              <a:t>Ex : In this set of random numbers, 1 and 201 are outliers:</a:t>
            </a:r>
          </a:p>
          <a:p>
            <a:pPr lvl="1"/>
            <a:r>
              <a:rPr lang="en-US" dirty="0">
                <a:solidFill>
                  <a:schemeClr val="bg2">
                    <a:lumMod val="50000"/>
                    <a:lumOff val="50000"/>
                  </a:schemeClr>
                </a:solidFill>
                <a:latin typeface="Inter"/>
              </a:rPr>
              <a:t>1, 99, 100, 101, 103, 109, 110, 201</a:t>
            </a:r>
          </a:p>
          <a:p>
            <a:pPr lvl="1"/>
            <a:r>
              <a:rPr lang="en-US" dirty="0">
                <a:solidFill>
                  <a:schemeClr val="bg2">
                    <a:lumMod val="50000"/>
                    <a:lumOff val="50000"/>
                  </a:schemeClr>
                </a:solidFill>
                <a:latin typeface="Inter"/>
              </a:rPr>
              <a:t>“1” is an extremely low value and “201” is an extremely high value.</a:t>
            </a:r>
          </a:p>
          <a:p>
            <a:r>
              <a:rPr lang="en-US" dirty="0">
                <a:solidFill>
                  <a:schemeClr val="bg2">
                    <a:lumMod val="50000"/>
                    <a:lumOff val="50000"/>
                  </a:schemeClr>
                </a:solidFill>
                <a:latin typeface="Inter"/>
              </a:rPr>
              <a:t>Outliers aren’t always that obvious. Let’s say you received the following paychecks last month:</a:t>
            </a:r>
          </a:p>
          <a:p>
            <a:pPr lvl="1"/>
            <a:r>
              <a:rPr lang="en-US" dirty="0">
                <a:solidFill>
                  <a:schemeClr val="bg2">
                    <a:lumMod val="50000"/>
                    <a:lumOff val="50000"/>
                  </a:schemeClr>
                </a:solidFill>
                <a:latin typeface="Inter"/>
              </a:rPr>
              <a:t>$225, $250, $25, $235.</a:t>
            </a:r>
          </a:p>
          <a:p>
            <a:pPr lvl="1"/>
            <a:r>
              <a:rPr lang="en-US" dirty="0">
                <a:solidFill>
                  <a:schemeClr val="bg2">
                    <a:lumMod val="50000"/>
                    <a:lumOff val="50000"/>
                  </a:schemeClr>
                </a:solidFill>
                <a:latin typeface="Inter"/>
              </a:rPr>
              <a:t>Your average paycheck is $135. But that small paycheck ($25) might be because you went on vacation, so a weekly paycheck average of $135 isn’t a true reflection of how much you earned. Your average is actually closer to $237 if you take the outlier ($25) out of the set.</a:t>
            </a:r>
          </a:p>
          <a:p>
            <a:r>
              <a:rPr lang="en-US" dirty="0">
                <a:solidFill>
                  <a:schemeClr val="bg2">
                    <a:lumMod val="50000"/>
                    <a:lumOff val="50000"/>
                  </a:schemeClr>
                </a:solidFill>
                <a:latin typeface="Inter"/>
              </a:rPr>
              <a:t>Age of students studying Data science in Board Infinity</a:t>
            </a:r>
          </a:p>
          <a:p>
            <a:pPr lvl="1"/>
            <a:r>
              <a:rPr lang="en-US" dirty="0">
                <a:solidFill>
                  <a:schemeClr val="bg2">
                    <a:lumMod val="50000"/>
                    <a:lumOff val="50000"/>
                  </a:schemeClr>
                </a:solidFill>
                <a:latin typeface="Inter"/>
              </a:rPr>
              <a:t>Ex : </a:t>
            </a:r>
          </a:p>
          <a:p>
            <a:pPr lvl="1"/>
            <a:endParaRPr lang="en-US" dirty="0"/>
          </a:p>
        </p:txBody>
      </p:sp>
    </p:spTree>
    <p:extLst>
      <p:ext uri="{BB962C8B-B14F-4D97-AF65-F5344CB8AC3E}">
        <p14:creationId xmlns:p14="http://schemas.microsoft.com/office/powerpoint/2010/main" val="1048263595"/>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C4D7A-EB20-44C5-815F-C0641D331487}"/>
              </a:ext>
            </a:extLst>
          </p:cNvPr>
          <p:cNvSpPr>
            <a:spLocks noGrp="1"/>
          </p:cNvSpPr>
          <p:nvPr>
            <p:ph type="title"/>
          </p:nvPr>
        </p:nvSpPr>
        <p:spPr/>
        <p:txBody>
          <a:bodyPr/>
          <a:lstStyle/>
          <a:p>
            <a:r>
              <a:rPr lang="en-US" dirty="0"/>
              <a:t>Outlier </a:t>
            </a:r>
            <a:r>
              <a:rPr lang="en-US" dirty="0">
                <a:solidFill>
                  <a:schemeClr val="bg2">
                    <a:lumMod val="50000"/>
                    <a:lumOff val="50000"/>
                  </a:schemeClr>
                </a:solidFill>
              </a:rPr>
              <a:t>-</a:t>
            </a:r>
            <a:r>
              <a:rPr lang="en-US" dirty="0"/>
              <a:t> </a:t>
            </a:r>
            <a:r>
              <a:rPr lang="en-US" dirty="0">
                <a:solidFill>
                  <a:schemeClr val="bg2">
                    <a:lumMod val="50000"/>
                    <a:lumOff val="50000"/>
                  </a:schemeClr>
                </a:solidFill>
              </a:rPr>
              <a:t>continued</a:t>
            </a:r>
          </a:p>
        </p:txBody>
      </p:sp>
      <p:pic>
        <p:nvPicPr>
          <p:cNvPr id="6" name="Content Placeholder 5">
            <a:extLst>
              <a:ext uri="{FF2B5EF4-FFF2-40B4-BE49-F238E27FC236}">
                <a16:creationId xmlns:a16="http://schemas.microsoft.com/office/drawing/2014/main" id="{2B7093CC-771B-4C73-A0DC-D3F5C3CE8DED}"/>
              </a:ext>
            </a:extLst>
          </p:cNvPr>
          <p:cNvPicPr>
            <a:picLocks noGrp="1" noChangeAspect="1"/>
          </p:cNvPicPr>
          <p:nvPr>
            <p:ph sz="half" idx="1"/>
          </p:nvPr>
        </p:nvPicPr>
        <p:blipFill>
          <a:blip r:embed="rId2"/>
          <a:stretch>
            <a:fillRect/>
          </a:stretch>
        </p:blipFill>
        <p:spPr>
          <a:xfrm>
            <a:off x="4517801" y="49000"/>
            <a:ext cx="4229100" cy="542925"/>
          </a:xfrm>
        </p:spPr>
      </p:pic>
      <p:grpSp>
        <p:nvGrpSpPr>
          <p:cNvPr id="47" name="Group 46">
            <a:extLst>
              <a:ext uri="{FF2B5EF4-FFF2-40B4-BE49-F238E27FC236}">
                <a16:creationId xmlns:a16="http://schemas.microsoft.com/office/drawing/2014/main" id="{2A49F424-6475-4B80-B98E-BC7A187747C0}"/>
              </a:ext>
            </a:extLst>
          </p:cNvPr>
          <p:cNvGrpSpPr/>
          <p:nvPr/>
        </p:nvGrpSpPr>
        <p:grpSpPr>
          <a:xfrm>
            <a:off x="4879377" y="467558"/>
            <a:ext cx="112680" cy="159840"/>
            <a:chOff x="4879377" y="467558"/>
            <a:chExt cx="112680" cy="15984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A3C6882A-8F86-4203-BC54-CC76A101CAD1}"/>
                    </a:ext>
                  </a:extLst>
                </p14:cNvPr>
                <p14:cNvContentPartPr/>
                <p14:nvPr/>
              </p14:nvContentPartPr>
              <p14:xfrm>
                <a:off x="4879377" y="537038"/>
                <a:ext cx="13680" cy="90360"/>
              </p14:xfrm>
            </p:contentPart>
          </mc:Choice>
          <mc:Fallback xmlns="">
            <p:pic>
              <p:nvPicPr>
                <p:cNvPr id="7" name="Ink 6">
                  <a:extLst>
                    <a:ext uri="{FF2B5EF4-FFF2-40B4-BE49-F238E27FC236}">
                      <a16:creationId xmlns:a16="http://schemas.microsoft.com/office/drawing/2014/main" id="{A3C6882A-8F86-4203-BC54-CC76A101CAD1}"/>
                    </a:ext>
                  </a:extLst>
                </p:cNvPr>
                <p:cNvPicPr/>
                <p:nvPr/>
              </p:nvPicPr>
              <p:blipFill>
                <a:blip r:embed="rId4"/>
                <a:stretch>
                  <a:fillRect/>
                </a:stretch>
              </p:blipFill>
              <p:spPr>
                <a:xfrm>
                  <a:off x="4875057" y="532718"/>
                  <a:ext cx="2232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EBEB0D83-5163-4079-A7FB-019746BE0D7F}"/>
                    </a:ext>
                  </a:extLst>
                </p14:cNvPr>
                <p14:cNvContentPartPr/>
                <p14:nvPr/>
              </p14:nvContentPartPr>
              <p14:xfrm>
                <a:off x="4915017" y="544238"/>
                <a:ext cx="77040" cy="78840"/>
              </p14:xfrm>
            </p:contentPart>
          </mc:Choice>
          <mc:Fallback xmlns="">
            <p:pic>
              <p:nvPicPr>
                <p:cNvPr id="8" name="Ink 7">
                  <a:extLst>
                    <a:ext uri="{FF2B5EF4-FFF2-40B4-BE49-F238E27FC236}">
                      <a16:creationId xmlns:a16="http://schemas.microsoft.com/office/drawing/2014/main" id="{EBEB0D83-5163-4079-A7FB-019746BE0D7F}"/>
                    </a:ext>
                  </a:extLst>
                </p:cNvPr>
                <p:cNvPicPr/>
                <p:nvPr/>
              </p:nvPicPr>
              <p:blipFill>
                <a:blip r:embed="rId6"/>
                <a:stretch>
                  <a:fillRect/>
                </a:stretch>
              </p:blipFill>
              <p:spPr>
                <a:xfrm>
                  <a:off x="4910697" y="539918"/>
                  <a:ext cx="8568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1" name="Ink 40">
                  <a:extLst>
                    <a:ext uri="{FF2B5EF4-FFF2-40B4-BE49-F238E27FC236}">
                      <a16:creationId xmlns:a16="http://schemas.microsoft.com/office/drawing/2014/main" id="{9B996CA9-706D-4868-8DFB-7818048A6F32}"/>
                    </a:ext>
                  </a:extLst>
                </p14:cNvPr>
                <p14:cNvContentPartPr/>
                <p14:nvPr/>
              </p14:nvContentPartPr>
              <p14:xfrm>
                <a:off x="4951017" y="467558"/>
                <a:ext cx="18720" cy="55080"/>
              </p14:xfrm>
            </p:contentPart>
          </mc:Choice>
          <mc:Fallback xmlns="">
            <p:pic>
              <p:nvPicPr>
                <p:cNvPr id="41" name="Ink 40">
                  <a:extLst>
                    <a:ext uri="{FF2B5EF4-FFF2-40B4-BE49-F238E27FC236}">
                      <a16:creationId xmlns:a16="http://schemas.microsoft.com/office/drawing/2014/main" id="{9B996CA9-706D-4868-8DFB-7818048A6F32}"/>
                    </a:ext>
                  </a:extLst>
                </p:cNvPr>
                <p:cNvPicPr/>
                <p:nvPr/>
              </p:nvPicPr>
              <p:blipFill>
                <a:blip r:embed="rId8"/>
                <a:stretch>
                  <a:fillRect/>
                </a:stretch>
              </p:blipFill>
              <p:spPr>
                <a:xfrm>
                  <a:off x="4946697" y="463238"/>
                  <a:ext cx="27360" cy="63720"/>
                </a:xfrm>
                <a:prstGeom prst="rect">
                  <a:avLst/>
                </a:prstGeom>
              </p:spPr>
            </p:pic>
          </mc:Fallback>
        </mc:AlternateContent>
      </p:grpSp>
      <p:grpSp>
        <p:nvGrpSpPr>
          <p:cNvPr id="46" name="Group 45">
            <a:extLst>
              <a:ext uri="{FF2B5EF4-FFF2-40B4-BE49-F238E27FC236}">
                <a16:creationId xmlns:a16="http://schemas.microsoft.com/office/drawing/2014/main" id="{982482D8-1D90-4954-A22B-C99127ED1CC2}"/>
              </a:ext>
            </a:extLst>
          </p:cNvPr>
          <p:cNvGrpSpPr/>
          <p:nvPr/>
        </p:nvGrpSpPr>
        <p:grpSpPr>
          <a:xfrm>
            <a:off x="5101857" y="481238"/>
            <a:ext cx="98640" cy="162720"/>
            <a:chOff x="5101857" y="481238"/>
            <a:chExt cx="98640" cy="162720"/>
          </a:xfrm>
        </p:grpSpPr>
        <mc:AlternateContent xmlns:mc="http://schemas.openxmlformats.org/markup-compatibility/2006" xmlns:p14="http://schemas.microsoft.com/office/powerpoint/2010/main">
          <mc:Choice Requires="p14">
            <p:contentPart p14:bwMode="auto" r:id="rId9">
              <p14:nvContentPartPr>
                <p14:cNvPr id="10" name="Ink 9">
                  <a:extLst>
                    <a:ext uri="{FF2B5EF4-FFF2-40B4-BE49-F238E27FC236}">
                      <a16:creationId xmlns:a16="http://schemas.microsoft.com/office/drawing/2014/main" id="{6A7A2615-AD9A-4AAB-8E31-8819C563683E}"/>
                    </a:ext>
                  </a:extLst>
                </p14:cNvPr>
                <p14:cNvContentPartPr/>
                <p14:nvPr/>
              </p14:nvContentPartPr>
              <p14:xfrm>
                <a:off x="5101857" y="578798"/>
                <a:ext cx="48240" cy="65160"/>
              </p14:xfrm>
            </p:contentPart>
          </mc:Choice>
          <mc:Fallback xmlns="">
            <p:pic>
              <p:nvPicPr>
                <p:cNvPr id="10" name="Ink 9">
                  <a:extLst>
                    <a:ext uri="{FF2B5EF4-FFF2-40B4-BE49-F238E27FC236}">
                      <a16:creationId xmlns:a16="http://schemas.microsoft.com/office/drawing/2014/main" id="{6A7A2615-AD9A-4AAB-8E31-8819C563683E}"/>
                    </a:ext>
                  </a:extLst>
                </p:cNvPr>
                <p:cNvPicPr/>
                <p:nvPr/>
              </p:nvPicPr>
              <p:blipFill>
                <a:blip r:embed="rId10"/>
                <a:stretch>
                  <a:fillRect/>
                </a:stretch>
              </p:blipFill>
              <p:spPr>
                <a:xfrm>
                  <a:off x="5097537" y="574478"/>
                  <a:ext cx="56880" cy="738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1" name="Ink 10">
                  <a:extLst>
                    <a:ext uri="{FF2B5EF4-FFF2-40B4-BE49-F238E27FC236}">
                      <a16:creationId xmlns:a16="http://schemas.microsoft.com/office/drawing/2014/main" id="{9E501B2A-6CC0-4031-974F-93C2E718C905}"/>
                    </a:ext>
                  </a:extLst>
                </p14:cNvPr>
                <p14:cNvContentPartPr/>
                <p14:nvPr/>
              </p14:nvContentPartPr>
              <p14:xfrm>
                <a:off x="5167017" y="579158"/>
                <a:ext cx="31680" cy="45000"/>
              </p14:xfrm>
            </p:contentPart>
          </mc:Choice>
          <mc:Fallback xmlns="">
            <p:pic>
              <p:nvPicPr>
                <p:cNvPr id="11" name="Ink 10">
                  <a:extLst>
                    <a:ext uri="{FF2B5EF4-FFF2-40B4-BE49-F238E27FC236}">
                      <a16:creationId xmlns:a16="http://schemas.microsoft.com/office/drawing/2014/main" id="{9E501B2A-6CC0-4031-974F-93C2E718C905}"/>
                    </a:ext>
                  </a:extLst>
                </p:cNvPr>
                <p:cNvPicPr/>
                <p:nvPr/>
              </p:nvPicPr>
              <p:blipFill>
                <a:blip r:embed="rId12"/>
                <a:stretch>
                  <a:fillRect/>
                </a:stretch>
              </p:blipFill>
              <p:spPr>
                <a:xfrm>
                  <a:off x="5162697" y="574838"/>
                  <a:ext cx="4032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2" name="Ink 41">
                  <a:extLst>
                    <a:ext uri="{FF2B5EF4-FFF2-40B4-BE49-F238E27FC236}">
                      <a16:creationId xmlns:a16="http://schemas.microsoft.com/office/drawing/2014/main" id="{3B6C7FA6-96D7-4628-BDF7-0A7E1758641E}"/>
                    </a:ext>
                  </a:extLst>
                </p14:cNvPr>
                <p14:cNvContentPartPr/>
                <p14:nvPr/>
              </p14:nvContentPartPr>
              <p14:xfrm>
                <a:off x="5193657" y="481238"/>
                <a:ext cx="6840" cy="25920"/>
              </p14:xfrm>
            </p:contentPart>
          </mc:Choice>
          <mc:Fallback xmlns="">
            <p:pic>
              <p:nvPicPr>
                <p:cNvPr id="42" name="Ink 41">
                  <a:extLst>
                    <a:ext uri="{FF2B5EF4-FFF2-40B4-BE49-F238E27FC236}">
                      <a16:creationId xmlns:a16="http://schemas.microsoft.com/office/drawing/2014/main" id="{3B6C7FA6-96D7-4628-BDF7-0A7E1758641E}"/>
                    </a:ext>
                  </a:extLst>
                </p:cNvPr>
                <p:cNvPicPr/>
                <p:nvPr/>
              </p:nvPicPr>
              <p:blipFill>
                <a:blip r:embed="rId14"/>
                <a:stretch>
                  <a:fillRect/>
                </a:stretch>
              </p:blipFill>
              <p:spPr>
                <a:xfrm>
                  <a:off x="5189337" y="476918"/>
                  <a:ext cx="15480" cy="34560"/>
                </a:xfrm>
                <a:prstGeom prst="rect">
                  <a:avLst/>
                </a:prstGeom>
              </p:spPr>
            </p:pic>
          </mc:Fallback>
        </mc:AlternateContent>
      </p:grpSp>
      <p:grpSp>
        <p:nvGrpSpPr>
          <p:cNvPr id="87" name="Group 86">
            <a:extLst>
              <a:ext uri="{FF2B5EF4-FFF2-40B4-BE49-F238E27FC236}">
                <a16:creationId xmlns:a16="http://schemas.microsoft.com/office/drawing/2014/main" id="{BE899715-DE73-45A2-8FA6-329D11A9AB88}"/>
              </a:ext>
            </a:extLst>
          </p:cNvPr>
          <p:cNvGrpSpPr/>
          <p:nvPr/>
        </p:nvGrpSpPr>
        <p:grpSpPr>
          <a:xfrm>
            <a:off x="5362137" y="467558"/>
            <a:ext cx="968040" cy="189360"/>
            <a:chOff x="5362137" y="467558"/>
            <a:chExt cx="968040" cy="189360"/>
          </a:xfrm>
        </p:grpSpPr>
        <mc:AlternateContent xmlns:mc="http://schemas.openxmlformats.org/markup-compatibility/2006" xmlns:p14="http://schemas.microsoft.com/office/powerpoint/2010/main">
          <mc:Choice Requires="p14">
            <p:contentPart p14:bwMode="auto" r:id="rId15">
              <p14:nvContentPartPr>
                <p14:cNvPr id="58" name="Ink 57">
                  <a:extLst>
                    <a:ext uri="{FF2B5EF4-FFF2-40B4-BE49-F238E27FC236}">
                      <a16:creationId xmlns:a16="http://schemas.microsoft.com/office/drawing/2014/main" id="{1C92FB37-4929-4EFC-A012-AF8F501A4E2F}"/>
                    </a:ext>
                  </a:extLst>
                </p14:cNvPr>
                <p14:cNvContentPartPr/>
                <p14:nvPr/>
              </p14:nvContentPartPr>
              <p14:xfrm>
                <a:off x="5362137" y="565118"/>
                <a:ext cx="52920" cy="91800"/>
              </p14:xfrm>
            </p:contentPart>
          </mc:Choice>
          <mc:Fallback xmlns="">
            <p:pic>
              <p:nvPicPr>
                <p:cNvPr id="58" name="Ink 57">
                  <a:extLst>
                    <a:ext uri="{FF2B5EF4-FFF2-40B4-BE49-F238E27FC236}">
                      <a16:creationId xmlns:a16="http://schemas.microsoft.com/office/drawing/2014/main" id="{1C92FB37-4929-4EFC-A012-AF8F501A4E2F}"/>
                    </a:ext>
                  </a:extLst>
                </p:cNvPr>
                <p:cNvPicPr/>
                <p:nvPr/>
              </p:nvPicPr>
              <p:blipFill>
                <a:blip r:embed="rId16"/>
                <a:stretch>
                  <a:fillRect/>
                </a:stretch>
              </p:blipFill>
              <p:spPr>
                <a:xfrm>
                  <a:off x="5357817" y="560798"/>
                  <a:ext cx="61560" cy="100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9" name="Ink 58">
                  <a:extLst>
                    <a:ext uri="{FF2B5EF4-FFF2-40B4-BE49-F238E27FC236}">
                      <a16:creationId xmlns:a16="http://schemas.microsoft.com/office/drawing/2014/main" id="{2CF6E14A-C62A-4911-B466-F65E664E95BE}"/>
                    </a:ext>
                  </a:extLst>
                </p14:cNvPr>
                <p14:cNvContentPartPr/>
                <p14:nvPr/>
              </p14:nvContentPartPr>
              <p14:xfrm>
                <a:off x="5417217" y="591398"/>
                <a:ext cx="58680" cy="51120"/>
              </p14:xfrm>
            </p:contentPart>
          </mc:Choice>
          <mc:Fallback xmlns="">
            <p:pic>
              <p:nvPicPr>
                <p:cNvPr id="59" name="Ink 58">
                  <a:extLst>
                    <a:ext uri="{FF2B5EF4-FFF2-40B4-BE49-F238E27FC236}">
                      <a16:creationId xmlns:a16="http://schemas.microsoft.com/office/drawing/2014/main" id="{2CF6E14A-C62A-4911-B466-F65E664E95BE}"/>
                    </a:ext>
                  </a:extLst>
                </p:cNvPr>
                <p:cNvPicPr/>
                <p:nvPr/>
              </p:nvPicPr>
              <p:blipFill>
                <a:blip r:embed="rId18"/>
                <a:stretch>
                  <a:fillRect/>
                </a:stretch>
              </p:blipFill>
              <p:spPr>
                <a:xfrm>
                  <a:off x="5412897" y="587078"/>
                  <a:ext cx="6732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60" name="Ink 59">
                  <a:extLst>
                    <a:ext uri="{FF2B5EF4-FFF2-40B4-BE49-F238E27FC236}">
                      <a16:creationId xmlns:a16="http://schemas.microsoft.com/office/drawing/2014/main" id="{55A31FE8-11C6-4F98-8F27-ABE798ED5899}"/>
                    </a:ext>
                  </a:extLst>
                </p14:cNvPr>
                <p14:cNvContentPartPr/>
                <p14:nvPr/>
              </p14:nvContentPartPr>
              <p14:xfrm>
                <a:off x="5554017" y="579158"/>
                <a:ext cx="71280" cy="56880"/>
              </p14:xfrm>
            </p:contentPart>
          </mc:Choice>
          <mc:Fallback xmlns="">
            <p:pic>
              <p:nvPicPr>
                <p:cNvPr id="60" name="Ink 59">
                  <a:extLst>
                    <a:ext uri="{FF2B5EF4-FFF2-40B4-BE49-F238E27FC236}">
                      <a16:creationId xmlns:a16="http://schemas.microsoft.com/office/drawing/2014/main" id="{55A31FE8-11C6-4F98-8F27-ABE798ED5899}"/>
                    </a:ext>
                  </a:extLst>
                </p:cNvPr>
                <p:cNvPicPr/>
                <p:nvPr/>
              </p:nvPicPr>
              <p:blipFill>
                <a:blip r:embed="rId20"/>
                <a:stretch>
                  <a:fillRect/>
                </a:stretch>
              </p:blipFill>
              <p:spPr>
                <a:xfrm>
                  <a:off x="5549697" y="574838"/>
                  <a:ext cx="79920" cy="65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61" name="Ink 60">
                  <a:extLst>
                    <a:ext uri="{FF2B5EF4-FFF2-40B4-BE49-F238E27FC236}">
                      <a16:creationId xmlns:a16="http://schemas.microsoft.com/office/drawing/2014/main" id="{66CD1D88-B354-4D51-B6E2-2FB10B3EB2BB}"/>
                    </a:ext>
                  </a:extLst>
                </p14:cNvPr>
                <p14:cNvContentPartPr/>
                <p14:nvPr/>
              </p14:nvContentPartPr>
              <p14:xfrm>
                <a:off x="5569497" y="585638"/>
                <a:ext cx="14760" cy="62640"/>
              </p14:xfrm>
            </p:contentPart>
          </mc:Choice>
          <mc:Fallback xmlns="">
            <p:pic>
              <p:nvPicPr>
                <p:cNvPr id="61" name="Ink 60">
                  <a:extLst>
                    <a:ext uri="{FF2B5EF4-FFF2-40B4-BE49-F238E27FC236}">
                      <a16:creationId xmlns:a16="http://schemas.microsoft.com/office/drawing/2014/main" id="{66CD1D88-B354-4D51-B6E2-2FB10B3EB2BB}"/>
                    </a:ext>
                  </a:extLst>
                </p:cNvPr>
                <p:cNvPicPr/>
                <p:nvPr/>
              </p:nvPicPr>
              <p:blipFill>
                <a:blip r:embed="rId22"/>
                <a:stretch>
                  <a:fillRect/>
                </a:stretch>
              </p:blipFill>
              <p:spPr>
                <a:xfrm>
                  <a:off x="5565177" y="581318"/>
                  <a:ext cx="23400" cy="7128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62" name="Ink 61">
                  <a:extLst>
                    <a:ext uri="{FF2B5EF4-FFF2-40B4-BE49-F238E27FC236}">
                      <a16:creationId xmlns:a16="http://schemas.microsoft.com/office/drawing/2014/main" id="{08D5FAAD-DCEA-4BCC-89E5-1F42BE1A5F81}"/>
                    </a:ext>
                  </a:extLst>
                </p14:cNvPr>
                <p14:cNvContentPartPr/>
                <p14:nvPr/>
              </p14:nvContentPartPr>
              <p14:xfrm>
                <a:off x="5633217" y="591758"/>
                <a:ext cx="41760" cy="41400"/>
              </p14:xfrm>
            </p:contentPart>
          </mc:Choice>
          <mc:Fallback xmlns="">
            <p:pic>
              <p:nvPicPr>
                <p:cNvPr id="62" name="Ink 61">
                  <a:extLst>
                    <a:ext uri="{FF2B5EF4-FFF2-40B4-BE49-F238E27FC236}">
                      <a16:creationId xmlns:a16="http://schemas.microsoft.com/office/drawing/2014/main" id="{08D5FAAD-DCEA-4BCC-89E5-1F42BE1A5F81}"/>
                    </a:ext>
                  </a:extLst>
                </p:cNvPr>
                <p:cNvPicPr/>
                <p:nvPr/>
              </p:nvPicPr>
              <p:blipFill>
                <a:blip r:embed="rId24"/>
                <a:stretch>
                  <a:fillRect/>
                </a:stretch>
              </p:blipFill>
              <p:spPr>
                <a:xfrm>
                  <a:off x="5628897" y="587438"/>
                  <a:ext cx="5040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63" name="Ink 62">
                  <a:extLst>
                    <a:ext uri="{FF2B5EF4-FFF2-40B4-BE49-F238E27FC236}">
                      <a16:creationId xmlns:a16="http://schemas.microsoft.com/office/drawing/2014/main" id="{53C08174-945B-4BD7-8DBB-33A9EFB19EAF}"/>
                    </a:ext>
                  </a:extLst>
                </p14:cNvPr>
                <p14:cNvContentPartPr/>
                <p14:nvPr/>
              </p14:nvContentPartPr>
              <p14:xfrm>
                <a:off x="5742297" y="571958"/>
                <a:ext cx="57240" cy="64440"/>
              </p14:xfrm>
            </p:contentPart>
          </mc:Choice>
          <mc:Fallback xmlns="">
            <p:pic>
              <p:nvPicPr>
                <p:cNvPr id="63" name="Ink 62">
                  <a:extLst>
                    <a:ext uri="{FF2B5EF4-FFF2-40B4-BE49-F238E27FC236}">
                      <a16:creationId xmlns:a16="http://schemas.microsoft.com/office/drawing/2014/main" id="{53C08174-945B-4BD7-8DBB-33A9EFB19EAF}"/>
                    </a:ext>
                  </a:extLst>
                </p:cNvPr>
                <p:cNvPicPr/>
                <p:nvPr/>
              </p:nvPicPr>
              <p:blipFill>
                <a:blip r:embed="rId26"/>
                <a:stretch>
                  <a:fillRect/>
                </a:stretch>
              </p:blipFill>
              <p:spPr>
                <a:xfrm>
                  <a:off x="5737977" y="567638"/>
                  <a:ext cx="6588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64" name="Ink 63">
                  <a:extLst>
                    <a:ext uri="{FF2B5EF4-FFF2-40B4-BE49-F238E27FC236}">
                      <a16:creationId xmlns:a16="http://schemas.microsoft.com/office/drawing/2014/main" id="{771DF10D-FBE2-4B4F-9839-00AEDD219109}"/>
                    </a:ext>
                  </a:extLst>
                </p14:cNvPr>
                <p14:cNvContentPartPr/>
                <p14:nvPr/>
              </p14:nvContentPartPr>
              <p14:xfrm>
                <a:off x="5751297" y="585638"/>
                <a:ext cx="35280" cy="69840"/>
              </p14:xfrm>
            </p:contentPart>
          </mc:Choice>
          <mc:Fallback xmlns="">
            <p:pic>
              <p:nvPicPr>
                <p:cNvPr id="64" name="Ink 63">
                  <a:extLst>
                    <a:ext uri="{FF2B5EF4-FFF2-40B4-BE49-F238E27FC236}">
                      <a16:creationId xmlns:a16="http://schemas.microsoft.com/office/drawing/2014/main" id="{771DF10D-FBE2-4B4F-9839-00AEDD219109}"/>
                    </a:ext>
                  </a:extLst>
                </p:cNvPr>
                <p:cNvPicPr/>
                <p:nvPr/>
              </p:nvPicPr>
              <p:blipFill>
                <a:blip r:embed="rId28"/>
                <a:stretch>
                  <a:fillRect/>
                </a:stretch>
              </p:blipFill>
              <p:spPr>
                <a:xfrm>
                  <a:off x="5746977" y="581318"/>
                  <a:ext cx="43920" cy="784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66" name="Ink 65">
                  <a:extLst>
                    <a:ext uri="{FF2B5EF4-FFF2-40B4-BE49-F238E27FC236}">
                      <a16:creationId xmlns:a16="http://schemas.microsoft.com/office/drawing/2014/main" id="{C9C10218-810B-408D-A478-9C45A80BFE58}"/>
                    </a:ext>
                  </a:extLst>
                </p14:cNvPr>
                <p14:cNvContentPartPr/>
                <p14:nvPr/>
              </p14:nvContentPartPr>
              <p14:xfrm>
                <a:off x="5799177" y="579878"/>
                <a:ext cx="43200" cy="67320"/>
              </p14:xfrm>
            </p:contentPart>
          </mc:Choice>
          <mc:Fallback xmlns="">
            <p:pic>
              <p:nvPicPr>
                <p:cNvPr id="66" name="Ink 65">
                  <a:extLst>
                    <a:ext uri="{FF2B5EF4-FFF2-40B4-BE49-F238E27FC236}">
                      <a16:creationId xmlns:a16="http://schemas.microsoft.com/office/drawing/2014/main" id="{C9C10218-810B-408D-A478-9C45A80BFE58}"/>
                    </a:ext>
                  </a:extLst>
                </p:cNvPr>
                <p:cNvPicPr/>
                <p:nvPr/>
              </p:nvPicPr>
              <p:blipFill>
                <a:blip r:embed="rId30"/>
                <a:stretch>
                  <a:fillRect/>
                </a:stretch>
              </p:blipFill>
              <p:spPr>
                <a:xfrm>
                  <a:off x="5794857" y="575558"/>
                  <a:ext cx="5184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67" name="Ink 66">
                  <a:extLst>
                    <a:ext uri="{FF2B5EF4-FFF2-40B4-BE49-F238E27FC236}">
                      <a16:creationId xmlns:a16="http://schemas.microsoft.com/office/drawing/2014/main" id="{4A5320AB-ACE0-42B9-8CEE-B6AF94A19CEB}"/>
                    </a:ext>
                  </a:extLst>
                </p14:cNvPr>
                <p14:cNvContentPartPr/>
                <p14:nvPr/>
              </p14:nvContentPartPr>
              <p14:xfrm>
                <a:off x="5907897" y="579518"/>
                <a:ext cx="39240" cy="63360"/>
              </p14:xfrm>
            </p:contentPart>
          </mc:Choice>
          <mc:Fallback xmlns="">
            <p:pic>
              <p:nvPicPr>
                <p:cNvPr id="67" name="Ink 66">
                  <a:extLst>
                    <a:ext uri="{FF2B5EF4-FFF2-40B4-BE49-F238E27FC236}">
                      <a16:creationId xmlns:a16="http://schemas.microsoft.com/office/drawing/2014/main" id="{4A5320AB-ACE0-42B9-8CEE-B6AF94A19CEB}"/>
                    </a:ext>
                  </a:extLst>
                </p:cNvPr>
                <p:cNvPicPr/>
                <p:nvPr/>
              </p:nvPicPr>
              <p:blipFill>
                <a:blip r:embed="rId32"/>
                <a:stretch>
                  <a:fillRect/>
                </a:stretch>
              </p:blipFill>
              <p:spPr>
                <a:xfrm>
                  <a:off x="5903577" y="575198"/>
                  <a:ext cx="4788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74" name="Ink 73">
                  <a:extLst>
                    <a:ext uri="{FF2B5EF4-FFF2-40B4-BE49-F238E27FC236}">
                      <a16:creationId xmlns:a16="http://schemas.microsoft.com/office/drawing/2014/main" id="{00B0BCB6-8EC9-4F42-B0A8-C2AB6F5F6645}"/>
                    </a:ext>
                  </a:extLst>
                </p14:cNvPr>
                <p14:cNvContentPartPr/>
                <p14:nvPr/>
              </p14:nvContentPartPr>
              <p14:xfrm>
                <a:off x="5938857" y="591758"/>
                <a:ext cx="60840" cy="47520"/>
              </p14:xfrm>
            </p:contentPart>
          </mc:Choice>
          <mc:Fallback xmlns="">
            <p:pic>
              <p:nvPicPr>
                <p:cNvPr id="74" name="Ink 73">
                  <a:extLst>
                    <a:ext uri="{FF2B5EF4-FFF2-40B4-BE49-F238E27FC236}">
                      <a16:creationId xmlns:a16="http://schemas.microsoft.com/office/drawing/2014/main" id="{00B0BCB6-8EC9-4F42-B0A8-C2AB6F5F6645}"/>
                    </a:ext>
                  </a:extLst>
                </p:cNvPr>
                <p:cNvPicPr/>
                <p:nvPr/>
              </p:nvPicPr>
              <p:blipFill>
                <a:blip r:embed="rId34"/>
                <a:stretch>
                  <a:fillRect/>
                </a:stretch>
              </p:blipFill>
              <p:spPr>
                <a:xfrm>
                  <a:off x="5934537" y="587438"/>
                  <a:ext cx="69480" cy="561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75" name="Ink 74">
                  <a:extLst>
                    <a:ext uri="{FF2B5EF4-FFF2-40B4-BE49-F238E27FC236}">
                      <a16:creationId xmlns:a16="http://schemas.microsoft.com/office/drawing/2014/main" id="{0BCC5110-0248-442B-8722-498CC887E825}"/>
                    </a:ext>
                  </a:extLst>
                </p14:cNvPr>
                <p14:cNvContentPartPr/>
                <p14:nvPr/>
              </p14:nvContentPartPr>
              <p14:xfrm>
                <a:off x="6033177" y="579158"/>
                <a:ext cx="30240" cy="70920"/>
              </p14:xfrm>
            </p:contentPart>
          </mc:Choice>
          <mc:Fallback xmlns="">
            <p:pic>
              <p:nvPicPr>
                <p:cNvPr id="75" name="Ink 74">
                  <a:extLst>
                    <a:ext uri="{FF2B5EF4-FFF2-40B4-BE49-F238E27FC236}">
                      <a16:creationId xmlns:a16="http://schemas.microsoft.com/office/drawing/2014/main" id="{0BCC5110-0248-442B-8722-498CC887E825}"/>
                    </a:ext>
                  </a:extLst>
                </p:cNvPr>
                <p:cNvPicPr/>
                <p:nvPr/>
              </p:nvPicPr>
              <p:blipFill>
                <a:blip r:embed="rId36"/>
                <a:stretch>
                  <a:fillRect/>
                </a:stretch>
              </p:blipFill>
              <p:spPr>
                <a:xfrm>
                  <a:off x="6028857" y="574838"/>
                  <a:ext cx="38880" cy="79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6" name="Ink 75">
                  <a:extLst>
                    <a:ext uri="{FF2B5EF4-FFF2-40B4-BE49-F238E27FC236}">
                      <a16:creationId xmlns:a16="http://schemas.microsoft.com/office/drawing/2014/main" id="{92FC619D-B485-4E90-B3E0-8AECA820C898}"/>
                    </a:ext>
                  </a:extLst>
                </p14:cNvPr>
                <p14:cNvContentPartPr/>
                <p14:nvPr/>
              </p14:nvContentPartPr>
              <p14:xfrm>
                <a:off x="6080697" y="585638"/>
                <a:ext cx="38880" cy="71280"/>
              </p14:xfrm>
            </p:contentPart>
          </mc:Choice>
          <mc:Fallback xmlns="">
            <p:pic>
              <p:nvPicPr>
                <p:cNvPr id="76" name="Ink 75">
                  <a:extLst>
                    <a:ext uri="{FF2B5EF4-FFF2-40B4-BE49-F238E27FC236}">
                      <a16:creationId xmlns:a16="http://schemas.microsoft.com/office/drawing/2014/main" id="{92FC619D-B485-4E90-B3E0-8AECA820C898}"/>
                    </a:ext>
                  </a:extLst>
                </p:cNvPr>
                <p:cNvPicPr/>
                <p:nvPr/>
              </p:nvPicPr>
              <p:blipFill>
                <a:blip r:embed="rId38"/>
                <a:stretch>
                  <a:fillRect/>
                </a:stretch>
              </p:blipFill>
              <p:spPr>
                <a:xfrm>
                  <a:off x="6076377" y="581318"/>
                  <a:ext cx="4752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7" name="Ink 76">
                  <a:extLst>
                    <a:ext uri="{FF2B5EF4-FFF2-40B4-BE49-F238E27FC236}">
                      <a16:creationId xmlns:a16="http://schemas.microsoft.com/office/drawing/2014/main" id="{3CA57AE4-A6DD-4006-B027-81D1EE7200BE}"/>
                    </a:ext>
                  </a:extLst>
                </p14:cNvPr>
                <p14:cNvContentPartPr/>
                <p14:nvPr/>
              </p14:nvContentPartPr>
              <p14:xfrm>
                <a:off x="6184737" y="571958"/>
                <a:ext cx="41400" cy="83880"/>
              </p14:xfrm>
            </p:contentPart>
          </mc:Choice>
          <mc:Fallback xmlns="">
            <p:pic>
              <p:nvPicPr>
                <p:cNvPr id="77" name="Ink 76">
                  <a:extLst>
                    <a:ext uri="{FF2B5EF4-FFF2-40B4-BE49-F238E27FC236}">
                      <a16:creationId xmlns:a16="http://schemas.microsoft.com/office/drawing/2014/main" id="{3CA57AE4-A6DD-4006-B027-81D1EE7200BE}"/>
                    </a:ext>
                  </a:extLst>
                </p:cNvPr>
                <p:cNvPicPr/>
                <p:nvPr/>
              </p:nvPicPr>
              <p:blipFill>
                <a:blip r:embed="rId40"/>
                <a:stretch>
                  <a:fillRect/>
                </a:stretch>
              </p:blipFill>
              <p:spPr>
                <a:xfrm>
                  <a:off x="6180417" y="567638"/>
                  <a:ext cx="50040" cy="925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78" name="Ink 77">
                  <a:extLst>
                    <a:ext uri="{FF2B5EF4-FFF2-40B4-BE49-F238E27FC236}">
                      <a16:creationId xmlns:a16="http://schemas.microsoft.com/office/drawing/2014/main" id="{6B9CD26D-6AD1-4532-B19F-0E7E657094B6}"/>
                    </a:ext>
                  </a:extLst>
                </p14:cNvPr>
                <p14:cNvContentPartPr/>
                <p14:nvPr/>
              </p14:nvContentPartPr>
              <p14:xfrm>
                <a:off x="6275817" y="570518"/>
                <a:ext cx="54360" cy="57600"/>
              </p14:xfrm>
            </p:contentPart>
          </mc:Choice>
          <mc:Fallback xmlns="">
            <p:pic>
              <p:nvPicPr>
                <p:cNvPr id="78" name="Ink 77">
                  <a:extLst>
                    <a:ext uri="{FF2B5EF4-FFF2-40B4-BE49-F238E27FC236}">
                      <a16:creationId xmlns:a16="http://schemas.microsoft.com/office/drawing/2014/main" id="{6B9CD26D-6AD1-4532-B19F-0E7E657094B6}"/>
                    </a:ext>
                  </a:extLst>
                </p:cNvPr>
                <p:cNvPicPr/>
                <p:nvPr/>
              </p:nvPicPr>
              <p:blipFill>
                <a:blip r:embed="rId42"/>
                <a:stretch>
                  <a:fillRect/>
                </a:stretch>
              </p:blipFill>
              <p:spPr>
                <a:xfrm>
                  <a:off x="6271497" y="566198"/>
                  <a:ext cx="6300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80" name="Ink 79">
                  <a:extLst>
                    <a:ext uri="{FF2B5EF4-FFF2-40B4-BE49-F238E27FC236}">
                      <a16:creationId xmlns:a16="http://schemas.microsoft.com/office/drawing/2014/main" id="{6530AB09-30BA-480D-ACAF-C1EF8C7C5174}"/>
                    </a:ext>
                  </a:extLst>
                </p14:cNvPr>
                <p14:cNvContentPartPr/>
                <p14:nvPr/>
              </p14:nvContentPartPr>
              <p14:xfrm>
                <a:off x="5403537" y="488078"/>
                <a:ext cx="12960" cy="42480"/>
              </p14:xfrm>
            </p:contentPart>
          </mc:Choice>
          <mc:Fallback xmlns="">
            <p:pic>
              <p:nvPicPr>
                <p:cNvPr id="80" name="Ink 79">
                  <a:extLst>
                    <a:ext uri="{FF2B5EF4-FFF2-40B4-BE49-F238E27FC236}">
                      <a16:creationId xmlns:a16="http://schemas.microsoft.com/office/drawing/2014/main" id="{6530AB09-30BA-480D-ACAF-C1EF8C7C5174}"/>
                    </a:ext>
                  </a:extLst>
                </p:cNvPr>
                <p:cNvPicPr/>
                <p:nvPr/>
              </p:nvPicPr>
              <p:blipFill>
                <a:blip r:embed="rId44"/>
                <a:stretch>
                  <a:fillRect/>
                </a:stretch>
              </p:blipFill>
              <p:spPr>
                <a:xfrm>
                  <a:off x="5399217" y="483758"/>
                  <a:ext cx="21600" cy="51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81" name="Ink 80">
                  <a:extLst>
                    <a:ext uri="{FF2B5EF4-FFF2-40B4-BE49-F238E27FC236}">
                      <a16:creationId xmlns:a16="http://schemas.microsoft.com/office/drawing/2014/main" id="{EEEA03DF-C400-49B5-B6B4-DE12FFCF3067}"/>
                    </a:ext>
                  </a:extLst>
                </p14:cNvPr>
                <p14:cNvContentPartPr/>
                <p14:nvPr/>
              </p14:nvContentPartPr>
              <p14:xfrm>
                <a:off x="5601897" y="467558"/>
                <a:ext cx="30960" cy="60120"/>
              </p14:xfrm>
            </p:contentPart>
          </mc:Choice>
          <mc:Fallback xmlns="">
            <p:pic>
              <p:nvPicPr>
                <p:cNvPr id="81" name="Ink 80">
                  <a:extLst>
                    <a:ext uri="{FF2B5EF4-FFF2-40B4-BE49-F238E27FC236}">
                      <a16:creationId xmlns:a16="http://schemas.microsoft.com/office/drawing/2014/main" id="{EEEA03DF-C400-49B5-B6B4-DE12FFCF3067}"/>
                    </a:ext>
                  </a:extLst>
                </p:cNvPr>
                <p:cNvPicPr/>
                <p:nvPr/>
              </p:nvPicPr>
              <p:blipFill>
                <a:blip r:embed="rId46"/>
                <a:stretch>
                  <a:fillRect/>
                </a:stretch>
              </p:blipFill>
              <p:spPr>
                <a:xfrm>
                  <a:off x="5597577" y="463238"/>
                  <a:ext cx="3960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83" name="Ink 82">
                  <a:extLst>
                    <a:ext uri="{FF2B5EF4-FFF2-40B4-BE49-F238E27FC236}">
                      <a16:creationId xmlns:a16="http://schemas.microsoft.com/office/drawing/2014/main" id="{3E6AF700-05E3-40AC-B9BF-C5CAC48AAEA3}"/>
                    </a:ext>
                  </a:extLst>
                </p14:cNvPr>
                <p14:cNvContentPartPr/>
                <p14:nvPr/>
              </p14:nvContentPartPr>
              <p14:xfrm>
                <a:off x="5753457" y="474038"/>
                <a:ext cx="19440" cy="40680"/>
              </p14:xfrm>
            </p:contentPart>
          </mc:Choice>
          <mc:Fallback xmlns="">
            <p:pic>
              <p:nvPicPr>
                <p:cNvPr id="83" name="Ink 82">
                  <a:extLst>
                    <a:ext uri="{FF2B5EF4-FFF2-40B4-BE49-F238E27FC236}">
                      <a16:creationId xmlns:a16="http://schemas.microsoft.com/office/drawing/2014/main" id="{3E6AF700-05E3-40AC-B9BF-C5CAC48AAEA3}"/>
                    </a:ext>
                  </a:extLst>
                </p:cNvPr>
                <p:cNvPicPr/>
                <p:nvPr/>
              </p:nvPicPr>
              <p:blipFill>
                <a:blip r:embed="rId48"/>
                <a:stretch>
                  <a:fillRect/>
                </a:stretch>
              </p:blipFill>
              <p:spPr>
                <a:xfrm>
                  <a:off x="5749137" y="469718"/>
                  <a:ext cx="28080" cy="4932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84" name="Ink 83">
                  <a:extLst>
                    <a:ext uri="{FF2B5EF4-FFF2-40B4-BE49-F238E27FC236}">
                      <a16:creationId xmlns:a16="http://schemas.microsoft.com/office/drawing/2014/main" id="{A8A67852-4FC8-4A1B-BFC5-7BC96AE98734}"/>
                    </a:ext>
                  </a:extLst>
                </p14:cNvPr>
                <p14:cNvContentPartPr/>
                <p14:nvPr/>
              </p14:nvContentPartPr>
              <p14:xfrm>
                <a:off x="5924097" y="474038"/>
                <a:ext cx="30240" cy="45000"/>
              </p14:xfrm>
            </p:contentPart>
          </mc:Choice>
          <mc:Fallback xmlns="">
            <p:pic>
              <p:nvPicPr>
                <p:cNvPr id="84" name="Ink 83">
                  <a:extLst>
                    <a:ext uri="{FF2B5EF4-FFF2-40B4-BE49-F238E27FC236}">
                      <a16:creationId xmlns:a16="http://schemas.microsoft.com/office/drawing/2014/main" id="{A8A67852-4FC8-4A1B-BFC5-7BC96AE98734}"/>
                    </a:ext>
                  </a:extLst>
                </p:cNvPr>
                <p:cNvPicPr/>
                <p:nvPr/>
              </p:nvPicPr>
              <p:blipFill>
                <a:blip r:embed="rId50"/>
                <a:stretch>
                  <a:fillRect/>
                </a:stretch>
              </p:blipFill>
              <p:spPr>
                <a:xfrm>
                  <a:off x="5919777" y="469718"/>
                  <a:ext cx="3888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85" name="Ink 84">
                  <a:extLst>
                    <a:ext uri="{FF2B5EF4-FFF2-40B4-BE49-F238E27FC236}">
                      <a16:creationId xmlns:a16="http://schemas.microsoft.com/office/drawing/2014/main" id="{17841811-E690-48A7-8A5F-C653A3F5B096}"/>
                    </a:ext>
                  </a:extLst>
                </p14:cNvPr>
                <p14:cNvContentPartPr/>
                <p14:nvPr/>
              </p14:nvContentPartPr>
              <p14:xfrm>
                <a:off x="6050097" y="467558"/>
                <a:ext cx="15840" cy="34920"/>
              </p14:xfrm>
            </p:contentPart>
          </mc:Choice>
          <mc:Fallback xmlns="">
            <p:pic>
              <p:nvPicPr>
                <p:cNvPr id="85" name="Ink 84">
                  <a:extLst>
                    <a:ext uri="{FF2B5EF4-FFF2-40B4-BE49-F238E27FC236}">
                      <a16:creationId xmlns:a16="http://schemas.microsoft.com/office/drawing/2014/main" id="{17841811-E690-48A7-8A5F-C653A3F5B096}"/>
                    </a:ext>
                  </a:extLst>
                </p:cNvPr>
                <p:cNvPicPr/>
                <p:nvPr/>
              </p:nvPicPr>
              <p:blipFill>
                <a:blip r:embed="rId52"/>
                <a:stretch>
                  <a:fillRect/>
                </a:stretch>
              </p:blipFill>
              <p:spPr>
                <a:xfrm>
                  <a:off x="6045777" y="463238"/>
                  <a:ext cx="24480" cy="4356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86" name="Ink 85">
                  <a:extLst>
                    <a:ext uri="{FF2B5EF4-FFF2-40B4-BE49-F238E27FC236}">
                      <a16:creationId xmlns:a16="http://schemas.microsoft.com/office/drawing/2014/main" id="{598E7D38-5775-453A-934C-67C20A90A171}"/>
                    </a:ext>
                  </a:extLst>
                </p14:cNvPr>
                <p14:cNvContentPartPr/>
                <p14:nvPr/>
              </p14:nvContentPartPr>
              <p14:xfrm>
                <a:off x="6216057" y="481238"/>
                <a:ext cx="10080" cy="25560"/>
              </p14:xfrm>
            </p:contentPart>
          </mc:Choice>
          <mc:Fallback xmlns="">
            <p:pic>
              <p:nvPicPr>
                <p:cNvPr id="86" name="Ink 85">
                  <a:extLst>
                    <a:ext uri="{FF2B5EF4-FFF2-40B4-BE49-F238E27FC236}">
                      <a16:creationId xmlns:a16="http://schemas.microsoft.com/office/drawing/2014/main" id="{598E7D38-5775-453A-934C-67C20A90A171}"/>
                    </a:ext>
                  </a:extLst>
                </p:cNvPr>
                <p:cNvPicPr/>
                <p:nvPr/>
              </p:nvPicPr>
              <p:blipFill>
                <a:blip r:embed="rId54"/>
                <a:stretch>
                  <a:fillRect/>
                </a:stretch>
              </p:blipFill>
              <p:spPr>
                <a:xfrm>
                  <a:off x="6211737" y="476918"/>
                  <a:ext cx="18720" cy="342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5">
            <p14:nvContentPartPr>
              <p14:cNvPr id="88" name="Ink 87">
                <a:extLst>
                  <a:ext uri="{FF2B5EF4-FFF2-40B4-BE49-F238E27FC236}">
                    <a16:creationId xmlns:a16="http://schemas.microsoft.com/office/drawing/2014/main" id="{531875B8-63FD-453B-B849-5E8E0F9CA4F0}"/>
                  </a:ext>
                </a:extLst>
              </p14:cNvPr>
              <p14:cNvContentPartPr/>
              <p14:nvPr/>
            </p14:nvContentPartPr>
            <p14:xfrm>
              <a:off x="8089857" y="481238"/>
              <a:ext cx="28440" cy="15480"/>
            </p14:xfrm>
          </p:contentPart>
        </mc:Choice>
        <mc:Fallback xmlns="">
          <p:pic>
            <p:nvPicPr>
              <p:cNvPr id="88" name="Ink 87">
                <a:extLst>
                  <a:ext uri="{FF2B5EF4-FFF2-40B4-BE49-F238E27FC236}">
                    <a16:creationId xmlns:a16="http://schemas.microsoft.com/office/drawing/2014/main" id="{531875B8-63FD-453B-B849-5E8E0F9CA4F0}"/>
                  </a:ext>
                </a:extLst>
              </p:cNvPr>
              <p:cNvPicPr/>
              <p:nvPr/>
            </p:nvPicPr>
            <p:blipFill>
              <a:blip r:embed="rId56"/>
              <a:stretch>
                <a:fillRect/>
              </a:stretch>
            </p:blipFill>
            <p:spPr>
              <a:xfrm>
                <a:off x="8085537" y="476918"/>
                <a:ext cx="3708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89" name="Ink 88">
                <a:extLst>
                  <a:ext uri="{FF2B5EF4-FFF2-40B4-BE49-F238E27FC236}">
                    <a16:creationId xmlns:a16="http://schemas.microsoft.com/office/drawing/2014/main" id="{DFB42180-85D5-40A2-98AF-D78C10FE81EE}"/>
                  </a:ext>
                </a:extLst>
              </p14:cNvPr>
              <p14:cNvContentPartPr/>
              <p14:nvPr/>
            </p14:nvContentPartPr>
            <p14:xfrm>
              <a:off x="4665177" y="292958"/>
              <a:ext cx="88560" cy="190080"/>
            </p14:xfrm>
          </p:contentPart>
        </mc:Choice>
        <mc:Fallback xmlns="">
          <p:pic>
            <p:nvPicPr>
              <p:cNvPr id="89" name="Ink 88">
                <a:extLst>
                  <a:ext uri="{FF2B5EF4-FFF2-40B4-BE49-F238E27FC236}">
                    <a16:creationId xmlns:a16="http://schemas.microsoft.com/office/drawing/2014/main" id="{DFB42180-85D5-40A2-98AF-D78C10FE81EE}"/>
                  </a:ext>
                </a:extLst>
              </p:cNvPr>
              <p:cNvPicPr/>
              <p:nvPr/>
            </p:nvPicPr>
            <p:blipFill>
              <a:blip r:embed="rId58"/>
              <a:stretch>
                <a:fillRect/>
              </a:stretch>
            </p:blipFill>
            <p:spPr>
              <a:xfrm>
                <a:off x="4656537" y="283958"/>
                <a:ext cx="106200" cy="20772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90" name="Ink 89">
                <a:extLst>
                  <a:ext uri="{FF2B5EF4-FFF2-40B4-BE49-F238E27FC236}">
                    <a16:creationId xmlns:a16="http://schemas.microsoft.com/office/drawing/2014/main" id="{FE0D606C-C57B-4CF8-A74E-FC2FF7BB3289}"/>
                  </a:ext>
                </a:extLst>
              </p14:cNvPr>
              <p14:cNvContentPartPr/>
              <p14:nvPr/>
            </p14:nvContentPartPr>
            <p14:xfrm>
              <a:off x="4436937" y="591398"/>
              <a:ext cx="94320" cy="87480"/>
            </p14:xfrm>
          </p:contentPart>
        </mc:Choice>
        <mc:Fallback xmlns="">
          <p:pic>
            <p:nvPicPr>
              <p:cNvPr id="90" name="Ink 89">
                <a:extLst>
                  <a:ext uri="{FF2B5EF4-FFF2-40B4-BE49-F238E27FC236}">
                    <a16:creationId xmlns:a16="http://schemas.microsoft.com/office/drawing/2014/main" id="{FE0D606C-C57B-4CF8-A74E-FC2FF7BB3289}"/>
                  </a:ext>
                </a:extLst>
              </p:cNvPr>
              <p:cNvPicPr/>
              <p:nvPr/>
            </p:nvPicPr>
            <p:blipFill>
              <a:blip r:embed="rId60"/>
              <a:stretch>
                <a:fillRect/>
              </a:stretch>
            </p:blipFill>
            <p:spPr>
              <a:xfrm>
                <a:off x="4427937" y="582758"/>
                <a:ext cx="111960" cy="105120"/>
              </a:xfrm>
              <a:prstGeom prst="rect">
                <a:avLst/>
              </a:prstGeom>
            </p:spPr>
          </p:pic>
        </mc:Fallback>
      </mc:AlternateContent>
      <p:sp>
        <p:nvSpPr>
          <p:cNvPr id="97" name="TextBox 96">
            <a:extLst>
              <a:ext uri="{FF2B5EF4-FFF2-40B4-BE49-F238E27FC236}">
                <a16:creationId xmlns:a16="http://schemas.microsoft.com/office/drawing/2014/main" id="{0B7F28F0-CBC9-4D42-8A6B-9EF4C95A95D6}"/>
              </a:ext>
            </a:extLst>
          </p:cNvPr>
          <p:cNvSpPr txBox="1"/>
          <p:nvPr/>
        </p:nvSpPr>
        <p:spPr>
          <a:xfrm>
            <a:off x="223365" y="1225718"/>
            <a:ext cx="6317038"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Values : </a:t>
            </a:r>
            <a:r>
              <a:rPr lang="en-US" sz="1800" dirty="0">
                <a:solidFill>
                  <a:schemeClr val="bg2">
                    <a:lumMod val="50000"/>
                    <a:lumOff val="50000"/>
                  </a:schemeClr>
                </a:solidFill>
                <a:latin typeface="Inter"/>
                <a:cs typeface="Arial" panose="020B0604020202020204" pitchFamily="34" charset="0"/>
              </a:rPr>
              <a:t>10, 20, 30, 40, 44, 44, 45, 50, 55, 60 , 400</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an : </a:t>
            </a:r>
            <a:r>
              <a:rPr lang="en-US" sz="1800" dirty="0">
                <a:solidFill>
                  <a:schemeClr val="bg2">
                    <a:lumMod val="50000"/>
                    <a:lumOff val="50000"/>
                  </a:schemeClr>
                </a:solidFill>
                <a:latin typeface="Inter"/>
                <a:cs typeface="Arial" panose="020B0604020202020204" pitchFamily="34" charset="0"/>
              </a:rPr>
              <a:t>72.5</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edian : </a:t>
            </a:r>
            <a:r>
              <a:rPr lang="en-US" sz="1800" dirty="0">
                <a:solidFill>
                  <a:schemeClr val="bg2">
                    <a:lumMod val="50000"/>
                    <a:lumOff val="50000"/>
                  </a:schemeClr>
                </a:solidFill>
                <a:latin typeface="Inter"/>
                <a:cs typeface="Arial" panose="020B0604020202020204" pitchFamily="34" charset="0"/>
              </a:rPr>
              <a:t>44</a:t>
            </a:r>
          </a:p>
          <a:p>
            <a:pPr>
              <a:spcBef>
                <a:spcPts val="0"/>
              </a:spcBef>
              <a:spcAft>
                <a:spcPts val="0"/>
              </a:spcAft>
              <a:buClr>
                <a:schemeClr val="bg1"/>
              </a:buClr>
            </a:pPr>
            <a:endParaRPr lang="en-US" sz="1800" dirty="0">
              <a:solidFill>
                <a:schemeClr val="accent1"/>
              </a:solidFill>
              <a:latin typeface="Inter"/>
              <a:cs typeface="Arial" panose="020B0604020202020204" pitchFamily="34" charset="0"/>
            </a:endParaRPr>
          </a:p>
          <a:p>
            <a:pPr>
              <a:spcBef>
                <a:spcPts val="0"/>
              </a:spcBef>
              <a:spcAft>
                <a:spcPts val="0"/>
              </a:spcAft>
              <a:buClr>
                <a:schemeClr val="bg1"/>
              </a:buClr>
            </a:pPr>
            <a:r>
              <a:rPr lang="en-US" sz="1800" dirty="0">
                <a:solidFill>
                  <a:schemeClr val="accent1"/>
                </a:solidFill>
                <a:latin typeface="Inter"/>
                <a:cs typeface="Arial" panose="020B0604020202020204" pitchFamily="34" charset="0"/>
              </a:rPr>
              <a:t>Mode : </a:t>
            </a:r>
            <a:r>
              <a:rPr lang="en-US" sz="1800" dirty="0">
                <a:solidFill>
                  <a:schemeClr val="bg2">
                    <a:lumMod val="50000"/>
                    <a:lumOff val="50000"/>
                  </a:schemeClr>
                </a:solidFill>
                <a:latin typeface="Inter"/>
                <a:cs typeface="Arial" panose="020B0604020202020204" pitchFamily="34" charset="0"/>
              </a:rPr>
              <a:t>44</a:t>
            </a:r>
          </a:p>
        </p:txBody>
      </p:sp>
      <p:grpSp>
        <p:nvGrpSpPr>
          <p:cNvPr id="107" name="Group 106">
            <a:extLst>
              <a:ext uri="{FF2B5EF4-FFF2-40B4-BE49-F238E27FC236}">
                <a16:creationId xmlns:a16="http://schemas.microsoft.com/office/drawing/2014/main" id="{B8B535AB-9207-47BE-A1C9-601BB537A3D2}"/>
              </a:ext>
            </a:extLst>
          </p:cNvPr>
          <p:cNvGrpSpPr/>
          <p:nvPr/>
        </p:nvGrpSpPr>
        <p:grpSpPr>
          <a:xfrm>
            <a:off x="7976457" y="585638"/>
            <a:ext cx="263520" cy="139320"/>
            <a:chOff x="7976457" y="585638"/>
            <a:chExt cx="263520" cy="139320"/>
          </a:xfrm>
        </p:grpSpPr>
        <mc:AlternateContent xmlns:mc="http://schemas.openxmlformats.org/markup-compatibility/2006" xmlns:p14="http://schemas.microsoft.com/office/powerpoint/2010/main">
          <mc:Choice Requires="p14">
            <p:contentPart p14:bwMode="auto" r:id="rId61">
              <p14:nvContentPartPr>
                <p14:cNvPr id="103" name="Ink 102">
                  <a:extLst>
                    <a:ext uri="{FF2B5EF4-FFF2-40B4-BE49-F238E27FC236}">
                      <a16:creationId xmlns:a16="http://schemas.microsoft.com/office/drawing/2014/main" id="{42F7E7F6-498A-4924-9E7B-2417E0FEC2F9}"/>
                    </a:ext>
                  </a:extLst>
                </p14:cNvPr>
                <p14:cNvContentPartPr/>
                <p14:nvPr/>
              </p14:nvContentPartPr>
              <p14:xfrm>
                <a:off x="7976457" y="592838"/>
                <a:ext cx="105840" cy="99360"/>
              </p14:xfrm>
            </p:contentPart>
          </mc:Choice>
          <mc:Fallback xmlns="">
            <p:pic>
              <p:nvPicPr>
                <p:cNvPr id="103" name="Ink 102">
                  <a:extLst>
                    <a:ext uri="{FF2B5EF4-FFF2-40B4-BE49-F238E27FC236}">
                      <a16:creationId xmlns:a16="http://schemas.microsoft.com/office/drawing/2014/main" id="{42F7E7F6-498A-4924-9E7B-2417E0FEC2F9}"/>
                    </a:ext>
                  </a:extLst>
                </p:cNvPr>
                <p:cNvPicPr/>
                <p:nvPr/>
              </p:nvPicPr>
              <p:blipFill>
                <a:blip r:embed="rId62"/>
                <a:stretch>
                  <a:fillRect/>
                </a:stretch>
              </p:blipFill>
              <p:spPr>
                <a:xfrm>
                  <a:off x="7972137" y="588518"/>
                  <a:ext cx="114480" cy="1080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104" name="Ink 103">
                  <a:extLst>
                    <a:ext uri="{FF2B5EF4-FFF2-40B4-BE49-F238E27FC236}">
                      <a16:creationId xmlns:a16="http://schemas.microsoft.com/office/drawing/2014/main" id="{E8038FD2-F19F-46A2-B68E-BA4430877E9F}"/>
                    </a:ext>
                  </a:extLst>
                </p14:cNvPr>
                <p14:cNvContentPartPr/>
                <p14:nvPr/>
              </p14:nvContentPartPr>
              <p14:xfrm>
                <a:off x="7999857" y="585638"/>
                <a:ext cx="48240" cy="139320"/>
              </p14:xfrm>
            </p:contentPart>
          </mc:Choice>
          <mc:Fallback xmlns="">
            <p:pic>
              <p:nvPicPr>
                <p:cNvPr id="104" name="Ink 103">
                  <a:extLst>
                    <a:ext uri="{FF2B5EF4-FFF2-40B4-BE49-F238E27FC236}">
                      <a16:creationId xmlns:a16="http://schemas.microsoft.com/office/drawing/2014/main" id="{E8038FD2-F19F-46A2-B68E-BA4430877E9F}"/>
                    </a:ext>
                  </a:extLst>
                </p:cNvPr>
                <p:cNvPicPr/>
                <p:nvPr/>
              </p:nvPicPr>
              <p:blipFill>
                <a:blip r:embed="rId64"/>
                <a:stretch>
                  <a:fillRect/>
                </a:stretch>
              </p:blipFill>
              <p:spPr>
                <a:xfrm>
                  <a:off x="7995537" y="581318"/>
                  <a:ext cx="5688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05" name="Ink 104">
                  <a:extLst>
                    <a:ext uri="{FF2B5EF4-FFF2-40B4-BE49-F238E27FC236}">
                      <a16:creationId xmlns:a16="http://schemas.microsoft.com/office/drawing/2014/main" id="{3624B60D-70CE-4C57-BB13-CDB2CA6188F8}"/>
                    </a:ext>
                  </a:extLst>
                </p14:cNvPr>
                <p14:cNvContentPartPr/>
                <p14:nvPr/>
              </p14:nvContentPartPr>
              <p14:xfrm>
                <a:off x="8103537" y="599318"/>
                <a:ext cx="57240" cy="57600"/>
              </p14:xfrm>
            </p:contentPart>
          </mc:Choice>
          <mc:Fallback xmlns="">
            <p:pic>
              <p:nvPicPr>
                <p:cNvPr id="105" name="Ink 104">
                  <a:extLst>
                    <a:ext uri="{FF2B5EF4-FFF2-40B4-BE49-F238E27FC236}">
                      <a16:creationId xmlns:a16="http://schemas.microsoft.com/office/drawing/2014/main" id="{3624B60D-70CE-4C57-BB13-CDB2CA6188F8}"/>
                    </a:ext>
                  </a:extLst>
                </p:cNvPr>
                <p:cNvPicPr/>
                <p:nvPr/>
              </p:nvPicPr>
              <p:blipFill>
                <a:blip r:embed="rId66"/>
                <a:stretch>
                  <a:fillRect/>
                </a:stretch>
              </p:blipFill>
              <p:spPr>
                <a:xfrm>
                  <a:off x="8099217" y="594998"/>
                  <a:ext cx="65880" cy="6624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106" name="Ink 105">
                  <a:extLst>
                    <a:ext uri="{FF2B5EF4-FFF2-40B4-BE49-F238E27FC236}">
                      <a16:creationId xmlns:a16="http://schemas.microsoft.com/office/drawing/2014/main" id="{F21C355D-4732-414A-8EB8-72F1F4C1964B}"/>
                    </a:ext>
                  </a:extLst>
                </p14:cNvPr>
                <p14:cNvContentPartPr/>
                <p14:nvPr/>
              </p14:nvContentPartPr>
              <p14:xfrm>
                <a:off x="8196057" y="585638"/>
                <a:ext cx="43920" cy="59400"/>
              </p14:xfrm>
            </p:contentPart>
          </mc:Choice>
          <mc:Fallback xmlns="">
            <p:pic>
              <p:nvPicPr>
                <p:cNvPr id="106" name="Ink 105">
                  <a:extLst>
                    <a:ext uri="{FF2B5EF4-FFF2-40B4-BE49-F238E27FC236}">
                      <a16:creationId xmlns:a16="http://schemas.microsoft.com/office/drawing/2014/main" id="{F21C355D-4732-414A-8EB8-72F1F4C1964B}"/>
                    </a:ext>
                  </a:extLst>
                </p:cNvPr>
                <p:cNvPicPr/>
                <p:nvPr/>
              </p:nvPicPr>
              <p:blipFill>
                <a:blip r:embed="rId68"/>
                <a:stretch>
                  <a:fillRect/>
                </a:stretch>
              </p:blipFill>
              <p:spPr>
                <a:xfrm>
                  <a:off x="8191737" y="581318"/>
                  <a:ext cx="52560" cy="68040"/>
                </a:xfrm>
                <a:prstGeom prst="rect">
                  <a:avLst/>
                </a:prstGeom>
              </p:spPr>
            </p:pic>
          </mc:Fallback>
        </mc:AlternateContent>
      </p:grpSp>
      <p:grpSp>
        <p:nvGrpSpPr>
          <p:cNvPr id="114" name="Group 113">
            <a:extLst>
              <a:ext uri="{FF2B5EF4-FFF2-40B4-BE49-F238E27FC236}">
                <a16:creationId xmlns:a16="http://schemas.microsoft.com/office/drawing/2014/main" id="{7885C676-A88E-492A-99A6-F6E6650F46A0}"/>
              </a:ext>
            </a:extLst>
          </p:cNvPr>
          <p:cNvGrpSpPr/>
          <p:nvPr/>
        </p:nvGrpSpPr>
        <p:grpSpPr>
          <a:xfrm>
            <a:off x="8593137" y="320678"/>
            <a:ext cx="327240" cy="315720"/>
            <a:chOff x="8593137" y="320678"/>
            <a:chExt cx="327240" cy="315720"/>
          </a:xfrm>
        </p:grpSpPr>
        <mc:AlternateContent xmlns:mc="http://schemas.openxmlformats.org/markup-compatibility/2006" xmlns:p14="http://schemas.microsoft.com/office/powerpoint/2010/main">
          <mc:Choice Requires="p14">
            <p:contentPart p14:bwMode="auto" r:id="rId69">
              <p14:nvContentPartPr>
                <p14:cNvPr id="109" name="Ink 108">
                  <a:extLst>
                    <a:ext uri="{FF2B5EF4-FFF2-40B4-BE49-F238E27FC236}">
                      <a16:creationId xmlns:a16="http://schemas.microsoft.com/office/drawing/2014/main" id="{8E5A5103-2C20-473B-B261-46E44E2A34E3}"/>
                    </a:ext>
                  </a:extLst>
                </p14:cNvPr>
                <p14:cNvContentPartPr/>
                <p14:nvPr/>
              </p14:nvContentPartPr>
              <p14:xfrm>
                <a:off x="8593137" y="320678"/>
                <a:ext cx="118080" cy="194040"/>
              </p14:xfrm>
            </p:contentPart>
          </mc:Choice>
          <mc:Fallback xmlns="">
            <p:pic>
              <p:nvPicPr>
                <p:cNvPr id="109" name="Ink 108">
                  <a:extLst>
                    <a:ext uri="{FF2B5EF4-FFF2-40B4-BE49-F238E27FC236}">
                      <a16:creationId xmlns:a16="http://schemas.microsoft.com/office/drawing/2014/main" id="{8E5A5103-2C20-473B-B261-46E44E2A34E3}"/>
                    </a:ext>
                  </a:extLst>
                </p:cNvPr>
                <p:cNvPicPr/>
                <p:nvPr/>
              </p:nvPicPr>
              <p:blipFill>
                <a:blip r:embed="rId70"/>
                <a:stretch>
                  <a:fillRect/>
                </a:stretch>
              </p:blipFill>
              <p:spPr>
                <a:xfrm>
                  <a:off x="8584137" y="311678"/>
                  <a:ext cx="135720" cy="21168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110" name="Ink 109">
                  <a:extLst>
                    <a:ext uri="{FF2B5EF4-FFF2-40B4-BE49-F238E27FC236}">
                      <a16:creationId xmlns:a16="http://schemas.microsoft.com/office/drawing/2014/main" id="{667A8D23-64F8-4238-9EDA-1EFFEDE5EA8D}"/>
                    </a:ext>
                  </a:extLst>
                </p14:cNvPr>
                <p14:cNvContentPartPr/>
                <p14:nvPr/>
              </p14:nvContentPartPr>
              <p14:xfrm>
                <a:off x="8657217" y="488078"/>
                <a:ext cx="96120" cy="148320"/>
              </p14:xfrm>
            </p:contentPart>
          </mc:Choice>
          <mc:Fallback xmlns="">
            <p:pic>
              <p:nvPicPr>
                <p:cNvPr id="110" name="Ink 109">
                  <a:extLst>
                    <a:ext uri="{FF2B5EF4-FFF2-40B4-BE49-F238E27FC236}">
                      <a16:creationId xmlns:a16="http://schemas.microsoft.com/office/drawing/2014/main" id="{667A8D23-64F8-4238-9EDA-1EFFEDE5EA8D}"/>
                    </a:ext>
                  </a:extLst>
                </p:cNvPr>
                <p:cNvPicPr/>
                <p:nvPr/>
              </p:nvPicPr>
              <p:blipFill>
                <a:blip r:embed="rId72"/>
                <a:stretch>
                  <a:fillRect/>
                </a:stretch>
              </p:blipFill>
              <p:spPr>
                <a:xfrm>
                  <a:off x="8648577" y="479078"/>
                  <a:ext cx="11376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12" name="Ink 111">
                  <a:extLst>
                    <a:ext uri="{FF2B5EF4-FFF2-40B4-BE49-F238E27FC236}">
                      <a16:creationId xmlns:a16="http://schemas.microsoft.com/office/drawing/2014/main" id="{D7AE6E3D-4C7A-4FAC-A1E4-6F7C020B45ED}"/>
                    </a:ext>
                  </a:extLst>
                </p14:cNvPr>
                <p14:cNvContentPartPr/>
                <p14:nvPr/>
              </p14:nvContentPartPr>
              <p14:xfrm>
                <a:off x="8753337" y="518318"/>
                <a:ext cx="79200" cy="87480"/>
              </p14:xfrm>
            </p:contentPart>
          </mc:Choice>
          <mc:Fallback xmlns="">
            <p:pic>
              <p:nvPicPr>
                <p:cNvPr id="112" name="Ink 111">
                  <a:extLst>
                    <a:ext uri="{FF2B5EF4-FFF2-40B4-BE49-F238E27FC236}">
                      <a16:creationId xmlns:a16="http://schemas.microsoft.com/office/drawing/2014/main" id="{D7AE6E3D-4C7A-4FAC-A1E4-6F7C020B45ED}"/>
                    </a:ext>
                  </a:extLst>
                </p:cNvPr>
                <p:cNvPicPr/>
                <p:nvPr/>
              </p:nvPicPr>
              <p:blipFill>
                <a:blip r:embed="rId74"/>
                <a:stretch>
                  <a:fillRect/>
                </a:stretch>
              </p:blipFill>
              <p:spPr>
                <a:xfrm>
                  <a:off x="8744337" y="509678"/>
                  <a:ext cx="96840" cy="10512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13" name="Ink 112">
                  <a:extLst>
                    <a:ext uri="{FF2B5EF4-FFF2-40B4-BE49-F238E27FC236}">
                      <a16:creationId xmlns:a16="http://schemas.microsoft.com/office/drawing/2014/main" id="{970F2986-0FFF-4ECB-BE85-093BDF17A43A}"/>
                    </a:ext>
                  </a:extLst>
                </p14:cNvPr>
                <p14:cNvContentPartPr/>
                <p14:nvPr/>
              </p14:nvContentPartPr>
              <p14:xfrm>
                <a:off x="8872857" y="503918"/>
                <a:ext cx="47520" cy="68040"/>
              </p14:xfrm>
            </p:contentPart>
          </mc:Choice>
          <mc:Fallback xmlns="">
            <p:pic>
              <p:nvPicPr>
                <p:cNvPr id="113" name="Ink 112">
                  <a:extLst>
                    <a:ext uri="{FF2B5EF4-FFF2-40B4-BE49-F238E27FC236}">
                      <a16:creationId xmlns:a16="http://schemas.microsoft.com/office/drawing/2014/main" id="{970F2986-0FFF-4ECB-BE85-093BDF17A43A}"/>
                    </a:ext>
                  </a:extLst>
                </p:cNvPr>
                <p:cNvPicPr/>
                <p:nvPr/>
              </p:nvPicPr>
              <p:blipFill>
                <a:blip r:embed="rId76"/>
                <a:stretch>
                  <a:fillRect/>
                </a:stretch>
              </p:blipFill>
              <p:spPr>
                <a:xfrm>
                  <a:off x="8863857" y="495278"/>
                  <a:ext cx="65160" cy="85680"/>
                </a:xfrm>
                <a:prstGeom prst="rect">
                  <a:avLst/>
                </a:prstGeom>
              </p:spPr>
            </p:pic>
          </mc:Fallback>
        </mc:AlternateContent>
      </p:grpSp>
      <p:sp>
        <p:nvSpPr>
          <p:cNvPr id="118" name="TextBox 117">
            <a:extLst>
              <a:ext uri="{FF2B5EF4-FFF2-40B4-BE49-F238E27FC236}">
                <a16:creationId xmlns:a16="http://schemas.microsoft.com/office/drawing/2014/main" id="{9FD59B1B-B3B2-450D-B9E2-D257740BB6D2}"/>
              </a:ext>
            </a:extLst>
          </p:cNvPr>
          <p:cNvSpPr txBox="1"/>
          <p:nvPr/>
        </p:nvSpPr>
        <p:spPr>
          <a:xfrm>
            <a:off x="142902" y="3671560"/>
            <a:ext cx="6489449" cy="36933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Inter"/>
                <a:cs typeface="Arial" panose="020B0604020202020204" pitchFamily="34" charset="0"/>
              </a:rPr>
              <a:t>Let’s learn how to identify and treat outliers in our ML classes</a:t>
            </a:r>
          </a:p>
        </p:txBody>
      </p:sp>
    </p:spTree>
    <p:extLst>
      <p:ext uri="{BB962C8B-B14F-4D97-AF65-F5344CB8AC3E}">
        <p14:creationId xmlns:p14="http://schemas.microsoft.com/office/powerpoint/2010/main" val="293059769"/>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6FF563-E73D-4114-871D-69CA13511BB3}"/>
              </a:ext>
            </a:extLst>
          </p:cNvPr>
          <p:cNvSpPr>
            <a:spLocks noGrp="1"/>
          </p:cNvSpPr>
          <p:nvPr>
            <p:ph type="title"/>
          </p:nvPr>
        </p:nvSpPr>
        <p:spPr>
          <a:xfrm>
            <a:off x="0" y="0"/>
            <a:ext cx="7955280" cy="640080"/>
          </a:xfrm>
        </p:spPr>
        <p:txBody>
          <a:bodyPr>
            <a:normAutofit fontScale="90000"/>
          </a:bodyPr>
          <a:lstStyle/>
          <a:p>
            <a:r>
              <a:rPr lang="en-US" dirty="0"/>
              <a:t>Mean – Continued</a:t>
            </a:r>
            <a:br>
              <a:rPr lang="en-US" dirty="0"/>
            </a:br>
            <a:r>
              <a:rPr lang="en-US" dirty="0">
                <a:solidFill>
                  <a:schemeClr val="bg2">
                    <a:lumMod val="50000"/>
                    <a:lumOff val="50000"/>
                  </a:schemeClr>
                </a:solidFill>
              </a:rPr>
              <a:t>Different types of Mean</a:t>
            </a:r>
          </a:p>
        </p:txBody>
      </p:sp>
      <p:sp>
        <p:nvSpPr>
          <p:cNvPr id="4" name="Content Placeholder 3">
            <a:extLst>
              <a:ext uri="{FF2B5EF4-FFF2-40B4-BE49-F238E27FC236}">
                <a16:creationId xmlns:a16="http://schemas.microsoft.com/office/drawing/2014/main" id="{7D3B6E85-01D6-4560-BC37-4C032EA4F8B6}"/>
              </a:ext>
            </a:extLst>
          </p:cNvPr>
          <p:cNvSpPr>
            <a:spLocks noGrp="1"/>
          </p:cNvSpPr>
          <p:nvPr>
            <p:ph sz="half" idx="1"/>
          </p:nvPr>
        </p:nvSpPr>
        <p:spPr>
          <a:xfrm>
            <a:off x="64915" y="898005"/>
            <a:ext cx="8073943" cy="3820578"/>
          </a:xfrm>
        </p:spPr>
        <p:txBody>
          <a:bodyPr/>
          <a:lstStyle/>
          <a:p>
            <a:pPr marL="0" indent="0">
              <a:buNone/>
            </a:pPr>
            <a:r>
              <a:rPr lang="en-US" sz="2500" dirty="0">
                <a:solidFill>
                  <a:srgbClr val="007DB8"/>
                </a:solidFill>
              </a:rPr>
              <a:t>Arithmetic Mean </a:t>
            </a:r>
          </a:p>
          <a:p>
            <a:r>
              <a:rPr lang="en-US" dirty="0">
                <a:solidFill>
                  <a:schemeClr val="bg2">
                    <a:lumMod val="50000"/>
                    <a:lumOff val="50000"/>
                  </a:schemeClr>
                </a:solidFill>
                <a:latin typeface="Inter"/>
              </a:rPr>
              <a:t>When you add up all the values and divide by the number of values it is called Arithmetic Mean. To calculate, just add up all the given numbers then divide by how many numbers are given.</a:t>
            </a:r>
          </a:p>
          <a:p>
            <a:pPr lvl="1"/>
            <a:r>
              <a:rPr lang="en-US" sz="1400" dirty="0">
                <a:solidFill>
                  <a:schemeClr val="bg2">
                    <a:lumMod val="50000"/>
                    <a:lumOff val="50000"/>
                  </a:schemeClr>
                </a:solidFill>
                <a:latin typeface="Inter"/>
              </a:rPr>
              <a:t>Example: What is the mean of 3, 5, 9, 5, 7, 2?</a:t>
            </a:r>
          </a:p>
          <a:p>
            <a:pPr lvl="1"/>
            <a:r>
              <a:rPr lang="en-US" sz="1400" dirty="0">
                <a:solidFill>
                  <a:schemeClr val="bg2">
                    <a:lumMod val="50000"/>
                    <a:lumOff val="50000"/>
                  </a:schemeClr>
                </a:solidFill>
                <a:latin typeface="Inter"/>
              </a:rPr>
              <a:t>Now add up all the given numbers:</a:t>
            </a:r>
          </a:p>
          <a:p>
            <a:pPr lvl="1"/>
            <a:r>
              <a:rPr lang="en-US" sz="1400" dirty="0">
                <a:solidFill>
                  <a:schemeClr val="bg2">
                    <a:lumMod val="50000"/>
                    <a:lumOff val="50000"/>
                  </a:schemeClr>
                </a:solidFill>
                <a:latin typeface="Inter"/>
              </a:rPr>
              <a:t>3 + 5 + 9 + 5 + 7 + 2 = 31</a:t>
            </a:r>
          </a:p>
          <a:p>
            <a:pPr lvl="1"/>
            <a:r>
              <a:rPr lang="en-US" sz="1400" dirty="0">
                <a:solidFill>
                  <a:schemeClr val="bg2">
                    <a:lumMod val="50000"/>
                    <a:lumOff val="50000"/>
                  </a:schemeClr>
                </a:solidFill>
                <a:latin typeface="Inter"/>
              </a:rPr>
              <a:t>Now divide by how many numbers provided in the sequence:</a:t>
            </a:r>
          </a:p>
          <a:p>
            <a:pPr lvl="1"/>
            <a:r>
              <a:rPr lang="en-US" sz="1400" dirty="0">
                <a:solidFill>
                  <a:schemeClr val="bg2">
                    <a:lumMod val="50000"/>
                    <a:lumOff val="50000"/>
                  </a:schemeClr>
                </a:solidFill>
                <a:latin typeface="Inter"/>
              </a:rPr>
              <a:t>316= 5.16</a:t>
            </a:r>
          </a:p>
          <a:p>
            <a:pPr lvl="1"/>
            <a:r>
              <a:rPr lang="en-US" sz="1400" dirty="0">
                <a:solidFill>
                  <a:schemeClr val="bg2">
                    <a:lumMod val="50000"/>
                    <a:lumOff val="50000"/>
                  </a:schemeClr>
                </a:solidFill>
                <a:latin typeface="Inter"/>
              </a:rPr>
              <a:t>5.16 is the answer</a:t>
            </a:r>
            <a:r>
              <a:rPr lang="en-US" dirty="0"/>
              <a:t>.</a:t>
            </a:r>
          </a:p>
          <a:p>
            <a:endParaRPr lang="en-US" dirty="0"/>
          </a:p>
        </p:txBody>
      </p:sp>
      <p:pic>
        <p:nvPicPr>
          <p:cNvPr id="6" name="Picture 5">
            <a:extLst>
              <a:ext uri="{FF2B5EF4-FFF2-40B4-BE49-F238E27FC236}">
                <a16:creationId xmlns:a16="http://schemas.microsoft.com/office/drawing/2014/main" id="{27CA7337-1D9D-4B99-B6FB-2A461EFDE4E9}"/>
              </a:ext>
            </a:extLst>
          </p:cNvPr>
          <p:cNvPicPr>
            <a:picLocks noChangeAspect="1"/>
          </p:cNvPicPr>
          <p:nvPr/>
        </p:nvPicPr>
        <p:blipFill>
          <a:blip r:embed="rId2"/>
          <a:stretch>
            <a:fillRect/>
          </a:stretch>
        </p:blipFill>
        <p:spPr>
          <a:xfrm>
            <a:off x="531909" y="3657310"/>
            <a:ext cx="4143375" cy="495300"/>
          </a:xfrm>
          <a:prstGeom prst="rect">
            <a:avLst/>
          </a:prstGeom>
        </p:spPr>
      </p:pic>
    </p:spTree>
    <p:extLst>
      <p:ext uri="{BB962C8B-B14F-4D97-AF65-F5344CB8AC3E}">
        <p14:creationId xmlns:p14="http://schemas.microsoft.com/office/powerpoint/2010/main" val="2903660889"/>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p:spTree>
    <p:extLst>
      <p:ext uri="{BB962C8B-B14F-4D97-AF65-F5344CB8AC3E}">
        <p14:creationId xmlns:p14="http://schemas.microsoft.com/office/powerpoint/2010/main" val="386559179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5DE446-0BA5-47DD-9C34-E22160028D02}"/>
              </a:ext>
            </a:extLst>
          </p:cNvPr>
          <p:cNvSpPr>
            <a:spLocks noGrp="1"/>
          </p:cNvSpPr>
          <p:nvPr>
            <p:ph type="title"/>
          </p:nvPr>
        </p:nvSpPr>
        <p:spPr>
          <a:xfrm>
            <a:off x="0" y="27981"/>
            <a:ext cx="7955280" cy="640080"/>
          </a:xfrm>
        </p:spPr>
        <p:txBody>
          <a:bodyPr/>
          <a:lstStyle/>
          <a:p>
            <a:r>
              <a:rPr lang="en-US" dirty="0"/>
              <a:t>Geometric Mean</a:t>
            </a:r>
          </a:p>
        </p:txBody>
      </p:sp>
      <p:sp>
        <p:nvSpPr>
          <p:cNvPr id="4" name="Content Placeholder 3">
            <a:extLst>
              <a:ext uri="{FF2B5EF4-FFF2-40B4-BE49-F238E27FC236}">
                <a16:creationId xmlns:a16="http://schemas.microsoft.com/office/drawing/2014/main" id="{8B864218-C049-4F5F-973F-1252FE3B9728}"/>
              </a:ext>
            </a:extLst>
          </p:cNvPr>
          <p:cNvSpPr>
            <a:spLocks noGrp="1"/>
          </p:cNvSpPr>
          <p:nvPr>
            <p:ph sz="half" idx="1"/>
          </p:nvPr>
        </p:nvSpPr>
        <p:spPr>
          <a:xfrm>
            <a:off x="274320" y="607273"/>
            <a:ext cx="7955280" cy="3964727"/>
          </a:xfrm>
        </p:spPr>
        <p:txBody>
          <a:bodyPr/>
          <a:lstStyle/>
          <a:p>
            <a:r>
              <a:rPr lang="en-US" dirty="0">
                <a:solidFill>
                  <a:schemeClr val="bg2">
                    <a:lumMod val="50000"/>
                    <a:lumOff val="50000"/>
                  </a:schemeClr>
                </a:solidFill>
                <a:latin typeface="Inter"/>
              </a:rPr>
              <a:t>While finding geometric mean the values are </a:t>
            </a:r>
            <a:r>
              <a:rPr lang="en-US" dirty="0" err="1">
                <a:solidFill>
                  <a:schemeClr val="bg2">
                    <a:lumMod val="50000"/>
                    <a:lumOff val="50000"/>
                  </a:schemeClr>
                </a:solidFill>
                <a:latin typeface="Inter"/>
              </a:rPr>
              <a:t>multipled</a:t>
            </a:r>
            <a:r>
              <a:rPr lang="en-US" dirty="0">
                <a:solidFill>
                  <a:schemeClr val="bg2">
                    <a:lumMod val="50000"/>
                    <a:lumOff val="50000"/>
                  </a:schemeClr>
                </a:solidFill>
                <a:latin typeface="Inter"/>
              </a:rPr>
              <a:t> rather than summed up </a:t>
            </a:r>
          </a:p>
          <a:p>
            <a:endParaRPr lang="en-US" dirty="0">
              <a:solidFill>
                <a:schemeClr val="bg2">
                  <a:lumMod val="50000"/>
                  <a:lumOff val="50000"/>
                </a:schemeClr>
              </a:solidFill>
              <a:latin typeface="Inter"/>
            </a:endParaRPr>
          </a:p>
          <a:p>
            <a:r>
              <a:rPr lang="en-US" dirty="0">
                <a:solidFill>
                  <a:schemeClr val="bg2">
                    <a:lumMod val="50000"/>
                    <a:lumOff val="50000"/>
                  </a:schemeClr>
                </a:solidFill>
                <a:latin typeface="Inter"/>
              </a:rPr>
              <a:t>Example: Find the geometric mean of 4 and 3 ?</a:t>
            </a:r>
          </a:p>
          <a:p>
            <a:pPr lvl="1"/>
            <a:r>
              <a:rPr lang="en-US" sz="1400" dirty="0">
                <a:solidFill>
                  <a:schemeClr val="bg2">
                    <a:lumMod val="50000"/>
                    <a:lumOff val="50000"/>
                  </a:schemeClr>
                </a:solidFill>
                <a:latin typeface="Inter"/>
              </a:rPr>
              <a:t>Geometric Mean =√4×3=2√23= 3.46</a:t>
            </a:r>
          </a:p>
          <a:p>
            <a:r>
              <a:rPr lang="en-US" dirty="0">
                <a:solidFill>
                  <a:schemeClr val="bg2">
                    <a:lumMod val="50000"/>
                    <a:lumOff val="50000"/>
                  </a:schemeClr>
                </a:solidFill>
                <a:latin typeface="Inter"/>
              </a:rPr>
              <a:t>GM of 2 numbers is like finding area and the GM of 3 numbers is like finding the volume of area.. </a:t>
            </a:r>
          </a:p>
          <a:p>
            <a:pPr lvl="1"/>
            <a:r>
              <a:rPr lang="en-US" sz="1400" dirty="0">
                <a:solidFill>
                  <a:schemeClr val="bg2">
                    <a:lumMod val="50000"/>
                    <a:lumOff val="50000"/>
                  </a:schemeClr>
                </a:solidFill>
                <a:latin typeface="Inter"/>
              </a:rPr>
              <a:t>Ex : What is geometric mean of 1,3,9,27,81 ? </a:t>
            </a:r>
          </a:p>
          <a:p>
            <a:r>
              <a:rPr lang="en-US" dirty="0">
                <a:solidFill>
                  <a:schemeClr val="bg2">
                    <a:lumMod val="50000"/>
                    <a:lumOff val="50000"/>
                  </a:schemeClr>
                </a:solidFill>
                <a:latin typeface="Inter"/>
              </a:rPr>
              <a:t>Why Geometric Mean ? </a:t>
            </a:r>
          </a:p>
          <a:p>
            <a:pPr lvl="1"/>
            <a:r>
              <a:rPr lang="en-US" sz="1400" dirty="0">
                <a:solidFill>
                  <a:schemeClr val="bg2">
                    <a:lumMod val="50000"/>
                    <a:lumOff val="50000"/>
                  </a:schemeClr>
                </a:solidFill>
                <a:latin typeface="Inter"/>
              </a:rPr>
              <a:t>Ex : Buying a laptop </a:t>
            </a:r>
          </a:p>
          <a:p>
            <a:endParaRPr lang="en-US" dirty="0"/>
          </a:p>
        </p:txBody>
      </p:sp>
      <p:pic>
        <p:nvPicPr>
          <p:cNvPr id="6" name="Picture 5" descr="A picture containing text, electronics, computer, display&#10;&#10;Description automatically generated">
            <a:extLst>
              <a:ext uri="{FF2B5EF4-FFF2-40B4-BE49-F238E27FC236}">
                <a16:creationId xmlns:a16="http://schemas.microsoft.com/office/drawing/2014/main" id="{5F3DBB60-44C0-4843-BD26-C515BA6729B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99018" y="2836996"/>
            <a:ext cx="2559126" cy="1413917"/>
          </a:xfrm>
          <a:prstGeom prst="rect">
            <a:avLst/>
          </a:prstGeom>
        </p:spPr>
      </p:pic>
      <p:pic>
        <p:nvPicPr>
          <p:cNvPr id="9" name="Picture 8">
            <a:extLst>
              <a:ext uri="{FF2B5EF4-FFF2-40B4-BE49-F238E27FC236}">
                <a16:creationId xmlns:a16="http://schemas.microsoft.com/office/drawing/2014/main" id="{EF92DF04-2F8E-4143-B9E7-DB7E0542E115}"/>
              </a:ext>
            </a:extLst>
          </p:cNvPr>
          <p:cNvPicPr>
            <a:picLocks noChangeAspect="1"/>
          </p:cNvPicPr>
          <p:nvPr/>
        </p:nvPicPr>
        <p:blipFill>
          <a:blip r:embed="rId4"/>
          <a:stretch>
            <a:fillRect/>
          </a:stretch>
        </p:blipFill>
        <p:spPr>
          <a:xfrm>
            <a:off x="1619396" y="818583"/>
            <a:ext cx="3657600" cy="466725"/>
          </a:xfrm>
          <a:prstGeom prst="rect">
            <a:avLst/>
          </a:prstGeom>
        </p:spPr>
      </p:pic>
    </p:spTree>
    <p:extLst>
      <p:ext uri="{BB962C8B-B14F-4D97-AF65-F5344CB8AC3E}">
        <p14:creationId xmlns:p14="http://schemas.microsoft.com/office/powerpoint/2010/main" val="2355739922"/>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2BE7F-23BD-4650-9881-92293F42646A}"/>
              </a:ext>
            </a:extLst>
          </p:cNvPr>
          <p:cNvSpPr>
            <a:spLocks noGrp="1"/>
          </p:cNvSpPr>
          <p:nvPr>
            <p:ph type="title"/>
          </p:nvPr>
        </p:nvSpPr>
        <p:spPr>
          <a:xfrm>
            <a:off x="0" y="0"/>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FE64AFE6-BC36-4F1D-ACEC-72EB9E24C942}"/>
              </a:ext>
            </a:extLst>
          </p:cNvPr>
          <p:cNvSpPr>
            <a:spLocks noGrp="1"/>
          </p:cNvSpPr>
          <p:nvPr>
            <p:ph sz="half" idx="1"/>
          </p:nvPr>
        </p:nvSpPr>
        <p:spPr>
          <a:xfrm>
            <a:off x="57936" y="570889"/>
            <a:ext cx="8534632" cy="4001721"/>
          </a:xfrm>
        </p:spPr>
        <p:txBody>
          <a:bodyPr/>
          <a:lstStyle/>
          <a:p>
            <a:r>
              <a:rPr lang="en-US" sz="1800" kern="1200" dirty="0">
                <a:solidFill>
                  <a:schemeClr val="bg2">
                    <a:lumMod val="50000"/>
                    <a:lumOff val="50000"/>
                  </a:schemeClr>
                </a:solidFill>
                <a:latin typeface="Inter"/>
                <a:ea typeface="+mn-ea"/>
              </a:rPr>
              <a:t>The harmonic mean is a type of numerical average. It is calculated by dividing the number of observations by the reciprocal of each number in the series. </a:t>
            </a:r>
          </a:p>
          <a:p>
            <a:r>
              <a:rPr lang="en-US" sz="1800" kern="1200" dirty="0">
                <a:solidFill>
                  <a:schemeClr val="bg2">
                    <a:lumMod val="50000"/>
                    <a:lumOff val="50000"/>
                  </a:schemeClr>
                </a:solidFill>
                <a:latin typeface="Inter"/>
                <a:ea typeface="+mn-ea"/>
              </a:rPr>
              <a:t>The reciprocal of a number n is simply 1 / n.</a:t>
            </a:r>
          </a:p>
          <a:p>
            <a:r>
              <a:rPr lang="en-US" sz="1800" kern="1200" dirty="0">
                <a:solidFill>
                  <a:schemeClr val="bg2">
                    <a:lumMod val="50000"/>
                    <a:lumOff val="50000"/>
                  </a:schemeClr>
                </a:solidFill>
                <a:latin typeface="Inter"/>
                <a:ea typeface="+mn-ea"/>
              </a:rPr>
              <a:t>Ex : the harmonic mean of 2, 4, 6, 8, 50 is </a:t>
            </a: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21DD35F-BF5C-4C24-8567-60DAF0F0E899}"/>
                  </a:ext>
                </a:extLst>
              </p14:cNvPr>
              <p14:cNvContentPartPr/>
              <p14:nvPr/>
            </p14:nvContentPartPr>
            <p14:xfrm>
              <a:off x="1577097" y="2882438"/>
              <a:ext cx="360" cy="360"/>
            </p14:xfrm>
          </p:contentPart>
        </mc:Choice>
        <mc:Fallback xmlns="">
          <p:pic>
            <p:nvPicPr>
              <p:cNvPr id="9" name="Ink 8">
                <a:extLst>
                  <a:ext uri="{FF2B5EF4-FFF2-40B4-BE49-F238E27FC236}">
                    <a16:creationId xmlns:a16="http://schemas.microsoft.com/office/drawing/2014/main" id="{521DD35F-BF5C-4C24-8567-60DAF0F0E899}"/>
                  </a:ext>
                </a:extLst>
              </p:cNvPr>
              <p:cNvPicPr/>
              <p:nvPr/>
            </p:nvPicPr>
            <p:blipFill>
              <a:blip r:embed="rId3"/>
              <a:stretch>
                <a:fillRect/>
              </a:stretch>
            </p:blipFill>
            <p:spPr>
              <a:xfrm>
                <a:off x="1572777" y="287811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13" name="Ink 12">
                <a:extLst>
                  <a:ext uri="{FF2B5EF4-FFF2-40B4-BE49-F238E27FC236}">
                    <a16:creationId xmlns:a16="http://schemas.microsoft.com/office/drawing/2014/main" id="{C247D014-0380-4712-8703-F5FA9E77D00C}"/>
                  </a:ext>
                </a:extLst>
              </p14:cNvPr>
              <p14:cNvContentPartPr/>
              <p14:nvPr/>
            </p14:nvContentPartPr>
            <p14:xfrm>
              <a:off x="439497" y="2460878"/>
              <a:ext cx="1454400" cy="93960"/>
            </p14:xfrm>
          </p:contentPart>
        </mc:Choice>
        <mc:Fallback xmlns="">
          <p:pic>
            <p:nvPicPr>
              <p:cNvPr id="13" name="Ink 12">
                <a:extLst>
                  <a:ext uri="{FF2B5EF4-FFF2-40B4-BE49-F238E27FC236}">
                    <a16:creationId xmlns:a16="http://schemas.microsoft.com/office/drawing/2014/main" id="{C247D014-0380-4712-8703-F5FA9E77D00C}"/>
                  </a:ext>
                </a:extLst>
              </p:cNvPr>
              <p:cNvPicPr/>
              <p:nvPr/>
            </p:nvPicPr>
            <p:blipFill>
              <a:blip r:embed="rId5"/>
              <a:stretch>
                <a:fillRect/>
              </a:stretch>
            </p:blipFill>
            <p:spPr>
              <a:xfrm>
                <a:off x="435177" y="2456558"/>
                <a:ext cx="1463040" cy="102600"/>
              </a:xfrm>
              <a:prstGeom prst="rect">
                <a:avLst/>
              </a:prstGeom>
            </p:spPr>
          </p:pic>
        </mc:Fallback>
      </mc:AlternateContent>
      <p:grpSp>
        <p:nvGrpSpPr>
          <p:cNvPr id="31" name="Group 30">
            <a:extLst>
              <a:ext uri="{FF2B5EF4-FFF2-40B4-BE49-F238E27FC236}">
                <a16:creationId xmlns:a16="http://schemas.microsoft.com/office/drawing/2014/main" id="{7F6642C1-E870-4010-B0E9-EF747B2FA80D}"/>
              </a:ext>
            </a:extLst>
          </p:cNvPr>
          <p:cNvGrpSpPr/>
          <p:nvPr/>
        </p:nvGrpSpPr>
        <p:grpSpPr>
          <a:xfrm>
            <a:off x="160137" y="2617118"/>
            <a:ext cx="1249920" cy="397440"/>
            <a:chOff x="160137" y="2617118"/>
            <a:chExt cx="1249920" cy="397440"/>
          </a:xfrm>
        </p:grpSpPr>
        <mc:AlternateContent xmlns:mc="http://schemas.openxmlformats.org/markup-compatibility/2006" xmlns:p14="http://schemas.microsoft.com/office/powerpoint/2010/main">
          <mc:Choice Requires="p14">
            <p:contentPart p14:bwMode="auto" r:id="rId6">
              <p14:nvContentPartPr>
                <p14:cNvPr id="15" name="Ink 14">
                  <a:extLst>
                    <a:ext uri="{FF2B5EF4-FFF2-40B4-BE49-F238E27FC236}">
                      <a16:creationId xmlns:a16="http://schemas.microsoft.com/office/drawing/2014/main" id="{ABBCC6A1-7D66-471E-B664-9C36034A1695}"/>
                    </a:ext>
                  </a:extLst>
                </p14:cNvPr>
                <p14:cNvContentPartPr/>
                <p14:nvPr/>
              </p14:nvContentPartPr>
              <p14:xfrm>
                <a:off x="281457" y="2652398"/>
                <a:ext cx="18720" cy="69120"/>
              </p14:xfrm>
            </p:contentPart>
          </mc:Choice>
          <mc:Fallback xmlns="">
            <p:pic>
              <p:nvPicPr>
                <p:cNvPr id="15" name="Ink 14">
                  <a:extLst>
                    <a:ext uri="{FF2B5EF4-FFF2-40B4-BE49-F238E27FC236}">
                      <a16:creationId xmlns:a16="http://schemas.microsoft.com/office/drawing/2014/main" id="{ABBCC6A1-7D66-471E-B664-9C36034A1695}"/>
                    </a:ext>
                  </a:extLst>
                </p:cNvPr>
                <p:cNvPicPr/>
                <p:nvPr/>
              </p:nvPicPr>
              <p:blipFill>
                <a:blip r:embed="rId7"/>
                <a:stretch>
                  <a:fillRect/>
                </a:stretch>
              </p:blipFill>
              <p:spPr>
                <a:xfrm>
                  <a:off x="277137" y="2648078"/>
                  <a:ext cx="27360" cy="777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Ink 15">
                  <a:extLst>
                    <a:ext uri="{FF2B5EF4-FFF2-40B4-BE49-F238E27FC236}">
                      <a16:creationId xmlns:a16="http://schemas.microsoft.com/office/drawing/2014/main" id="{E827FF3F-D218-4768-83C1-269622D7BE6B}"/>
                    </a:ext>
                  </a:extLst>
                </p14:cNvPr>
                <p14:cNvContentPartPr/>
                <p14:nvPr/>
              </p14:nvContentPartPr>
              <p14:xfrm>
                <a:off x="160137" y="2777678"/>
                <a:ext cx="195480" cy="9360"/>
              </p14:xfrm>
            </p:contentPart>
          </mc:Choice>
          <mc:Fallback xmlns="">
            <p:pic>
              <p:nvPicPr>
                <p:cNvPr id="16" name="Ink 15">
                  <a:extLst>
                    <a:ext uri="{FF2B5EF4-FFF2-40B4-BE49-F238E27FC236}">
                      <a16:creationId xmlns:a16="http://schemas.microsoft.com/office/drawing/2014/main" id="{E827FF3F-D218-4768-83C1-269622D7BE6B}"/>
                    </a:ext>
                  </a:extLst>
                </p:cNvPr>
                <p:cNvPicPr/>
                <p:nvPr/>
              </p:nvPicPr>
              <p:blipFill>
                <a:blip r:embed="rId9"/>
                <a:stretch>
                  <a:fillRect/>
                </a:stretch>
              </p:blipFill>
              <p:spPr>
                <a:xfrm>
                  <a:off x="155817" y="2773358"/>
                  <a:ext cx="20412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Ink 16">
                  <a:extLst>
                    <a:ext uri="{FF2B5EF4-FFF2-40B4-BE49-F238E27FC236}">
                      <a16:creationId xmlns:a16="http://schemas.microsoft.com/office/drawing/2014/main" id="{808A8589-F238-4BBB-833C-8E6EB5A163A0}"/>
                    </a:ext>
                  </a:extLst>
                </p14:cNvPr>
                <p14:cNvContentPartPr/>
                <p14:nvPr/>
              </p14:nvContentPartPr>
              <p14:xfrm>
                <a:off x="184977" y="2847158"/>
                <a:ext cx="104760" cy="98280"/>
              </p14:xfrm>
            </p:contentPart>
          </mc:Choice>
          <mc:Fallback xmlns="">
            <p:pic>
              <p:nvPicPr>
                <p:cNvPr id="17" name="Ink 16">
                  <a:extLst>
                    <a:ext uri="{FF2B5EF4-FFF2-40B4-BE49-F238E27FC236}">
                      <a16:creationId xmlns:a16="http://schemas.microsoft.com/office/drawing/2014/main" id="{808A8589-F238-4BBB-833C-8E6EB5A163A0}"/>
                    </a:ext>
                  </a:extLst>
                </p:cNvPr>
                <p:cNvPicPr/>
                <p:nvPr/>
              </p:nvPicPr>
              <p:blipFill>
                <a:blip r:embed="rId11"/>
                <a:stretch>
                  <a:fillRect/>
                </a:stretch>
              </p:blipFill>
              <p:spPr>
                <a:xfrm>
                  <a:off x="180657" y="2842838"/>
                  <a:ext cx="113400" cy="1069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Ink 17">
                  <a:extLst>
                    <a:ext uri="{FF2B5EF4-FFF2-40B4-BE49-F238E27FC236}">
                      <a16:creationId xmlns:a16="http://schemas.microsoft.com/office/drawing/2014/main" id="{ADC4EA80-7CFB-4BBE-ABC7-58B9F39C8CE8}"/>
                    </a:ext>
                  </a:extLst>
                </p14:cNvPr>
                <p14:cNvContentPartPr/>
                <p14:nvPr/>
              </p14:nvContentPartPr>
              <p14:xfrm>
                <a:off x="488817" y="2699558"/>
                <a:ext cx="6840" cy="91440"/>
              </p14:xfrm>
            </p:contentPart>
          </mc:Choice>
          <mc:Fallback xmlns="">
            <p:pic>
              <p:nvPicPr>
                <p:cNvPr id="18" name="Ink 17">
                  <a:extLst>
                    <a:ext uri="{FF2B5EF4-FFF2-40B4-BE49-F238E27FC236}">
                      <a16:creationId xmlns:a16="http://schemas.microsoft.com/office/drawing/2014/main" id="{ADC4EA80-7CFB-4BBE-ABC7-58B9F39C8CE8}"/>
                    </a:ext>
                  </a:extLst>
                </p:cNvPr>
                <p:cNvPicPr/>
                <p:nvPr/>
              </p:nvPicPr>
              <p:blipFill>
                <a:blip r:embed="rId13"/>
                <a:stretch>
                  <a:fillRect/>
                </a:stretch>
              </p:blipFill>
              <p:spPr>
                <a:xfrm>
                  <a:off x="484497" y="2695238"/>
                  <a:ext cx="1548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Ink 18">
                  <a:extLst>
                    <a:ext uri="{FF2B5EF4-FFF2-40B4-BE49-F238E27FC236}">
                      <a16:creationId xmlns:a16="http://schemas.microsoft.com/office/drawing/2014/main" id="{A80AF556-75FB-4007-89BC-179550900F1D}"/>
                    </a:ext>
                  </a:extLst>
                </p14:cNvPr>
                <p14:cNvContentPartPr/>
                <p14:nvPr/>
              </p14:nvContentPartPr>
              <p14:xfrm>
                <a:off x="425817" y="2766518"/>
                <a:ext cx="76320" cy="4320"/>
              </p14:xfrm>
            </p:contentPart>
          </mc:Choice>
          <mc:Fallback xmlns="">
            <p:pic>
              <p:nvPicPr>
                <p:cNvPr id="19" name="Ink 18">
                  <a:extLst>
                    <a:ext uri="{FF2B5EF4-FFF2-40B4-BE49-F238E27FC236}">
                      <a16:creationId xmlns:a16="http://schemas.microsoft.com/office/drawing/2014/main" id="{A80AF556-75FB-4007-89BC-179550900F1D}"/>
                    </a:ext>
                  </a:extLst>
                </p:cNvPr>
                <p:cNvPicPr/>
                <p:nvPr/>
              </p:nvPicPr>
              <p:blipFill>
                <a:blip r:embed="rId15"/>
                <a:stretch>
                  <a:fillRect/>
                </a:stretch>
              </p:blipFill>
              <p:spPr>
                <a:xfrm>
                  <a:off x="421497" y="2762198"/>
                  <a:ext cx="84960" cy="129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Ink 19">
                  <a:extLst>
                    <a:ext uri="{FF2B5EF4-FFF2-40B4-BE49-F238E27FC236}">
                      <a16:creationId xmlns:a16="http://schemas.microsoft.com/office/drawing/2014/main" id="{6E0D1770-2FF1-49B0-B884-EB534999F7B1}"/>
                    </a:ext>
                  </a:extLst>
                </p14:cNvPr>
                <p14:cNvContentPartPr/>
                <p14:nvPr/>
              </p14:nvContentPartPr>
              <p14:xfrm>
                <a:off x="677457" y="2637998"/>
                <a:ext cx="15480" cy="139320"/>
              </p14:xfrm>
            </p:contentPart>
          </mc:Choice>
          <mc:Fallback xmlns="">
            <p:pic>
              <p:nvPicPr>
                <p:cNvPr id="20" name="Ink 19">
                  <a:extLst>
                    <a:ext uri="{FF2B5EF4-FFF2-40B4-BE49-F238E27FC236}">
                      <a16:creationId xmlns:a16="http://schemas.microsoft.com/office/drawing/2014/main" id="{6E0D1770-2FF1-49B0-B884-EB534999F7B1}"/>
                    </a:ext>
                  </a:extLst>
                </p:cNvPr>
                <p:cNvPicPr/>
                <p:nvPr/>
              </p:nvPicPr>
              <p:blipFill>
                <a:blip r:embed="rId17"/>
                <a:stretch>
                  <a:fillRect/>
                </a:stretch>
              </p:blipFill>
              <p:spPr>
                <a:xfrm>
                  <a:off x="673137" y="2633678"/>
                  <a:ext cx="24120" cy="1479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1" name="Ink 20">
                  <a:extLst>
                    <a:ext uri="{FF2B5EF4-FFF2-40B4-BE49-F238E27FC236}">
                      <a16:creationId xmlns:a16="http://schemas.microsoft.com/office/drawing/2014/main" id="{701DEE8B-F426-46BC-A8D6-2F140690654E}"/>
                    </a:ext>
                  </a:extLst>
                </p14:cNvPr>
                <p14:cNvContentPartPr/>
                <p14:nvPr/>
              </p14:nvContentPartPr>
              <p14:xfrm>
                <a:off x="586017" y="2798558"/>
                <a:ext cx="279720" cy="14400"/>
              </p14:xfrm>
            </p:contentPart>
          </mc:Choice>
          <mc:Fallback xmlns="">
            <p:pic>
              <p:nvPicPr>
                <p:cNvPr id="21" name="Ink 20">
                  <a:extLst>
                    <a:ext uri="{FF2B5EF4-FFF2-40B4-BE49-F238E27FC236}">
                      <a16:creationId xmlns:a16="http://schemas.microsoft.com/office/drawing/2014/main" id="{701DEE8B-F426-46BC-A8D6-2F140690654E}"/>
                    </a:ext>
                  </a:extLst>
                </p:cNvPr>
                <p:cNvPicPr/>
                <p:nvPr/>
              </p:nvPicPr>
              <p:blipFill>
                <a:blip r:embed="rId19"/>
                <a:stretch>
                  <a:fillRect/>
                </a:stretch>
              </p:blipFill>
              <p:spPr>
                <a:xfrm>
                  <a:off x="581697" y="2794238"/>
                  <a:ext cx="2883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2" name="Ink 21">
                  <a:extLst>
                    <a:ext uri="{FF2B5EF4-FFF2-40B4-BE49-F238E27FC236}">
                      <a16:creationId xmlns:a16="http://schemas.microsoft.com/office/drawing/2014/main" id="{FAE1AE06-5FE8-4148-8B52-F004B4A5D083}"/>
                    </a:ext>
                  </a:extLst>
                </p14:cNvPr>
                <p14:cNvContentPartPr/>
                <p14:nvPr/>
              </p14:nvContentPartPr>
              <p14:xfrm>
                <a:off x="645417" y="2882438"/>
                <a:ext cx="142920" cy="64080"/>
              </p14:xfrm>
            </p:contentPart>
          </mc:Choice>
          <mc:Fallback xmlns="">
            <p:pic>
              <p:nvPicPr>
                <p:cNvPr id="22" name="Ink 21">
                  <a:extLst>
                    <a:ext uri="{FF2B5EF4-FFF2-40B4-BE49-F238E27FC236}">
                      <a16:creationId xmlns:a16="http://schemas.microsoft.com/office/drawing/2014/main" id="{FAE1AE06-5FE8-4148-8B52-F004B4A5D083}"/>
                    </a:ext>
                  </a:extLst>
                </p:cNvPr>
                <p:cNvPicPr/>
                <p:nvPr/>
              </p:nvPicPr>
              <p:blipFill>
                <a:blip r:embed="rId21"/>
                <a:stretch>
                  <a:fillRect/>
                </a:stretch>
              </p:blipFill>
              <p:spPr>
                <a:xfrm>
                  <a:off x="641097" y="2878118"/>
                  <a:ext cx="151560" cy="72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23" name="Ink 22">
                  <a:extLst>
                    <a:ext uri="{FF2B5EF4-FFF2-40B4-BE49-F238E27FC236}">
                      <a16:creationId xmlns:a16="http://schemas.microsoft.com/office/drawing/2014/main" id="{EB4BAC1B-4F7A-4D56-A8AE-52BAA53BED62}"/>
                    </a:ext>
                  </a:extLst>
                </p14:cNvPr>
                <p14:cNvContentPartPr/>
                <p14:nvPr/>
              </p14:nvContentPartPr>
              <p14:xfrm>
                <a:off x="660177" y="2889278"/>
                <a:ext cx="37800" cy="125280"/>
              </p14:xfrm>
            </p:contentPart>
          </mc:Choice>
          <mc:Fallback xmlns="">
            <p:pic>
              <p:nvPicPr>
                <p:cNvPr id="23" name="Ink 22">
                  <a:extLst>
                    <a:ext uri="{FF2B5EF4-FFF2-40B4-BE49-F238E27FC236}">
                      <a16:creationId xmlns:a16="http://schemas.microsoft.com/office/drawing/2014/main" id="{EB4BAC1B-4F7A-4D56-A8AE-52BAA53BED62}"/>
                    </a:ext>
                  </a:extLst>
                </p:cNvPr>
                <p:cNvPicPr/>
                <p:nvPr/>
              </p:nvPicPr>
              <p:blipFill>
                <a:blip r:embed="rId23"/>
                <a:stretch>
                  <a:fillRect/>
                </a:stretch>
              </p:blipFill>
              <p:spPr>
                <a:xfrm>
                  <a:off x="655857" y="2884958"/>
                  <a:ext cx="46440" cy="133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26" name="Ink 25">
                  <a:extLst>
                    <a:ext uri="{FF2B5EF4-FFF2-40B4-BE49-F238E27FC236}">
                      <a16:creationId xmlns:a16="http://schemas.microsoft.com/office/drawing/2014/main" id="{B66B6A31-3D97-4A0C-A2EB-9697A5137218}"/>
                    </a:ext>
                  </a:extLst>
                </p14:cNvPr>
                <p14:cNvContentPartPr/>
                <p14:nvPr/>
              </p14:nvContentPartPr>
              <p14:xfrm>
                <a:off x="970497" y="2714678"/>
                <a:ext cx="6840" cy="76680"/>
              </p14:xfrm>
            </p:contentPart>
          </mc:Choice>
          <mc:Fallback xmlns="">
            <p:pic>
              <p:nvPicPr>
                <p:cNvPr id="26" name="Ink 25">
                  <a:extLst>
                    <a:ext uri="{FF2B5EF4-FFF2-40B4-BE49-F238E27FC236}">
                      <a16:creationId xmlns:a16="http://schemas.microsoft.com/office/drawing/2014/main" id="{B66B6A31-3D97-4A0C-A2EB-9697A5137218}"/>
                    </a:ext>
                  </a:extLst>
                </p:cNvPr>
                <p:cNvPicPr/>
                <p:nvPr/>
              </p:nvPicPr>
              <p:blipFill>
                <a:blip r:embed="rId25"/>
                <a:stretch>
                  <a:fillRect/>
                </a:stretch>
              </p:blipFill>
              <p:spPr>
                <a:xfrm>
                  <a:off x="966177" y="2710358"/>
                  <a:ext cx="15480" cy="8532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27" name="Ink 26">
                  <a:extLst>
                    <a:ext uri="{FF2B5EF4-FFF2-40B4-BE49-F238E27FC236}">
                      <a16:creationId xmlns:a16="http://schemas.microsoft.com/office/drawing/2014/main" id="{19ED34EB-BF86-44FD-BC89-488EA6E66ABF}"/>
                    </a:ext>
                  </a:extLst>
                </p14:cNvPr>
                <p14:cNvContentPartPr/>
                <p14:nvPr/>
              </p14:nvContentPartPr>
              <p14:xfrm>
                <a:off x="948897" y="2749598"/>
                <a:ext cx="40680" cy="7560"/>
              </p14:xfrm>
            </p:contentPart>
          </mc:Choice>
          <mc:Fallback xmlns="">
            <p:pic>
              <p:nvPicPr>
                <p:cNvPr id="27" name="Ink 26">
                  <a:extLst>
                    <a:ext uri="{FF2B5EF4-FFF2-40B4-BE49-F238E27FC236}">
                      <a16:creationId xmlns:a16="http://schemas.microsoft.com/office/drawing/2014/main" id="{19ED34EB-BF86-44FD-BC89-488EA6E66ABF}"/>
                    </a:ext>
                  </a:extLst>
                </p:cNvPr>
                <p:cNvPicPr/>
                <p:nvPr/>
              </p:nvPicPr>
              <p:blipFill>
                <a:blip r:embed="rId27"/>
                <a:stretch>
                  <a:fillRect/>
                </a:stretch>
              </p:blipFill>
              <p:spPr>
                <a:xfrm>
                  <a:off x="944577" y="2745278"/>
                  <a:ext cx="4932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9" name="Ink 28">
                  <a:extLst>
                    <a:ext uri="{FF2B5EF4-FFF2-40B4-BE49-F238E27FC236}">
                      <a16:creationId xmlns:a16="http://schemas.microsoft.com/office/drawing/2014/main" id="{958D456E-D080-40F6-AAF6-58B13AC96704}"/>
                    </a:ext>
                  </a:extLst>
                </p14:cNvPr>
                <p14:cNvContentPartPr/>
                <p14:nvPr/>
              </p14:nvContentPartPr>
              <p14:xfrm>
                <a:off x="1243377" y="2617118"/>
                <a:ext cx="20160" cy="83160"/>
              </p14:xfrm>
            </p:contentPart>
          </mc:Choice>
          <mc:Fallback xmlns="">
            <p:pic>
              <p:nvPicPr>
                <p:cNvPr id="29" name="Ink 28">
                  <a:extLst>
                    <a:ext uri="{FF2B5EF4-FFF2-40B4-BE49-F238E27FC236}">
                      <a16:creationId xmlns:a16="http://schemas.microsoft.com/office/drawing/2014/main" id="{958D456E-D080-40F6-AAF6-58B13AC96704}"/>
                    </a:ext>
                  </a:extLst>
                </p:cNvPr>
                <p:cNvPicPr/>
                <p:nvPr/>
              </p:nvPicPr>
              <p:blipFill>
                <a:blip r:embed="rId29"/>
                <a:stretch>
                  <a:fillRect/>
                </a:stretch>
              </p:blipFill>
              <p:spPr>
                <a:xfrm>
                  <a:off x="1239057" y="2612798"/>
                  <a:ext cx="28800" cy="918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30" name="Ink 29">
                  <a:extLst>
                    <a:ext uri="{FF2B5EF4-FFF2-40B4-BE49-F238E27FC236}">
                      <a16:creationId xmlns:a16="http://schemas.microsoft.com/office/drawing/2014/main" id="{7F3C5EC0-6AAC-4326-8F00-D53A917C07D7}"/>
                    </a:ext>
                  </a:extLst>
                </p14:cNvPr>
                <p14:cNvContentPartPr/>
                <p14:nvPr/>
              </p14:nvContentPartPr>
              <p14:xfrm>
                <a:off x="1130337" y="2748518"/>
                <a:ext cx="279720" cy="8640"/>
              </p14:xfrm>
            </p:contentPart>
          </mc:Choice>
          <mc:Fallback xmlns="">
            <p:pic>
              <p:nvPicPr>
                <p:cNvPr id="30" name="Ink 29">
                  <a:extLst>
                    <a:ext uri="{FF2B5EF4-FFF2-40B4-BE49-F238E27FC236}">
                      <a16:creationId xmlns:a16="http://schemas.microsoft.com/office/drawing/2014/main" id="{7F3C5EC0-6AAC-4326-8F00-D53A917C07D7}"/>
                    </a:ext>
                  </a:extLst>
                </p:cNvPr>
                <p:cNvPicPr/>
                <p:nvPr/>
              </p:nvPicPr>
              <p:blipFill>
                <a:blip r:embed="rId31"/>
                <a:stretch>
                  <a:fillRect/>
                </a:stretch>
              </p:blipFill>
              <p:spPr>
                <a:xfrm>
                  <a:off x="1126017" y="2744198"/>
                  <a:ext cx="288360" cy="172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2">
            <p14:nvContentPartPr>
              <p14:cNvPr id="51" name="Ink 50">
                <a:extLst>
                  <a:ext uri="{FF2B5EF4-FFF2-40B4-BE49-F238E27FC236}">
                    <a16:creationId xmlns:a16="http://schemas.microsoft.com/office/drawing/2014/main" id="{147E4D44-176A-4371-91BB-08E459C0414E}"/>
                  </a:ext>
                </a:extLst>
              </p14:cNvPr>
              <p14:cNvContentPartPr/>
              <p14:nvPr/>
            </p14:nvContentPartPr>
            <p14:xfrm>
              <a:off x="1180737" y="2869838"/>
              <a:ext cx="77040" cy="117360"/>
            </p14:xfrm>
          </p:contentPart>
        </mc:Choice>
        <mc:Fallback xmlns="">
          <p:pic>
            <p:nvPicPr>
              <p:cNvPr id="51" name="Ink 50">
                <a:extLst>
                  <a:ext uri="{FF2B5EF4-FFF2-40B4-BE49-F238E27FC236}">
                    <a16:creationId xmlns:a16="http://schemas.microsoft.com/office/drawing/2014/main" id="{147E4D44-176A-4371-91BB-08E459C0414E}"/>
                  </a:ext>
                </a:extLst>
              </p:cNvPr>
              <p:cNvPicPr/>
              <p:nvPr/>
            </p:nvPicPr>
            <p:blipFill>
              <a:blip r:embed="rId33"/>
              <a:stretch>
                <a:fillRect/>
              </a:stretch>
            </p:blipFill>
            <p:spPr>
              <a:xfrm>
                <a:off x="1176417" y="2865518"/>
                <a:ext cx="85680" cy="126000"/>
              </a:xfrm>
              <a:prstGeom prst="rect">
                <a:avLst/>
              </a:prstGeom>
            </p:spPr>
          </p:pic>
        </mc:Fallback>
      </mc:AlternateContent>
      <p:grpSp>
        <p:nvGrpSpPr>
          <p:cNvPr id="60" name="Group 59">
            <a:extLst>
              <a:ext uri="{FF2B5EF4-FFF2-40B4-BE49-F238E27FC236}">
                <a16:creationId xmlns:a16="http://schemas.microsoft.com/office/drawing/2014/main" id="{5500A8B3-627B-44F8-A466-699BAAE65DAB}"/>
              </a:ext>
            </a:extLst>
          </p:cNvPr>
          <p:cNvGrpSpPr/>
          <p:nvPr/>
        </p:nvGrpSpPr>
        <p:grpSpPr>
          <a:xfrm>
            <a:off x="1486737" y="2589398"/>
            <a:ext cx="495720" cy="335880"/>
            <a:chOff x="1486737" y="2589398"/>
            <a:chExt cx="495720" cy="335880"/>
          </a:xfrm>
        </p:grpSpPr>
        <mc:AlternateContent xmlns:mc="http://schemas.openxmlformats.org/markup-compatibility/2006" xmlns:p14="http://schemas.microsoft.com/office/powerpoint/2010/main">
          <mc:Choice Requires="p14">
            <p:contentPart p14:bwMode="auto" r:id="rId34">
              <p14:nvContentPartPr>
                <p14:cNvPr id="52" name="Ink 51">
                  <a:extLst>
                    <a:ext uri="{FF2B5EF4-FFF2-40B4-BE49-F238E27FC236}">
                      <a16:creationId xmlns:a16="http://schemas.microsoft.com/office/drawing/2014/main" id="{8FA09571-9A51-4CE5-873F-9A52DAFC1104}"/>
                    </a:ext>
                  </a:extLst>
                </p14:cNvPr>
                <p14:cNvContentPartPr/>
                <p14:nvPr/>
              </p14:nvContentPartPr>
              <p14:xfrm>
                <a:off x="1567017" y="2678678"/>
                <a:ext cx="3240" cy="86040"/>
              </p14:xfrm>
            </p:contentPart>
          </mc:Choice>
          <mc:Fallback xmlns="">
            <p:pic>
              <p:nvPicPr>
                <p:cNvPr id="52" name="Ink 51">
                  <a:extLst>
                    <a:ext uri="{FF2B5EF4-FFF2-40B4-BE49-F238E27FC236}">
                      <a16:creationId xmlns:a16="http://schemas.microsoft.com/office/drawing/2014/main" id="{8FA09571-9A51-4CE5-873F-9A52DAFC1104}"/>
                    </a:ext>
                  </a:extLst>
                </p:cNvPr>
                <p:cNvPicPr/>
                <p:nvPr/>
              </p:nvPicPr>
              <p:blipFill>
                <a:blip r:embed="rId35"/>
                <a:stretch>
                  <a:fillRect/>
                </a:stretch>
              </p:blipFill>
              <p:spPr>
                <a:xfrm>
                  <a:off x="1562697" y="2674358"/>
                  <a:ext cx="1188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3" name="Ink 52">
                  <a:extLst>
                    <a:ext uri="{FF2B5EF4-FFF2-40B4-BE49-F238E27FC236}">
                      <a16:creationId xmlns:a16="http://schemas.microsoft.com/office/drawing/2014/main" id="{1A8E33E0-5E67-451F-AF01-FFF4767A37F0}"/>
                    </a:ext>
                  </a:extLst>
                </p14:cNvPr>
                <p14:cNvContentPartPr/>
                <p14:nvPr/>
              </p14:nvContentPartPr>
              <p14:xfrm>
                <a:off x="1486737" y="2714678"/>
                <a:ext cx="123840" cy="360"/>
              </p14:xfrm>
            </p:contentPart>
          </mc:Choice>
          <mc:Fallback xmlns="">
            <p:pic>
              <p:nvPicPr>
                <p:cNvPr id="53" name="Ink 52">
                  <a:extLst>
                    <a:ext uri="{FF2B5EF4-FFF2-40B4-BE49-F238E27FC236}">
                      <a16:creationId xmlns:a16="http://schemas.microsoft.com/office/drawing/2014/main" id="{1A8E33E0-5E67-451F-AF01-FFF4767A37F0}"/>
                    </a:ext>
                  </a:extLst>
                </p:cNvPr>
                <p:cNvPicPr/>
                <p:nvPr/>
              </p:nvPicPr>
              <p:blipFill>
                <a:blip r:embed="rId37"/>
                <a:stretch>
                  <a:fillRect/>
                </a:stretch>
              </p:blipFill>
              <p:spPr>
                <a:xfrm>
                  <a:off x="1482417" y="2710358"/>
                  <a:ext cx="132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5" name="Ink 54">
                  <a:extLst>
                    <a:ext uri="{FF2B5EF4-FFF2-40B4-BE49-F238E27FC236}">
                      <a16:creationId xmlns:a16="http://schemas.microsoft.com/office/drawing/2014/main" id="{7977434D-220A-4EFB-BC3F-55598BA839DF}"/>
                    </a:ext>
                  </a:extLst>
                </p14:cNvPr>
                <p14:cNvContentPartPr/>
                <p14:nvPr/>
              </p14:nvContentPartPr>
              <p14:xfrm>
                <a:off x="1814697" y="2589398"/>
                <a:ext cx="21240" cy="118080"/>
              </p14:xfrm>
            </p:contentPart>
          </mc:Choice>
          <mc:Fallback xmlns="">
            <p:pic>
              <p:nvPicPr>
                <p:cNvPr id="55" name="Ink 54">
                  <a:extLst>
                    <a:ext uri="{FF2B5EF4-FFF2-40B4-BE49-F238E27FC236}">
                      <a16:creationId xmlns:a16="http://schemas.microsoft.com/office/drawing/2014/main" id="{7977434D-220A-4EFB-BC3F-55598BA839DF}"/>
                    </a:ext>
                  </a:extLst>
                </p:cNvPr>
                <p:cNvPicPr/>
                <p:nvPr/>
              </p:nvPicPr>
              <p:blipFill>
                <a:blip r:embed="rId39"/>
                <a:stretch>
                  <a:fillRect/>
                </a:stretch>
              </p:blipFill>
              <p:spPr>
                <a:xfrm>
                  <a:off x="1810377" y="2585078"/>
                  <a:ext cx="298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6" name="Ink 55">
                  <a:extLst>
                    <a:ext uri="{FF2B5EF4-FFF2-40B4-BE49-F238E27FC236}">
                      <a16:creationId xmlns:a16="http://schemas.microsoft.com/office/drawing/2014/main" id="{34C9B2D5-82D6-4C61-AA2F-9DB4139C99F2}"/>
                    </a:ext>
                  </a:extLst>
                </p14:cNvPr>
                <p14:cNvContentPartPr/>
                <p14:nvPr/>
              </p14:nvContentPartPr>
              <p14:xfrm>
                <a:off x="1723617" y="2721878"/>
                <a:ext cx="258840" cy="28080"/>
              </p14:xfrm>
            </p:contentPart>
          </mc:Choice>
          <mc:Fallback xmlns="">
            <p:pic>
              <p:nvPicPr>
                <p:cNvPr id="56" name="Ink 55">
                  <a:extLst>
                    <a:ext uri="{FF2B5EF4-FFF2-40B4-BE49-F238E27FC236}">
                      <a16:creationId xmlns:a16="http://schemas.microsoft.com/office/drawing/2014/main" id="{34C9B2D5-82D6-4C61-AA2F-9DB4139C99F2}"/>
                    </a:ext>
                  </a:extLst>
                </p:cNvPr>
                <p:cNvPicPr/>
                <p:nvPr/>
              </p:nvPicPr>
              <p:blipFill>
                <a:blip r:embed="rId41"/>
                <a:stretch>
                  <a:fillRect/>
                </a:stretch>
              </p:blipFill>
              <p:spPr>
                <a:xfrm>
                  <a:off x="1719297" y="2717558"/>
                  <a:ext cx="2674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58" name="Ink 57">
                  <a:extLst>
                    <a:ext uri="{FF2B5EF4-FFF2-40B4-BE49-F238E27FC236}">
                      <a16:creationId xmlns:a16="http://schemas.microsoft.com/office/drawing/2014/main" id="{CA821B2D-06F0-48D0-83A3-75445FC3F964}"/>
                    </a:ext>
                  </a:extLst>
                </p14:cNvPr>
                <p14:cNvContentPartPr/>
                <p14:nvPr/>
              </p14:nvContentPartPr>
              <p14:xfrm>
                <a:off x="1706697" y="2828078"/>
                <a:ext cx="117360" cy="97200"/>
              </p14:xfrm>
            </p:contentPart>
          </mc:Choice>
          <mc:Fallback xmlns="">
            <p:pic>
              <p:nvPicPr>
                <p:cNvPr id="58" name="Ink 57">
                  <a:extLst>
                    <a:ext uri="{FF2B5EF4-FFF2-40B4-BE49-F238E27FC236}">
                      <a16:creationId xmlns:a16="http://schemas.microsoft.com/office/drawing/2014/main" id="{CA821B2D-06F0-48D0-83A3-75445FC3F964}"/>
                    </a:ext>
                  </a:extLst>
                </p:cNvPr>
                <p:cNvPicPr/>
                <p:nvPr/>
              </p:nvPicPr>
              <p:blipFill>
                <a:blip r:embed="rId43"/>
                <a:stretch>
                  <a:fillRect/>
                </a:stretch>
              </p:blipFill>
              <p:spPr>
                <a:xfrm>
                  <a:off x="1702377" y="2823758"/>
                  <a:ext cx="126000" cy="1058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9" name="Ink 58">
                  <a:extLst>
                    <a:ext uri="{FF2B5EF4-FFF2-40B4-BE49-F238E27FC236}">
                      <a16:creationId xmlns:a16="http://schemas.microsoft.com/office/drawing/2014/main" id="{47C56DC8-4860-43BE-9987-8909F6894683}"/>
                    </a:ext>
                  </a:extLst>
                </p14:cNvPr>
                <p14:cNvContentPartPr/>
                <p14:nvPr/>
              </p14:nvContentPartPr>
              <p14:xfrm>
                <a:off x="1891377" y="2841398"/>
                <a:ext cx="71280" cy="77040"/>
              </p14:xfrm>
            </p:contentPart>
          </mc:Choice>
          <mc:Fallback xmlns="">
            <p:pic>
              <p:nvPicPr>
                <p:cNvPr id="59" name="Ink 58">
                  <a:extLst>
                    <a:ext uri="{FF2B5EF4-FFF2-40B4-BE49-F238E27FC236}">
                      <a16:creationId xmlns:a16="http://schemas.microsoft.com/office/drawing/2014/main" id="{47C56DC8-4860-43BE-9987-8909F6894683}"/>
                    </a:ext>
                  </a:extLst>
                </p:cNvPr>
                <p:cNvPicPr/>
                <p:nvPr/>
              </p:nvPicPr>
              <p:blipFill>
                <a:blip r:embed="rId45"/>
                <a:stretch>
                  <a:fillRect/>
                </a:stretch>
              </p:blipFill>
              <p:spPr>
                <a:xfrm>
                  <a:off x="1887057" y="2837078"/>
                  <a:ext cx="79920" cy="85680"/>
                </a:xfrm>
                <a:prstGeom prst="rect">
                  <a:avLst/>
                </a:prstGeom>
              </p:spPr>
            </p:pic>
          </mc:Fallback>
        </mc:AlternateContent>
      </p:grpSp>
      <p:grpSp>
        <p:nvGrpSpPr>
          <p:cNvPr id="65" name="Group 64">
            <a:extLst>
              <a:ext uri="{FF2B5EF4-FFF2-40B4-BE49-F238E27FC236}">
                <a16:creationId xmlns:a16="http://schemas.microsoft.com/office/drawing/2014/main" id="{B21D57C7-8482-4DD6-AF96-719B98630E9F}"/>
              </a:ext>
            </a:extLst>
          </p:cNvPr>
          <p:cNvGrpSpPr/>
          <p:nvPr/>
        </p:nvGrpSpPr>
        <p:grpSpPr>
          <a:xfrm>
            <a:off x="1103697" y="2261438"/>
            <a:ext cx="156600" cy="132480"/>
            <a:chOff x="1103697" y="2261438"/>
            <a:chExt cx="156600" cy="132480"/>
          </a:xfrm>
        </p:grpSpPr>
        <mc:AlternateContent xmlns:mc="http://schemas.openxmlformats.org/markup-compatibility/2006" xmlns:p14="http://schemas.microsoft.com/office/powerpoint/2010/main">
          <mc:Choice Requires="p14">
            <p:contentPart p14:bwMode="auto" r:id="rId46">
              <p14:nvContentPartPr>
                <p14:cNvPr id="61" name="Ink 60">
                  <a:extLst>
                    <a:ext uri="{FF2B5EF4-FFF2-40B4-BE49-F238E27FC236}">
                      <a16:creationId xmlns:a16="http://schemas.microsoft.com/office/drawing/2014/main" id="{480E3E99-EF3A-4C88-93F3-6D77EB41F963}"/>
                    </a:ext>
                  </a:extLst>
                </p14:cNvPr>
                <p14:cNvContentPartPr/>
                <p14:nvPr/>
              </p14:nvContentPartPr>
              <p14:xfrm>
                <a:off x="1103697" y="2261438"/>
                <a:ext cx="156600" cy="92520"/>
              </p14:xfrm>
            </p:contentPart>
          </mc:Choice>
          <mc:Fallback xmlns="">
            <p:pic>
              <p:nvPicPr>
                <p:cNvPr id="61" name="Ink 60">
                  <a:extLst>
                    <a:ext uri="{FF2B5EF4-FFF2-40B4-BE49-F238E27FC236}">
                      <a16:creationId xmlns:a16="http://schemas.microsoft.com/office/drawing/2014/main" id="{480E3E99-EF3A-4C88-93F3-6D77EB41F963}"/>
                    </a:ext>
                  </a:extLst>
                </p:cNvPr>
                <p:cNvPicPr/>
                <p:nvPr/>
              </p:nvPicPr>
              <p:blipFill>
                <a:blip r:embed="rId47"/>
                <a:stretch>
                  <a:fillRect/>
                </a:stretch>
              </p:blipFill>
              <p:spPr>
                <a:xfrm>
                  <a:off x="1099377" y="2257118"/>
                  <a:ext cx="165240" cy="10116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62" name="Ink 61">
                  <a:extLst>
                    <a:ext uri="{FF2B5EF4-FFF2-40B4-BE49-F238E27FC236}">
                      <a16:creationId xmlns:a16="http://schemas.microsoft.com/office/drawing/2014/main" id="{87064BBA-9E69-46B3-A4EE-110E2D5BCC62}"/>
                    </a:ext>
                  </a:extLst>
                </p14:cNvPr>
                <p14:cNvContentPartPr/>
                <p14:nvPr/>
              </p14:nvContentPartPr>
              <p14:xfrm>
                <a:off x="1160937" y="2261438"/>
                <a:ext cx="11880" cy="100080"/>
              </p14:xfrm>
            </p:contentPart>
          </mc:Choice>
          <mc:Fallback xmlns="">
            <p:pic>
              <p:nvPicPr>
                <p:cNvPr id="62" name="Ink 61">
                  <a:extLst>
                    <a:ext uri="{FF2B5EF4-FFF2-40B4-BE49-F238E27FC236}">
                      <a16:creationId xmlns:a16="http://schemas.microsoft.com/office/drawing/2014/main" id="{87064BBA-9E69-46B3-A4EE-110E2D5BCC62}"/>
                    </a:ext>
                  </a:extLst>
                </p:cNvPr>
                <p:cNvPicPr/>
                <p:nvPr/>
              </p:nvPicPr>
              <p:blipFill>
                <a:blip r:embed="rId49"/>
                <a:stretch>
                  <a:fillRect/>
                </a:stretch>
              </p:blipFill>
              <p:spPr>
                <a:xfrm>
                  <a:off x="1156617" y="2257118"/>
                  <a:ext cx="2052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64" name="Ink 63">
                  <a:extLst>
                    <a:ext uri="{FF2B5EF4-FFF2-40B4-BE49-F238E27FC236}">
                      <a16:creationId xmlns:a16="http://schemas.microsoft.com/office/drawing/2014/main" id="{043A83EE-DB33-4020-B958-C79356266DCB}"/>
                    </a:ext>
                  </a:extLst>
                </p14:cNvPr>
                <p14:cNvContentPartPr/>
                <p14:nvPr/>
              </p14:nvContentPartPr>
              <p14:xfrm>
                <a:off x="1165257" y="2344958"/>
                <a:ext cx="6120" cy="48960"/>
              </p14:xfrm>
            </p:contentPart>
          </mc:Choice>
          <mc:Fallback xmlns="">
            <p:pic>
              <p:nvPicPr>
                <p:cNvPr id="64" name="Ink 63">
                  <a:extLst>
                    <a:ext uri="{FF2B5EF4-FFF2-40B4-BE49-F238E27FC236}">
                      <a16:creationId xmlns:a16="http://schemas.microsoft.com/office/drawing/2014/main" id="{043A83EE-DB33-4020-B958-C79356266DCB}"/>
                    </a:ext>
                  </a:extLst>
                </p:cNvPr>
                <p:cNvPicPr/>
                <p:nvPr/>
              </p:nvPicPr>
              <p:blipFill>
                <a:blip r:embed="rId51"/>
                <a:stretch>
                  <a:fillRect/>
                </a:stretch>
              </p:blipFill>
              <p:spPr>
                <a:xfrm>
                  <a:off x="1160937" y="2340638"/>
                  <a:ext cx="14760" cy="57600"/>
                </a:xfrm>
                <a:prstGeom prst="rect">
                  <a:avLst/>
                </a:prstGeom>
              </p:spPr>
            </p:pic>
          </mc:Fallback>
        </mc:AlternateContent>
      </p:grpSp>
      <p:grpSp>
        <p:nvGrpSpPr>
          <p:cNvPr id="69" name="Group 68">
            <a:extLst>
              <a:ext uri="{FF2B5EF4-FFF2-40B4-BE49-F238E27FC236}">
                <a16:creationId xmlns:a16="http://schemas.microsoft.com/office/drawing/2014/main" id="{1EB69986-8F72-4419-98F3-B23336B89302}"/>
              </a:ext>
            </a:extLst>
          </p:cNvPr>
          <p:cNvGrpSpPr/>
          <p:nvPr/>
        </p:nvGrpSpPr>
        <p:grpSpPr>
          <a:xfrm>
            <a:off x="2324097" y="2421638"/>
            <a:ext cx="92520" cy="70200"/>
            <a:chOff x="2324097" y="2421638"/>
            <a:chExt cx="92520" cy="70200"/>
          </a:xfrm>
        </p:grpSpPr>
        <mc:AlternateContent xmlns:mc="http://schemas.openxmlformats.org/markup-compatibility/2006" xmlns:p14="http://schemas.microsoft.com/office/powerpoint/2010/main">
          <mc:Choice Requires="p14">
            <p:contentPart p14:bwMode="auto" r:id="rId52">
              <p14:nvContentPartPr>
                <p14:cNvPr id="66" name="Ink 65">
                  <a:extLst>
                    <a:ext uri="{FF2B5EF4-FFF2-40B4-BE49-F238E27FC236}">
                      <a16:creationId xmlns:a16="http://schemas.microsoft.com/office/drawing/2014/main" id="{6CE74AAD-E46E-48EC-979F-BE10F983C6F4}"/>
                    </a:ext>
                  </a:extLst>
                </p14:cNvPr>
                <p14:cNvContentPartPr/>
                <p14:nvPr/>
              </p14:nvContentPartPr>
              <p14:xfrm>
                <a:off x="2400777" y="2421638"/>
                <a:ext cx="15840" cy="360"/>
              </p14:xfrm>
            </p:contentPart>
          </mc:Choice>
          <mc:Fallback xmlns="">
            <p:pic>
              <p:nvPicPr>
                <p:cNvPr id="66" name="Ink 65">
                  <a:extLst>
                    <a:ext uri="{FF2B5EF4-FFF2-40B4-BE49-F238E27FC236}">
                      <a16:creationId xmlns:a16="http://schemas.microsoft.com/office/drawing/2014/main" id="{6CE74AAD-E46E-48EC-979F-BE10F983C6F4}"/>
                    </a:ext>
                  </a:extLst>
                </p:cNvPr>
                <p:cNvPicPr/>
                <p:nvPr/>
              </p:nvPicPr>
              <p:blipFill>
                <a:blip r:embed="rId53"/>
                <a:stretch>
                  <a:fillRect/>
                </a:stretch>
              </p:blipFill>
              <p:spPr>
                <a:xfrm>
                  <a:off x="2396457" y="2417318"/>
                  <a:ext cx="244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67" name="Ink 66">
                  <a:extLst>
                    <a:ext uri="{FF2B5EF4-FFF2-40B4-BE49-F238E27FC236}">
                      <a16:creationId xmlns:a16="http://schemas.microsoft.com/office/drawing/2014/main" id="{1EA26F19-E686-436D-A93F-0CC403F15E5F}"/>
                    </a:ext>
                  </a:extLst>
                </p14:cNvPr>
                <p14:cNvContentPartPr/>
                <p14:nvPr/>
              </p14:nvContentPartPr>
              <p14:xfrm>
                <a:off x="2324097" y="2491478"/>
                <a:ext cx="76680" cy="360"/>
              </p14:xfrm>
            </p:contentPart>
          </mc:Choice>
          <mc:Fallback xmlns="">
            <p:pic>
              <p:nvPicPr>
                <p:cNvPr id="67" name="Ink 66">
                  <a:extLst>
                    <a:ext uri="{FF2B5EF4-FFF2-40B4-BE49-F238E27FC236}">
                      <a16:creationId xmlns:a16="http://schemas.microsoft.com/office/drawing/2014/main" id="{1EA26F19-E686-436D-A93F-0CC403F15E5F}"/>
                    </a:ext>
                  </a:extLst>
                </p:cNvPr>
                <p:cNvPicPr/>
                <p:nvPr/>
              </p:nvPicPr>
              <p:blipFill>
                <a:blip r:embed="rId55"/>
                <a:stretch>
                  <a:fillRect/>
                </a:stretch>
              </p:blipFill>
              <p:spPr>
                <a:xfrm>
                  <a:off x="2319777" y="2487158"/>
                  <a:ext cx="853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8" name="Ink 67">
                  <a:extLst>
                    <a:ext uri="{FF2B5EF4-FFF2-40B4-BE49-F238E27FC236}">
                      <a16:creationId xmlns:a16="http://schemas.microsoft.com/office/drawing/2014/main" id="{F9EF1054-8C28-4C16-A6FA-50DD1ED26A21}"/>
                    </a:ext>
                  </a:extLst>
                </p14:cNvPr>
                <p14:cNvContentPartPr/>
                <p14:nvPr/>
              </p14:nvContentPartPr>
              <p14:xfrm>
                <a:off x="2344977" y="2421638"/>
                <a:ext cx="47880" cy="21240"/>
              </p14:xfrm>
            </p:contentPart>
          </mc:Choice>
          <mc:Fallback xmlns="">
            <p:pic>
              <p:nvPicPr>
                <p:cNvPr id="68" name="Ink 67">
                  <a:extLst>
                    <a:ext uri="{FF2B5EF4-FFF2-40B4-BE49-F238E27FC236}">
                      <a16:creationId xmlns:a16="http://schemas.microsoft.com/office/drawing/2014/main" id="{F9EF1054-8C28-4C16-A6FA-50DD1ED26A21}"/>
                    </a:ext>
                  </a:extLst>
                </p:cNvPr>
                <p:cNvPicPr/>
                <p:nvPr/>
              </p:nvPicPr>
              <p:blipFill>
                <a:blip r:embed="rId57"/>
                <a:stretch>
                  <a:fillRect/>
                </a:stretch>
              </p:blipFill>
              <p:spPr>
                <a:xfrm>
                  <a:off x="2340657" y="2417318"/>
                  <a:ext cx="56520" cy="29880"/>
                </a:xfrm>
                <a:prstGeom prst="rect">
                  <a:avLst/>
                </a:prstGeom>
              </p:spPr>
            </p:pic>
          </mc:Fallback>
        </mc:AlternateContent>
      </p:grpSp>
      <p:grpSp>
        <p:nvGrpSpPr>
          <p:cNvPr id="73" name="Group 72">
            <a:extLst>
              <a:ext uri="{FF2B5EF4-FFF2-40B4-BE49-F238E27FC236}">
                <a16:creationId xmlns:a16="http://schemas.microsoft.com/office/drawing/2014/main" id="{4424BF29-E655-4E00-9CEF-396E97441723}"/>
              </a:ext>
            </a:extLst>
          </p:cNvPr>
          <p:cNvGrpSpPr/>
          <p:nvPr/>
        </p:nvGrpSpPr>
        <p:grpSpPr>
          <a:xfrm>
            <a:off x="2945097" y="2191238"/>
            <a:ext cx="1828440" cy="356400"/>
            <a:chOff x="2945097" y="2191238"/>
            <a:chExt cx="1828440" cy="356400"/>
          </a:xfrm>
        </p:grpSpPr>
        <mc:AlternateContent xmlns:mc="http://schemas.openxmlformats.org/markup-compatibility/2006" xmlns:p14="http://schemas.microsoft.com/office/powerpoint/2010/main">
          <mc:Choice Requires="p14">
            <p:contentPart p14:bwMode="auto" r:id="rId58">
              <p14:nvContentPartPr>
                <p14:cNvPr id="70" name="Ink 69">
                  <a:extLst>
                    <a:ext uri="{FF2B5EF4-FFF2-40B4-BE49-F238E27FC236}">
                      <a16:creationId xmlns:a16="http://schemas.microsoft.com/office/drawing/2014/main" id="{4317C1E6-A60C-4D3F-B40E-FB6A28C6716C}"/>
                    </a:ext>
                  </a:extLst>
                </p14:cNvPr>
                <p14:cNvContentPartPr/>
                <p14:nvPr/>
              </p14:nvContentPartPr>
              <p14:xfrm>
                <a:off x="3479337" y="2198438"/>
                <a:ext cx="206280" cy="154080"/>
              </p14:xfrm>
            </p:contentPart>
          </mc:Choice>
          <mc:Fallback xmlns="">
            <p:pic>
              <p:nvPicPr>
                <p:cNvPr id="70" name="Ink 69">
                  <a:extLst>
                    <a:ext uri="{FF2B5EF4-FFF2-40B4-BE49-F238E27FC236}">
                      <a16:creationId xmlns:a16="http://schemas.microsoft.com/office/drawing/2014/main" id="{4317C1E6-A60C-4D3F-B40E-FB6A28C6716C}"/>
                    </a:ext>
                  </a:extLst>
                </p:cNvPr>
                <p:cNvPicPr/>
                <p:nvPr/>
              </p:nvPicPr>
              <p:blipFill>
                <a:blip r:embed="rId59"/>
                <a:stretch>
                  <a:fillRect/>
                </a:stretch>
              </p:blipFill>
              <p:spPr>
                <a:xfrm>
                  <a:off x="3475017" y="2194118"/>
                  <a:ext cx="21492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71" name="Ink 70">
                  <a:extLst>
                    <a:ext uri="{FF2B5EF4-FFF2-40B4-BE49-F238E27FC236}">
                      <a16:creationId xmlns:a16="http://schemas.microsoft.com/office/drawing/2014/main" id="{9ABBD5C8-320C-4FD3-B16D-DF9709F0A3F9}"/>
                    </a:ext>
                  </a:extLst>
                </p14:cNvPr>
                <p14:cNvContentPartPr/>
                <p14:nvPr/>
              </p14:nvContentPartPr>
              <p14:xfrm>
                <a:off x="3545577" y="2191238"/>
                <a:ext cx="77040" cy="223920"/>
              </p14:xfrm>
            </p:contentPart>
          </mc:Choice>
          <mc:Fallback xmlns="">
            <p:pic>
              <p:nvPicPr>
                <p:cNvPr id="71" name="Ink 70">
                  <a:extLst>
                    <a:ext uri="{FF2B5EF4-FFF2-40B4-BE49-F238E27FC236}">
                      <a16:creationId xmlns:a16="http://schemas.microsoft.com/office/drawing/2014/main" id="{9ABBD5C8-320C-4FD3-B16D-DF9709F0A3F9}"/>
                    </a:ext>
                  </a:extLst>
                </p:cNvPr>
                <p:cNvPicPr/>
                <p:nvPr/>
              </p:nvPicPr>
              <p:blipFill>
                <a:blip r:embed="rId61"/>
                <a:stretch>
                  <a:fillRect/>
                </a:stretch>
              </p:blipFill>
              <p:spPr>
                <a:xfrm>
                  <a:off x="3541257" y="2186918"/>
                  <a:ext cx="85680" cy="23256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72" name="Ink 71">
                  <a:extLst>
                    <a:ext uri="{FF2B5EF4-FFF2-40B4-BE49-F238E27FC236}">
                      <a16:creationId xmlns:a16="http://schemas.microsoft.com/office/drawing/2014/main" id="{242EB795-7C6E-40FE-A792-B604ADDC4D6F}"/>
                    </a:ext>
                  </a:extLst>
                </p14:cNvPr>
                <p14:cNvContentPartPr/>
                <p14:nvPr/>
              </p14:nvContentPartPr>
              <p14:xfrm>
                <a:off x="2945097" y="2463038"/>
                <a:ext cx="1828440" cy="84600"/>
              </p14:xfrm>
            </p:contentPart>
          </mc:Choice>
          <mc:Fallback xmlns="">
            <p:pic>
              <p:nvPicPr>
                <p:cNvPr id="72" name="Ink 71">
                  <a:extLst>
                    <a:ext uri="{FF2B5EF4-FFF2-40B4-BE49-F238E27FC236}">
                      <a16:creationId xmlns:a16="http://schemas.microsoft.com/office/drawing/2014/main" id="{242EB795-7C6E-40FE-A792-B604ADDC4D6F}"/>
                    </a:ext>
                  </a:extLst>
                </p:cNvPr>
                <p:cNvPicPr/>
                <p:nvPr/>
              </p:nvPicPr>
              <p:blipFill>
                <a:blip r:embed="rId63"/>
                <a:stretch>
                  <a:fillRect/>
                </a:stretch>
              </p:blipFill>
              <p:spPr>
                <a:xfrm>
                  <a:off x="2940777" y="2458718"/>
                  <a:ext cx="1837080" cy="93240"/>
                </a:xfrm>
                <a:prstGeom prst="rect">
                  <a:avLst/>
                </a:prstGeom>
              </p:spPr>
            </p:pic>
          </mc:Fallback>
        </mc:AlternateContent>
      </p:grpSp>
      <p:grpSp>
        <p:nvGrpSpPr>
          <p:cNvPr id="87" name="Group 86">
            <a:extLst>
              <a:ext uri="{FF2B5EF4-FFF2-40B4-BE49-F238E27FC236}">
                <a16:creationId xmlns:a16="http://schemas.microsoft.com/office/drawing/2014/main" id="{AF082C2C-E264-4EDF-91E8-19018BEA3604}"/>
              </a:ext>
            </a:extLst>
          </p:cNvPr>
          <p:cNvGrpSpPr/>
          <p:nvPr/>
        </p:nvGrpSpPr>
        <p:grpSpPr>
          <a:xfrm>
            <a:off x="2940417" y="2666078"/>
            <a:ext cx="1247400" cy="171720"/>
            <a:chOff x="2940417" y="2666078"/>
            <a:chExt cx="1247400" cy="171720"/>
          </a:xfrm>
        </p:grpSpPr>
        <mc:AlternateContent xmlns:mc="http://schemas.openxmlformats.org/markup-compatibility/2006" xmlns:p14="http://schemas.microsoft.com/office/powerpoint/2010/main">
          <mc:Choice Requires="p14">
            <p:contentPart p14:bwMode="auto" r:id="rId64">
              <p14:nvContentPartPr>
                <p14:cNvPr id="74" name="Ink 73">
                  <a:extLst>
                    <a:ext uri="{FF2B5EF4-FFF2-40B4-BE49-F238E27FC236}">
                      <a16:creationId xmlns:a16="http://schemas.microsoft.com/office/drawing/2014/main" id="{E2DC2372-3F00-4641-A310-766F79B8828F}"/>
                    </a:ext>
                  </a:extLst>
                </p14:cNvPr>
                <p14:cNvContentPartPr/>
                <p14:nvPr/>
              </p14:nvContentPartPr>
              <p14:xfrm>
                <a:off x="2940417" y="2749598"/>
                <a:ext cx="68040" cy="88200"/>
              </p14:xfrm>
            </p:contentPart>
          </mc:Choice>
          <mc:Fallback xmlns="">
            <p:pic>
              <p:nvPicPr>
                <p:cNvPr id="74" name="Ink 73">
                  <a:extLst>
                    <a:ext uri="{FF2B5EF4-FFF2-40B4-BE49-F238E27FC236}">
                      <a16:creationId xmlns:a16="http://schemas.microsoft.com/office/drawing/2014/main" id="{E2DC2372-3F00-4641-A310-766F79B8828F}"/>
                    </a:ext>
                  </a:extLst>
                </p:cNvPr>
                <p:cNvPicPr/>
                <p:nvPr/>
              </p:nvPicPr>
              <p:blipFill>
                <a:blip r:embed="rId65"/>
                <a:stretch>
                  <a:fillRect/>
                </a:stretch>
              </p:blipFill>
              <p:spPr>
                <a:xfrm>
                  <a:off x="2936097" y="2745278"/>
                  <a:ext cx="7668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75" name="Ink 74">
                  <a:extLst>
                    <a:ext uri="{FF2B5EF4-FFF2-40B4-BE49-F238E27FC236}">
                      <a16:creationId xmlns:a16="http://schemas.microsoft.com/office/drawing/2014/main" id="{82CD5D70-D9AD-439F-ABA1-74AD526D5D66}"/>
                    </a:ext>
                  </a:extLst>
                </p14:cNvPr>
                <p14:cNvContentPartPr/>
                <p14:nvPr/>
              </p14:nvContentPartPr>
              <p14:xfrm>
                <a:off x="3082257" y="2784878"/>
                <a:ext cx="3240" cy="360"/>
              </p14:xfrm>
            </p:contentPart>
          </mc:Choice>
          <mc:Fallback xmlns="">
            <p:pic>
              <p:nvPicPr>
                <p:cNvPr id="75" name="Ink 74">
                  <a:extLst>
                    <a:ext uri="{FF2B5EF4-FFF2-40B4-BE49-F238E27FC236}">
                      <a16:creationId xmlns:a16="http://schemas.microsoft.com/office/drawing/2014/main" id="{82CD5D70-D9AD-439F-ABA1-74AD526D5D66}"/>
                    </a:ext>
                  </a:extLst>
                </p:cNvPr>
                <p:cNvPicPr/>
                <p:nvPr/>
              </p:nvPicPr>
              <p:blipFill>
                <a:blip r:embed="rId67"/>
                <a:stretch>
                  <a:fillRect/>
                </a:stretch>
              </p:blipFill>
              <p:spPr>
                <a:xfrm>
                  <a:off x="3077937" y="2780558"/>
                  <a:ext cx="1188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76" name="Ink 75">
                  <a:extLst>
                    <a:ext uri="{FF2B5EF4-FFF2-40B4-BE49-F238E27FC236}">
                      <a16:creationId xmlns:a16="http://schemas.microsoft.com/office/drawing/2014/main" id="{A96F12AE-A523-459C-AFEE-917B9CDF547F}"/>
                    </a:ext>
                  </a:extLst>
                </p14:cNvPr>
                <p14:cNvContentPartPr/>
                <p14:nvPr/>
              </p14:nvContentPartPr>
              <p14:xfrm>
                <a:off x="3121857" y="2721518"/>
                <a:ext cx="56520" cy="106200"/>
              </p14:xfrm>
            </p:contentPart>
          </mc:Choice>
          <mc:Fallback xmlns="">
            <p:pic>
              <p:nvPicPr>
                <p:cNvPr id="76" name="Ink 75">
                  <a:extLst>
                    <a:ext uri="{FF2B5EF4-FFF2-40B4-BE49-F238E27FC236}">
                      <a16:creationId xmlns:a16="http://schemas.microsoft.com/office/drawing/2014/main" id="{A96F12AE-A523-459C-AFEE-917B9CDF547F}"/>
                    </a:ext>
                  </a:extLst>
                </p:cNvPr>
                <p:cNvPicPr/>
                <p:nvPr/>
              </p:nvPicPr>
              <p:blipFill>
                <a:blip r:embed="rId69"/>
                <a:stretch>
                  <a:fillRect/>
                </a:stretch>
              </p:blipFill>
              <p:spPr>
                <a:xfrm>
                  <a:off x="3117537" y="2717198"/>
                  <a:ext cx="65160" cy="1148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77" name="Ink 76">
                  <a:extLst>
                    <a:ext uri="{FF2B5EF4-FFF2-40B4-BE49-F238E27FC236}">
                      <a16:creationId xmlns:a16="http://schemas.microsoft.com/office/drawing/2014/main" id="{61C33078-B810-4587-A6A4-42D84EE583FB}"/>
                    </a:ext>
                  </a:extLst>
                </p14:cNvPr>
                <p14:cNvContentPartPr/>
                <p14:nvPr/>
              </p14:nvContentPartPr>
              <p14:xfrm>
                <a:off x="3133737" y="2721518"/>
                <a:ext cx="73800" cy="7920"/>
              </p14:xfrm>
            </p:contentPart>
          </mc:Choice>
          <mc:Fallback xmlns="">
            <p:pic>
              <p:nvPicPr>
                <p:cNvPr id="77" name="Ink 76">
                  <a:extLst>
                    <a:ext uri="{FF2B5EF4-FFF2-40B4-BE49-F238E27FC236}">
                      <a16:creationId xmlns:a16="http://schemas.microsoft.com/office/drawing/2014/main" id="{61C33078-B810-4587-A6A4-42D84EE583FB}"/>
                    </a:ext>
                  </a:extLst>
                </p:cNvPr>
                <p:cNvPicPr/>
                <p:nvPr/>
              </p:nvPicPr>
              <p:blipFill>
                <a:blip r:embed="rId71"/>
                <a:stretch>
                  <a:fillRect/>
                </a:stretch>
              </p:blipFill>
              <p:spPr>
                <a:xfrm>
                  <a:off x="3129417" y="2717198"/>
                  <a:ext cx="82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9" name="Ink 78">
                  <a:extLst>
                    <a:ext uri="{FF2B5EF4-FFF2-40B4-BE49-F238E27FC236}">
                      <a16:creationId xmlns:a16="http://schemas.microsoft.com/office/drawing/2014/main" id="{5C9CABE6-4E9B-4141-83E3-87F86B150E5B}"/>
                    </a:ext>
                  </a:extLst>
                </p14:cNvPr>
                <p14:cNvContentPartPr/>
                <p14:nvPr/>
              </p14:nvContentPartPr>
              <p14:xfrm>
                <a:off x="3392217" y="2693798"/>
                <a:ext cx="28080" cy="104040"/>
              </p14:xfrm>
            </p:contentPart>
          </mc:Choice>
          <mc:Fallback xmlns="">
            <p:pic>
              <p:nvPicPr>
                <p:cNvPr id="79" name="Ink 78">
                  <a:extLst>
                    <a:ext uri="{FF2B5EF4-FFF2-40B4-BE49-F238E27FC236}">
                      <a16:creationId xmlns:a16="http://schemas.microsoft.com/office/drawing/2014/main" id="{5C9CABE6-4E9B-4141-83E3-87F86B150E5B}"/>
                    </a:ext>
                  </a:extLst>
                </p:cNvPr>
                <p:cNvPicPr/>
                <p:nvPr/>
              </p:nvPicPr>
              <p:blipFill>
                <a:blip r:embed="rId73"/>
                <a:stretch>
                  <a:fillRect/>
                </a:stretch>
              </p:blipFill>
              <p:spPr>
                <a:xfrm>
                  <a:off x="3387897" y="2689478"/>
                  <a:ext cx="3672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80" name="Ink 79">
                  <a:extLst>
                    <a:ext uri="{FF2B5EF4-FFF2-40B4-BE49-F238E27FC236}">
                      <a16:creationId xmlns:a16="http://schemas.microsoft.com/office/drawing/2014/main" id="{B58D5708-C6CE-436E-992C-2154E0E86019}"/>
                    </a:ext>
                  </a:extLst>
                </p14:cNvPr>
                <p14:cNvContentPartPr/>
                <p14:nvPr/>
              </p14:nvContentPartPr>
              <p14:xfrm>
                <a:off x="3350097" y="2749598"/>
                <a:ext cx="83520" cy="360"/>
              </p14:xfrm>
            </p:contentPart>
          </mc:Choice>
          <mc:Fallback xmlns="">
            <p:pic>
              <p:nvPicPr>
                <p:cNvPr id="80" name="Ink 79">
                  <a:extLst>
                    <a:ext uri="{FF2B5EF4-FFF2-40B4-BE49-F238E27FC236}">
                      <a16:creationId xmlns:a16="http://schemas.microsoft.com/office/drawing/2014/main" id="{B58D5708-C6CE-436E-992C-2154E0E86019}"/>
                    </a:ext>
                  </a:extLst>
                </p:cNvPr>
                <p:cNvPicPr/>
                <p:nvPr/>
              </p:nvPicPr>
              <p:blipFill>
                <a:blip r:embed="rId75"/>
                <a:stretch>
                  <a:fillRect/>
                </a:stretch>
              </p:blipFill>
              <p:spPr>
                <a:xfrm>
                  <a:off x="3345777" y="2745278"/>
                  <a:ext cx="9216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81" name="Ink 80">
                  <a:extLst>
                    <a:ext uri="{FF2B5EF4-FFF2-40B4-BE49-F238E27FC236}">
                      <a16:creationId xmlns:a16="http://schemas.microsoft.com/office/drawing/2014/main" id="{766E1BF5-C8AF-47F3-A2CC-CF96E0B3DCBC}"/>
                    </a:ext>
                  </a:extLst>
                </p14:cNvPr>
                <p14:cNvContentPartPr/>
                <p14:nvPr/>
              </p14:nvContentPartPr>
              <p14:xfrm>
                <a:off x="3566817" y="2704598"/>
                <a:ext cx="85320" cy="97920"/>
              </p14:xfrm>
            </p:contentPart>
          </mc:Choice>
          <mc:Fallback xmlns="">
            <p:pic>
              <p:nvPicPr>
                <p:cNvPr id="81" name="Ink 80">
                  <a:extLst>
                    <a:ext uri="{FF2B5EF4-FFF2-40B4-BE49-F238E27FC236}">
                      <a16:creationId xmlns:a16="http://schemas.microsoft.com/office/drawing/2014/main" id="{766E1BF5-C8AF-47F3-A2CC-CF96E0B3DCBC}"/>
                    </a:ext>
                  </a:extLst>
                </p:cNvPr>
                <p:cNvPicPr/>
                <p:nvPr/>
              </p:nvPicPr>
              <p:blipFill>
                <a:blip r:embed="rId77"/>
                <a:stretch>
                  <a:fillRect/>
                </a:stretch>
              </p:blipFill>
              <p:spPr>
                <a:xfrm>
                  <a:off x="3562497" y="2700278"/>
                  <a:ext cx="93960" cy="10656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82" name="Ink 81">
                  <a:extLst>
                    <a:ext uri="{FF2B5EF4-FFF2-40B4-BE49-F238E27FC236}">
                      <a16:creationId xmlns:a16="http://schemas.microsoft.com/office/drawing/2014/main" id="{8493DB77-04CA-44B7-A3CF-5B2B78681B2F}"/>
                    </a:ext>
                  </a:extLst>
                </p14:cNvPr>
                <p14:cNvContentPartPr/>
                <p14:nvPr/>
              </p14:nvContentPartPr>
              <p14:xfrm>
                <a:off x="3733857" y="2742758"/>
                <a:ext cx="360" cy="360"/>
              </p14:xfrm>
            </p:contentPart>
          </mc:Choice>
          <mc:Fallback xmlns="">
            <p:pic>
              <p:nvPicPr>
                <p:cNvPr id="82" name="Ink 81">
                  <a:extLst>
                    <a:ext uri="{FF2B5EF4-FFF2-40B4-BE49-F238E27FC236}">
                      <a16:creationId xmlns:a16="http://schemas.microsoft.com/office/drawing/2014/main" id="{8493DB77-04CA-44B7-A3CF-5B2B78681B2F}"/>
                    </a:ext>
                  </a:extLst>
                </p:cNvPr>
                <p:cNvPicPr/>
                <p:nvPr/>
              </p:nvPicPr>
              <p:blipFill>
                <a:blip r:embed="rId3"/>
                <a:stretch>
                  <a:fillRect/>
                </a:stretch>
              </p:blipFill>
              <p:spPr>
                <a:xfrm>
                  <a:off x="3729537" y="273843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83" name="Ink 82">
                  <a:extLst>
                    <a:ext uri="{FF2B5EF4-FFF2-40B4-BE49-F238E27FC236}">
                      <a16:creationId xmlns:a16="http://schemas.microsoft.com/office/drawing/2014/main" id="{7717E4D3-1A14-4BD6-BB56-CC41BA460A6B}"/>
                    </a:ext>
                  </a:extLst>
                </p14:cNvPr>
                <p14:cNvContentPartPr/>
                <p14:nvPr/>
              </p14:nvContentPartPr>
              <p14:xfrm>
                <a:off x="3808737" y="2676878"/>
                <a:ext cx="92160" cy="114480"/>
              </p14:xfrm>
            </p:contentPart>
          </mc:Choice>
          <mc:Fallback xmlns="">
            <p:pic>
              <p:nvPicPr>
                <p:cNvPr id="83" name="Ink 82">
                  <a:extLst>
                    <a:ext uri="{FF2B5EF4-FFF2-40B4-BE49-F238E27FC236}">
                      <a16:creationId xmlns:a16="http://schemas.microsoft.com/office/drawing/2014/main" id="{7717E4D3-1A14-4BD6-BB56-CC41BA460A6B}"/>
                    </a:ext>
                  </a:extLst>
                </p:cNvPr>
                <p:cNvPicPr/>
                <p:nvPr/>
              </p:nvPicPr>
              <p:blipFill>
                <a:blip r:embed="rId80"/>
                <a:stretch>
                  <a:fillRect/>
                </a:stretch>
              </p:blipFill>
              <p:spPr>
                <a:xfrm>
                  <a:off x="3804417" y="2672558"/>
                  <a:ext cx="10080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84" name="Ink 83">
                  <a:extLst>
                    <a:ext uri="{FF2B5EF4-FFF2-40B4-BE49-F238E27FC236}">
                      <a16:creationId xmlns:a16="http://schemas.microsoft.com/office/drawing/2014/main" id="{2305226F-A32F-4E0D-BEB4-09C8163BBC31}"/>
                    </a:ext>
                  </a:extLst>
                </p14:cNvPr>
                <p14:cNvContentPartPr/>
                <p14:nvPr/>
              </p14:nvContentPartPr>
              <p14:xfrm>
                <a:off x="3888657" y="2666078"/>
                <a:ext cx="103320" cy="112680"/>
              </p14:xfrm>
            </p:contentPart>
          </mc:Choice>
          <mc:Fallback xmlns="">
            <p:pic>
              <p:nvPicPr>
                <p:cNvPr id="84" name="Ink 83">
                  <a:extLst>
                    <a:ext uri="{FF2B5EF4-FFF2-40B4-BE49-F238E27FC236}">
                      <a16:creationId xmlns:a16="http://schemas.microsoft.com/office/drawing/2014/main" id="{2305226F-A32F-4E0D-BEB4-09C8163BBC31}"/>
                    </a:ext>
                  </a:extLst>
                </p:cNvPr>
                <p:cNvPicPr/>
                <p:nvPr/>
              </p:nvPicPr>
              <p:blipFill>
                <a:blip r:embed="rId82"/>
                <a:stretch>
                  <a:fillRect/>
                </a:stretch>
              </p:blipFill>
              <p:spPr>
                <a:xfrm>
                  <a:off x="3884337" y="2661758"/>
                  <a:ext cx="11196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85" name="Ink 84">
                  <a:extLst>
                    <a:ext uri="{FF2B5EF4-FFF2-40B4-BE49-F238E27FC236}">
                      <a16:creationId xmlns:a16="http://schemas.microsoft.com/office/drawing/2014/main" id="{D5EE0536-0E3B-4A6B-81D1-EB3FFB91D185}"/>
                    </a:ext>
                  </a:extLst>
                </p14:cNvPr>
                <p14:cNvContentPartPr/>
                <p14:nvPr/>
              </p14:nvContentPartPr>
              <p14:xfrm>
                <a:off x="4105017" y="2686958"/>
                <a:ext cx="20160" cy="82800"/>
              </p14:xfrm>
            </p:contentPart>
          </mc:Choice>
          <mc:Fallback xmlns="">
            <p:pic>
              <p:nvPicPr>
                <p:cNvPr id="85" name="Ink 84">
                  <a:extLst>
                    <a:ext uri="{FF2B5EF4-FFF2-40B4-BE49-F238E27FC236}">
                      <a16:creationId xmlns:a16="http://schemas.microsoft.com/office/drawing/2014/main" id="{D5EE0536-0E3B-4A6B-81D1-EB3FFB91D185}"/>
                    </a:ext>
                  </a:extLst>
                </p:cNvPr>
                <p:cNvPicPr/>
                <p:nvPr/>
              </p:nvPicPr>
              <p:blipFill>
                <a:blip r:embed="rId29"/>
                <a:stretch>
                  <a:fillRect/>
                </a:stretch>
              </p:blipFill>
              <p:spPr>
                <a:xfrm>
                  <a:off x="4100697" y="2682638"/>
                  <a:ext cx="2880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86" name="Ink 85">
                  <a:extLst>
                    <a:ext uri="{FF2B5EF4-FFF2-40B4-BE49-F238E27FC236}">
                      <a16:creationId xmlns:a16="http://schemas.microsoft.com/office/drawing/2014/main" id="{EFD931F9-B7D6-4A0C-ADF2-48A294C2F01D}"/>
                    </a:ext>
                  </a:extLst>
                </p14:cNvPr>
                <p14:cNvContentPartPr/>
                <p14:nvPr/>
              </p14:nvContentPartPr>
              <p14:xfrm>
                <a:off x="4062177" y="2716118"/>
                <a:ext cx="125640" cy="12960"/>
              </p14:xfrm>
            </p:contentPart>
          </mc:Choice>
          <mc:Fallback xmlns="">
            <p:pic>
              <p:nvPicPr>
                <p:cNvPr id="86" name="Ink 85">
                  <a:extLst>
                    <a:ext uri="{FF2B5EF4-FFF2-40B4-BE49-F238E27FC236}">
                      <a16:creationId xmlns:a16="http://schemas.microsoft.com/office/drawing/2014/main" id="{EFD931F9-B7D6-4A0C-ADF2-48A294C2F01D}"/>
                    </a:ext>
                  </a:extLst>
                </p:cNvPr>
                <p:cNvPicPr/>
                <p:nvPr/>
              </p:nvPicPr>
              <p:blipFill>
                <a:blip r:embed="rId85"/>
                <a:stretch>
                  <a:fillRect/>
                </a:stretch>
              </p:blipFill>
              <p:spPr>
                <a:xfrm>
                  <a:off x="4057857" y="2711798"/>
                  <a:ext cx="134280" cy="21600"/>
                </a:xfrm>
                <a:prstGeom prst="rect">
                  <a:avLst/>
                </a:prstGeom>
              </p:spPr>
            </p:pic>
          </mc:Fallback>
        </mc:AlternateContent>
      </p:grpSp>
      <p:grpSp>
        <p:nvGrpSpPr>
          <p:cNvPr id="100" name="Group 99">
            <a:extLst>
              <a:ext uri="{FF2B5EF4-FFF2-40B4-BE49-F238E27FC236}">
                <a16:creationId xmlns:a16="http://schemas.microsoft.com/office/drawing/2014/main" id="{A9F4159A-25B1-4432-866A-4E7FB4FD22E7}"/>
              </a:ext>
            </a:extLst>
          </p:cNvPr>
          <p:cNvGrpSpPr/>
          <p:nvPr/>
        </p:nvGrpSpPr>
        <p:grpSpPr>
          <a:xfrm>
            <a:off x="4300137" y="2589398"/>
            <a:ext cx="990000" cy="161640"/>
            <a:chOff x="4300137" y="2589398"/>
            <a:chExt cx="990000" cy="161640"/>
          </a:xfrm>
        </p:grpSpPr>
        <mc:AlternateContent xmlns:mc="http://schemas.openxmlformats.org/markup-compatibility/2006" xmlns:p14="http://schemas.microsoft.com/office/powerpoint/2010/main">
          <mc:Choice Requires="p14">
            <p:contentPart p14:bwMode="auto" r:id="rId86">
              <p14:nvContentPartPr>
                <p14:cNvPr id="88" name="Ink 87">
                  <a:extLst>
                    <a:ext uri="{FF2B5EF4-FFF2-40B4-BE49-F238E27FC236}">
                      <a16:creationId xmlns:a16="http://schemas.microsoft.com/office/drawing/2014/main" id="{7150333E-B932-465E-BDB6-198191C88484}"/>
                    </a:ext>
                  </a:extLst>
                </p14:cNvPr>
                <p14:cNvContentPartPr/>
                <p14:nvPr/>
              </p14:nvContentPartPr>
              <p14:xfrm>
                <a:off x="4300137" y="2671838"/>
                <a:ext cx="68400" cy="79200"/>
              </p14:xfrm>
            </p:contentPart>
          </mc:Choice>
          <mc:Fallback xmlns="">
            <p:pic>
              <p:nvPicPr>
                <p:cNvPr id="88" name="Ink 87">
                  <a:extLst>
                    <a:ext uri="{FF2B5EF4-FFF2-40B4-BE49-F238E27FC236}">
                      <a16:creationId xmlns:a16="http://schemas.microsoft.com/office/drawing/2014/main" id="{7150333E-B932-465E-BDB6-198191C88484}"/>
                    </a:ext>
                  </a:extLst>
                </p:cNvPr>
                <p:cNvPicPr/>
                <p:nvPr/>
              </p:nvPicPr>
              <p:blipFill>
                <a:blip r:embed="rId87"/>
                <a:stretch>
                  <a:fillRect/>
                </a:stretch>
              </p:blipFill>
              <p:spPr>
                <a:xfrm>
                  <a:off x="4295817" y="2667518"/>
                  <a:ext cx="77040" cy="878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9" name="Ink 88">
                  <a:extLst>
                    <a:ext uri="{FF2B5EF4-FFF2-40B4-BE49-F238E27FC236}">
                      <a16:creationId xmlns:a16="http://schemas.microsoft.com/office/drawing/2014/main" id="{903AD705-D9ED-4493-9168-511B1DDDD9F4}"/>
                    </a:ext>
                  </a:extLst>
                </p14:cNvPr>
                <p14:cNvContentPartPr/>
                <p14:nvPr/>
              </p14:nvContentPartPr>
              <p14:xfrm>
                <a:off x="4411017" y="2729078"/>
                <a:ext cx="360" cy="2880"/>
              </p14:xfrm>
            </p:contentPart>
          </mc:Choice>
          <mc:Fallback xmlns="">
            <p:pic>
              <p:nvPicPr>
                <p:cNvPr id="89" name="Ink 88">
                  <a:extLst>
                    <a:ext uri="{FF2B5EF4-FFF2-40B4-BE49-F238E27FC236}">
                      <a16:creationId xmlns:a16="http://schemas.microsoft.com/office/drawing/2014/main" id="{903AD705-D9ED-4493-9168-511B1DDDD9F4}"/>
                    </a:ext>
                  </a:extLst>
                </p:cNvPr>
                <p:cNvPicPr/>
                <p:nvPr/>
              </p:nvPicPr>
              <p:blipFill>
                <a:blip r:embed="rId89"/>
                <a:stretch>
                  <a:fillRect/>
                </a:stretch>
              </p:blipFill>
              <p:spPr>
                <a:xfrm>
                  <a:off x="4406697" y="2724758"/>
                  <a:ext cx="9000" cy="1152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90" name="Ink 89">
                  <a:extLst>
                    <a:ext uri="{FF2B5EF4-FFF2-40B4-BE49-F238E27FC236}">
                      <a16:creationId xmlns:a16="http://schemas.microsoft.com/office/drawing/2014/main" id="{864DAD99-776D-47A1-A649-B066EA8886B1}"/>
                    </a:ext>
                  </a:extLst>
                </p14:cNvPr>
                <p14:cNvContentPartPr/>
                <p14:nvPr/>
              </p14:nvContentPartPr>
              <p14:xfrm>
                <a:off x="4452777" y="2652398"/>
                <a:ext cx="7920" cy="90000"/>
              </p14:xfrm>
            </p:contentPart>
          </mc:Choice>
          <mc:Fallback xmlns="">
            <p:pic>
              <p:nvPicPr>
                <p:cNvPr id="90" name="Ink 89">
                  <a:extLst>
                    <a:ext uri="{FF2B5EF4-FFF2-40B4-BE49-F238E27FC236}">
                      <a16:creationId xmlns:a16="http://schemas.microsoft.com/office/drawing/2014/main" id="{864DAD99-776D-47A1-A649-B066EA8886B1}"/>
                    </a:ext>
                  </a:extLst>
                </p:cNvPr>
                <p:cNvPicPr/>
                <p:nvPr/>
              </p:nvPicPr>
              <p:blipFill>
                <a:blip r:embed="rId91"/>
                <a:stretch>
                  <a:fillRect/>
                </a:stretch>
              </p:blipFill>
              <p:spPr>
                <a:xfrm>
                  <a:off x="4448457" y="2648078"/>
                  <a:ext cx="1656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91" name="Ink 90">
                  <a:extLst>
                    <a:ext uri="{FF2B5EF4-FFF2-40B4-BE49-F238E27FC236}">
                      <a16:creationId xmlns:a16="http://schemas.microsoft.com/office/drawing/2014/main" id="{6322F807-6C41-42E6-A1B0-4C5F248B647A}"/>
                    </a:ext>
                  </a:extLst>
                </p14:cNvPr>
                <p14:cNvContentPartPr/>
                <p14:nvPr/>
              </p14:nvContentPartPr>
              <p14:xfrm>
                <a:off x="4506417" y="2652038"/>
                <a:ext cx="65160" cy="78480"/>
              </p14:xfrm>
            </p:contentPart>
          </mc:Choice>
          <mc:Fallback xmlns="">
            <p:pic>
              <p:nvPicPr>
                <p:cNvPr id="91" name="Ink 90">
                  <a:extLst>
                    <a:ext uri="{FF2B5EF4-FFF2-40B4-BE49-F238E27FC236}">
                      <a16:creationId xmlns:a16="http://schemas.microsoft.com/office/drawing/2014/main" id="{6322F807-6C41-42E6-A1B0-4C5F248B647A}"/>
                    </a:ext>
                  </a:extLst>
                </p:cNvPr>
                <p:cNvPicPr/>
                <p:nvPr/>
              </p:nvPicPr>
              <p:blipFill>
                <a:blip r:embed="rId93"/>
                <a:stretch>
                  <a:fillRect/>
                </a:stretch>
              </p:blipFill>
              <p:spPr>
                <a:xfrm>
                  <a:off x="4502097" y="2647718"/>
                  <a:ext cx="73800" cy="8712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92" name="Ink 91">
                  <a:extLst>
                    <a:ext uri="{FF2B5EF4-FFF2-40B4-BE49-F238E27FC236}">
                      <a16:creationId xmlns:a16="http://schemas.microsoft.com/office/drawing/2014/main" id="{570943C6-E320-44AB-8D76-5609F373ABED}"/>
                    </a:ext>
                  </a:extLst>
                </p14:cNvPr>
                <p14:cNvContentPartPr/>
                <p14:nvPr/>
              </p14:nvContentPartPr>
              <p14:xfrm>
                <a:off x="4612257" y="2642678"/>
                <a:ext cx="58320" cy="104040"/>
              </p14:xfrm>
            </p:contentPart>
          </mc:Choice>
          <mc:Fallback xmlns="">
            <p:pic>
              <p:nvPicPr>
                <p:cNvPr id="92" name="Ink 91">
                  <a:extLst>
                    <a:ext uri="{FF2B5EF4-FFF2-40B4-BE49-F238E27FC236}">
                      <a16:creationId xmlns:a16="http://schemas.microsoft.com/office/drawing/2014/main" id="{570943C6-E320-44AB-8D76-5609F373ABED}"/>
                    </a:ext>
                  </a:extLst>
                </p:cNvPr>
                <p:cNvPicPr/>
                <p:nvPr/>
              </p:nvPicPr>
              <p:blipFill>
                <a:blip r:embed="rId95"/>
                <a:stretch>
                  <a:fillRect/>
                </a:stretch>
              </p:blipFill>
              <p:spPr>
                <a:xfrm>
                  <a:off x="4607937" y="2638358"/>
                  <a:ext cx="6696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93" name="Ink 92">
                  <a:extLst>
                    <a:ext uri="{FF2B5EF4-FFF2-40B4-BE49-F238E27FC236}">
                      <a16:creationId xmlns:a16="http://schemas.microsoft.com/office/drawing/2014/main" id="{9D44812A-A5A3-42E5-AF55-F1205B0D3AEA}"/>
                    </a:ext>
                  </a:extLst>
                </p14:cNvPr>
                <p14:cNvContentPartPr/>
                <p14:nvPr/>
              </p14:nvContentPartPr>
              <p14:xfrm>
                <a:off x="4767057" y="2624318"/>
                <a:ext cx="7920" cy="90360"/>
              </p14:xfrm>
            </p:contentPart>
          </mc:Choice>
          <mc:Fallback xmlns="">
            <p:pic>
              <p:nvPicPr>
                <p:cNvPr id="93" name="Ink 92">
                  <a:extLst>
                    <a:ext uri="{FF2B5EF4-FFF2-40B4-BE49-F238E27FC236}">
                      <a16:creationId xmlns:a16="http://schemas.microsoft.com/office/drawing/2014/main" id="{9D44812A-A5A3-42E5-AF55-F1205B0D3AEA}"/>
                    </a:ext>
                  </a:extLst>
                </p:cNvPr>
                <p:cNvPicPr/>
                <p:nvPr/>
              </p:nvPicPr>
              <p:blipFill>
                <a:blip r:embed="rId97"/>
                <a:stretch>
                  <a:fillRect/>
                </a:stretch>
              </p:blipFill>
              <p:spPr>
                <a:xfrm>
                  <a:off x="4762737" y="2619998"/>
                  <a:ext cx="16560" cy="9900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4" name="Ink 93">
                  <a:extLst>
                    <a:ext uri="{FF2B5EF4-FFF2-40B4-BE49-F238E27FC236}">
                      <a16:creationId xmlns:a16="http://schemas.microsoft.com/office/drawing/2014/main" id="{3E07791C-A239-417F-BCCC-C715632EBAC4}"/>
                    </a:ext>
                  </a:extLst>
                </p14:cNvPr>
                <p14:cNvContentPartPr/>
                <p14:nvPr/>
              </p14:nvContentPartPr>
              <p14:xfrm>
                <a:off x="4725297" y="2673278"/>
                <a:ext cx="76320" cy="14040"/>
              </p14:xfrm>
            </p:contentPart>
          </mc:Choice>
          <mc:Fallback xmlns="">
            <p:pic>
              <p:nvPicPr>
                <p:cNvPr id="94" name="Ink 93">
                  <a:extLst>
                    <a:ext uri="{FF2B5EF4-FFF2-40B4-BE49-F238E27FC236}">
                      <a16:creationId xmlns:a16="http://schemas.microsoft.com/office/drawing/2014/main" id="{3E07791C-A239-417F-BCCC-C715632EBAC4}"/>
                    </a:ext>
                  </a:extLst>
                </p:cNvPr>
                <p:cNvPicPr/>
                <p:nvPr/>
              </p:nvPicPr>
              <p:blipFill>
                <a:blip r:embed="rId99"/>
                <a:stretch>
                  <a:fillRect/>
                </a:stretch>
              </p:blipFill>
              <p:spPr>
                <a:xfrm>
                  <a:off x="4720977" y="2668958"/>
                  <a:ext cx="8496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6" name="Ink 95">
                  <a:extLst>
                    <a:ext uri="{FF2B5EF4-FFF2-40B4-BE49-F238E27FC236}">
                      <a16:creationId xmlns:a16="http://schemas.microsoft.com/office/drawing/2014/main" id="{45EEE506-88A2-4193-9C54-8C8449DFE730}"/>
                    </a:ext>
                  </a:extLst>
                </p14:cNvPr>
                <p14:cNvContentPartPr/>
                <p14:nvPr/>
              </p14:nvContentPartPr>
              <p14:xfrm>
                <a:off x="4936617" y="2603798"/>
                <a:ext cx="95760" cy="85320"/>
              </p14:xfrm>
            </p:contentPart>
          </mc:Choice>
          <mc:Fallback xmlns="">
            <p:pic>
              <p:nvPicPr>
                <p:cNvPr id="96" name="Ink 95">
                  <a:extLst>
                    <a:ext uri="{FF2B5EF4-FFF2-40B4-BE49-F238E27FC236}">
                      <a16:creationId xmlns:a16="http://schemas.microsoft.com/office/drawing/2014/main" id="{45EEE506-88A2-4193-9C54-8C8449DFE730}"/>
                    </a:ext>
                  </a:extLst>
                </p:cNvPr>
                <p:cNvPicPr/>
                <p:nvPr/>
              </p:nvPicPr>
              <p:blipFill>
                <a:blip r:embed="rId101"/>
                <a:stretch>
                  <a:fillRect/>
                </a:stretch>
              </p:blipFill>
              <p:spPr>
                <a:xfrm>
                  <a:off x="4932297" y="2599478"/>
                  <a:ext cx="10440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7" name="Ink 96">
                  <a:extLst>
                    <a:ext uri="{FF2B5EF4-FFF2-40B4-BE49-F238E27FC236}">
                      <a16:creationId xmlns:a16="http://schemas.microsoft.com/office/drawing/2014/main" id="{B715EBB9-3E3F-4D08-ACA5-9DC3F8F6B292}"/>
                    </a:ext>
                  </a:extLst>
                </p14:cNvPr>
                <p14:cNvContentPartPr/>
                <p14:nvPr/>
              </p14:nvContentPartPr>
              <p14:xfrm>
                <a:off x="5088177" y="2666078"/>
                <a:ext cx="360" cy="360"/>
              </p14:xfrm>
            </p:contentPart>
          </mc:Choice>
          <mc:Fallback xmlns="">
            <p:pic>
              <p:nvPicPr>
                <p:cNvPr id="97" name="Ink 96">
                  <a:extLst>
                    <a:ext uri="{FF2B5EF4-FFF2-40B4-BE49-F238E27FC236}">
                      <a16:creationId xmlns:a16="http://schemas.microsoft.com/office/drawing/2014/main" id="{B715EBB9-3E3F-4D08-ACA5-9DC3F8F6B292}"/>
                    </a:ext>
                  </a:extLst>
                </p:cNvPr>
                <p:cNvPicPr/>
                <p:nvPr/>
              </p:nvPicPr>
              <p:blipFill>
                <a:blip r:embed="rId3"/>
                <a:stretch>
                  <a:fillRect/>
                </a:stretch>
              </p:blipFill>
              <p:spPr>
                <a:xfrm>
                  <a:off x="5083857" y="2661758"/>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98" name="Ink 97">
                  <a:extLst>
                    <a:ext uri="{FF2B5EF4-FFF2-40B4-BE49-F238E27FC236}">
                      <a16:creationId xmlns:a16="http://schemas.microsoft.com/office/drawing/2014/main" id="{D3A830D0-F0D6-44F5-B9F2-36FF45C191DB}"/>
                    </a:ext>
                  </a:extLst>
                </p14:cNvPr>
                <p14:cNvContentPartPr/>
                <p14:nvPr/>
              </p14:nvContentPartPr>
              <p14:xfrm>
                <a:off x="5131737" y="2589398"/>
                <a:ext cx="61920" cy="89280"/>
              </p14:xfrm>
            </p:contentPart>
          </mc:Choice>
          <mc:Fallback xmlns="">
            <p:pic>
              <p:nvPicPr>
                <p:cNvPr id="98" name="Ink 97">
                  <a:extLst>
                    <a:ext uri="{FF2B5EF4-FFF2-40B4-BE49-F238E27FC236}">
                      <a16:creationId xmlns:a16="http://schemas.microsoft.com/office/drawing/2014/main" id="{D3A830D0-F0D6-44F5-B9F2-36FF45C191DB}"/>
                    </a:ext>
                  </a:extLst>
                </p:cNvPr>
                <p:cNvPicPr/>
                <p:nvPr/>
              </p:nvPicPr>
              <p:blipFill>
                <a:blip r:embed="rId104"/>
                <a:stretch>
                  <a:fillRect/>
                </a:stretch>
              </p:blipFill>
              <p:spPr>
                <a:xfrm>
                  <a:off x="5127417" y="2585078"/>
                  <a:ext cx="7056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99" name="Ink 98">
                  <a:extLst>
                    <a:ext uri="{FF2B5EF4-FFF2-40B4-BE49-F238E27FC236}">
                      <a16:creationId xmlns:a16="http://schemas.microsoft.com/office/drawing/2014/main" id="{20F5E6BA-171F-4F0C-A1E4-124FE3399DBA}"/>
                    </a:ext>
                  </a:extLst>
                </p14:cNvPr>
                <p14:cNvContentPartPr/>
                <p14:nvPr/>
              </p14:nvContentPartPr>
              <p14:xfrm>
                <a:off x="5229297" y="2595518"/>
                <a:ext cx="60840" cy="72360"/>
              </p14:xfrm>
            </p:contentPart>
          </mc:Choice>
          <mc:Fallback xmlns="">
            <p:pic>
              <p:nvPicPr>
                <p:cNvPr id="99" name="Ink 98">
                  <a:extLst>
                    <a:ext uri="{FF2B5EF4-FFF2-40B4-BE49-F238E27FC236}">
                      <a16:creationId xmlns:a16="http://schemas.microsoft.com/office/drawing/2014/main" id="{20F5E6BA-171F-4F0C-A1E4-124FE3399DBA}"/>
                    </a:ext>
                  </a:extLst>
                </p:cNvPr>
                <p:cNvPicPr/>
                <p:nvPr/>
              </p:nvPicPr>
              <p:blipFill>
                <a:blip r:embed="rId106"/>
                <a:stretch>
                  <a:fillRect/>
                </a:stretch>
              </p:blipFill>
              <p:spPr>
                <a:xfrm>
                  <a:off x="5224977" y="2591198"/>
                  <a:ext cx="69480" cy="8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7">
            <p14:nvContentPartPr>
              <p14:cNvPr id="101" name="Ink 100">
                <a:extLst>
                  <a:ext uri="{FF2B5EF4-FFF2-40B4-BE49-F238E27FC236}">
                    <a16:creationId xmlns:a16="http://schemas.microsoft.com/office/drawing/2014/main" id="{D9CAB537-CA15-47F7-898B-A67370E7504E}"/>
                  </a:ext>
                </a:extLst>
              </p14:cNvPr>
              <p14:cNvContentPartPr/>
              <p14:nvPr/>
            </p14:nvContentPartPr>
            <p14:xfrm>
              <a:off x="5576697" y="2351798"/>
              <a:ext cx="88920" cy="360"/>
            </p14:xfrm>
          </p:contentPart>
        </mc:Choice>
        <mc:Fallback xmlns="">
          <p:pic>
            <p:nvPicPr>
              <p:cNvPr id="101" name="Ink 100">
                <a:extLst>
                  <a:ext uri="{FF2B5EF4-FFF2-40B4-BE49-F238E27FC236}">
                    <a16:creationId xmlns:a16="http://schemas.microsoft.com/office/drawing/2014/main" id="{D9CAB537-CA15-47F7-898B-A67370E7504E}"/>
                  </a:ext>
                </a:extLst>
              </p:cNvPr>
              <p:cNvPicPr/>
              <p:nvPr/>
            </p:nvPicPr>
            <p:blipFill>
              <a:blip r:embed="rId108"/>
              <a:stretch>
                <a:fillRect/>
              </a:stretch>
            </p:blipFill>
            <p:spPr>
              <a:xfrm>
                <a:off x="5572377" y="2347478"/>
                <a:ext cx="97560" cy="9000"/>
              </a:xfrm>
              <a:prstGeom prst="rect">
                <a:avLst/>
              </a:prstGeom>
            </p:spPr>
          </p:pic>
        </mc:Fallback>
      </mc:AlternateContent>
      <p:grpSp>
        <p:nvGrpSpPr>
          <p:cNvPr id="104" name="Group 103">
            <a:extLst>
              <a:ext uri="{FF2B5EF4-FFF2-40B4-BE49-F238E27FC236}">
                <a16:creationId xmlns:a16="http://schemas.microsoft.com/office/drawing/2014/main" id="{673549E1-D675-42AA-BE35-08B353582A17}"/>
              </a:ext>
            </a:extLst>
          </p:cNvPr>
          <p:cNvGrpSpPr/>
          <p:nvPr/>
        </p:nvGrpSpPr>
        <p:grpSpPr>
          <a:xfrm>
            <a:off x="5583897" y="2416238"/>
            <a:ext cx="111600" cy="5760"/>
            <a:chOff x="5583897" y="2416238"/>
            <a:chExt cx="111600" cy="5760"/>
          </a:xfrm>
        </p:grpSpPr>
        <mc:AlternateContent xmlns:mc="http://schemas.openxmlformats.org/markup-compatibility/2006" xmlns:p14="http://schemas.microsoft.com/office/powerpoint/2010/main">
          <mc:Choice Requires="p14">
            <p:contentPart p14:bwMode="auto" r:id="rId109">
              <p14:nvContentPartPr>
                <p14:cNvPr id="102" name="Ink 101">
                  <a:extLst>
                    <a:ext uri="{FF2B5EF4-FFF2-40B4-BE49-F238E27FC236}">
                      <a16:creationId xmlns:a16="http://schemas.microsoft.com/office/drawing/2014/main" id="{385105F5-29F1-4053-8C51-F613A2E39263}"/>
                    </a:ext>
                  </a:extLst>
                </p14:cNvPr>
                <p14:cNvContentPartPr/>
                <p14:nvPr/>
              </p14:nvContentPartPr>
              <p14:xfrm>
                <a:off x="5583897" y="2416238"/>
                <a:ext cx="37440" cy="5760"/>
              </p14:xfrm>
            </p:contentPart>
          </mc:Choice>
          <mc:Fallback xmlns="">
            <p:pic>
              <p:nvPicPr>
                <p:cNvPr id="102" name="Ink 101">
                  <a:extLst>
                    <a:ext uri="{FF2B5EF4-FFF2-40B4-BE49-F238E27FC236}">
                      <a16:creationId xmlns:a16="http://schemas.microsoft.com/office/drawing/2014/main" id="{385105F5-29F1-4053-8C51-F613A2E39263}"/>
                    </a:ext>
                  </a:extLst>
                </p:cNvPr>
                <p:cNvPicPr/>
                <p:nvPr/>
              </p:nvPicPr>
              <p:blipFill>
                <a:blip r:embed="rId110"/>
                <a:stretch>
                  <a:fillRect/>
                </a:stretch>
              </p:blipFill>
              <p:spPr>
                <a:xfrm>
                  <a:off x="5579577" y="2411918"/>
                  <a:ext cx="46080"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103" name="Ink 102">
                  <a:extLst>
                    <a:ext uri="{FF2B5EF4-FFF2-40B4-BE49-F238E27FC236}">
                      <a16:creationId xmlns:a16="http://schemas.microsoft.com/office/drawing/2014/main" id="{397FCE79-ED80-4ED5-A468-FF0165DA9002}"/>
                    </a:ext>
                  </a:extLst>
                </p14:cNvPr>
                <p14:cNvContentPartPr/>
                <p14:nvPr/>
              </p14:nvContentPartPr>
              <p14:xfrm>
                <a:off x="5597937" y="2421638"/>
                <a:ext cx="97560" cy="360"/>
              </p14:xfrm>
            </p:contentPart>
          </mc:Choice>
          <mc:Fallback xmlns="">
            <p:pic>
              <p:nvPicPr>
                <p:cNvPr id="103" name="Ink 102">
                  <a:extLst>
                    <a:ext uri="{FF2B5EF4-FFF2-40B4-BE49-F238E27FC236}">
                      <a16:creationId xmlns:a16="http://schemas.microsoft.com/office/drawing/2014/main" id="{397FCE79-ED80-4ED5-A468-FF0165DA9002}"/>
                    </a:ext>
                  </a:extLst>
                </p:cNvPr>
                <p:cNvPicPr/>
                <p:nvPr/>
              </p:nvPicPr>
              <p:blipFill>
                <a:blip r:embed="rId112"/>
                <a:stretch>
                  <a:fillRect/>
                </a:stretch>
              </p:blipFill>
              <p:spPr>
                <a:xfrm>
                  <a:off x="5593617" y="2417318"/>
                  <a:ext cx="106200" cy="9000"/>
                </a:xfrm>
                <a:prstGeom prst="rect">
                  <a:avLst/>
                </a:prstGeom>
              </p:spPr>
            </p:pic>
          </mc:Fallback>
        </mc:AlternateContent>
      </p:grpSp>
    </p:spTree>
    <p:extLst>
      <p:ext uri="{BB962C8B-B14F-4D97-AF65-F5344CB8AC3E}">
        <p14:creationId xmlns:p14="http://schemas.microsoft.com/office/powerpoint/2010/main" val="123671110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ECB27-EAA2-4EE0-A357-855C3ABB6A5B}"/>
              </a:ext>
            </a:extLst>
          </p:cNvPr>
          <p:cNvSpPr>
            <a:spLocks noGrp="1"/>
          </p:cNvSpPr>
          <p:nvPr>
            <p:ph type="title"/>
          </p:nvPr>
        </p:nvSpPr>
        <p:spPr>
          <a:xfrm>
            <a:off x="0" y="0"/>
            <a:ext cx="7955280" cy="640080"/>
          </a:xfrm>
        </p:spPr>
        <p:txBody>
          <a:bodyPr/>
          <a:lstStyle/>
          <a:p>
            <a:r>
              <a:rPr lang="en-US" dirty="0"/>
              <a:t>Harmonic Mean - </a:t>
            </a:r>
            <a:r>
              <a:rPr lang="en-US" sz="2400" dirty="0">
                <a:solidFill>
                  <a:schemeClr val="bg2">
                    <a:lumMod val="50000"/>
                    <a:lumOff val="50000"/>
                  </a:schemeClr>
                </a:solidFill>
              </a:rPr>
              <a:t>Continued</a:t>
            </a:r>
            <a:endParaRPr lang="en-US" dirty="0">
              <a:solidFill>
                <a:schemeClr val="bg2">
                  <a:lumMod val="50000"/>
                  <a:lumOff val="50000"/>
                </a:schemeClr>
              </a:solidFill>
            </a:endParaRPr>
          </a:p>
        </p:txBody>
      </p:sp>
      <p:sp>
        <p:nvSpPr>
          <p:cNvPr id="4" name="Content Placeholder 3">
            <a:extLst>
              <a:ext uri="{FF2B5EF4-FFF2-40B4-BE49-F238E27FC236}">
                <a16:creationId xmlns:a16="http://schemas.microsoft.com/office/drawing/2014/main" id="{B5302A69-3D48-4326-8584-D4306A30249E}"/>
              </a:ext>
            </a:extLst>
          </p:cNvPr>
          <p:cNvSpPr>
            <a:spLocks noGrp="1"/>
          </p:cNvSpPr>
          <p:nvPr>
            <p:ph sz="half" idx="1"/>
          </p:nvPr>
        </p:nvSpPr>
        <p:spPr>
          <a:xfrm>
            <a:off x="176598" y="854632"/>
            <a:ext cx="7955280" cy="3811163"/>
          </a:xfrm>
        </p:spPr>
        <p:txBody>
          <a:bodyPr/>
          <a:lstStyle/>
          <a:p>
            <a:r>
              <a:rPr lang="en-US" dirty="0">
                <a:solidFill>
                  <a:schemeClr val="bg2">
                    <a:lumMod val="50000"/>
                    <a:lumOff val="50000"/>
                  </a:schemeClr>
                </a:solidFill>
                <a:latin typeface="Inter"/>
              </a:rPr>
              <a:t>The Harmonic mean is the reciprocal of the average of the reciprocals</a:t>
            </a:r>
          </a:p>
          <a:p>
            <a:r>
              <a:rPr lang="en-US" dirty="0">
                <a:solidFill>
                  <a:schemeClr val="bg2">
                    <a:lumMod val="50000"/>
                    <a:lumOff val="50000"/>
                  </a:schemeClr>
                </a:solidFill>
                <a:latin typeface="Inter"/>
              </a:rPr>
              <a:t>The formula is : </a:t>
            </a:r>
          </a:p>
          <a:p>
            <a:pPr lvl="1"/>
            <a:endParaRPr lang="en-US" dirty="0"/>
          </a:p>
        </p:txBody>
      </p:sp>
      <p:pic>
        <p:nvPicPr>
          <p:cNvPr id="6" name="Picture 5">
            <a:extLst>
              <a:ext uri="{FF2B5EF4-FFF2-40B4-BE49-F238E27FC236}">
                <a16:creationId xmlns:a16="http://schemas.microsoft.com/office/drawing/2014/main" id="{1E1A9138-205F-4B7A-8E4D-495313CAAA7C}"/>
              </a:ext>
            </a:extLst>
          </p:cNvPr>
          <p:cNvPicPr>
            <a:picLocks noChangeAspect="1"/>
          </p:cNvPicPr>
          <p:nvPr/>
        </p:nvPicPr>
        <p:blipFill>
          <a:blip r:embed="rId2"/>
          <a:stretch>
            <a:fillRect/>
          </a:stretch>
        </p:blipFill>
        <p:spPr>
          <a:xfrm>
            <a:off x="947555" y="1570570"/>
            <a:ext cx="5791147" cy="537436"/>
          </a:xfrm>
          <a:prstGeom prst="rect">
            <a:avLst/>
          </a:prstGeom>
        </p:spPr>
      </p:pic>
      <p:sp>
        <p:nvSpPr>
          <p:cNvPr id="7" name="TextBox 6">
            <a:extLst>
              <a:ext uri="{FF2B5EF4-FFF2-40B4-BE49-F238E27FC236}">
                <a16:creationId xmlns:a16="http://schemas.microsoft.com/office/drawing/2014/main" id="{DDA14BC5-E68B-44F9-AF61-3F4A96899004}"/>
              </a:ext>
            </a:extLst>
          </p:cNvPr>
          <p:cNvSpPr txBox="1"/>
          <p:nvPr/>
        </p:nvSpPr>
        <p:spPr>
          <a:xfrm>
            <a:off x="2132117" y="2014781"/>
            <a:ext cx="5003026" cy="307777"/>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i="1" dirty="0">
                <a:solidFill>
                  <a:schemeClr val="bg2"/>
                </a:solidFill>
                <a:latin typeface="+mn-lt"/>
              </a:rPr>
              <a:t>a1, a2,a3,.. are the values and n being how many values</a:t>
            </a:r>
          </a:p>
        </p:txBody>
      </p:sp>
      <p:sp>
        <p:nvSpPr>
          <p:cNvPr id="9" name="TextBox 8">
            <a:extLst>
              <a:ext uri="{FF2B5EF4-FFF2-40B4-BE49-F238E27FC236}">
                <a16:creationId xmlns:a16="http://schemas.microsoft.com/office/drawing/2014/main" id="{E971881A-FAFB-4FE7-9BFB-69C4060B8AA2}"/>
              </a:ext>
            </a:extLst>
          </p:cNvPr>
          <p:cNvSpPr txBox="1"/>
          <p:nvPr/>
        </p:nvSpPr>
        <p:spPr>
          <a:xfrm>
            <a:off x="69800" y="2553863"/>
            <a:ext cx="8669351" cy="1200329"/>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Why Harmonic Mean ?</a:t>
            </a:r>
          </a:p>
          <a:p>
            <a:pPr>
              <a:spcBef>
                <a:spcPts val="0"/>
              </a:spcBef>
              <a:spcAft>
                <a:spcPts val="0"/>
              </a:spcAft>
              <a:buClr>
                <a:schemeClr val="bg1"/>
              </a:buClr>
            </a:pPr>
            <a:endParaRPr lang="en-US" sz="18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Inter"/>
                <a:cs typeface="Arial" panose="020B0604020202020204" pitchFamily="34" charset="0"/>
              </a:rPr>
              <a:t>Ex : Example : A car is travelling at 8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for 20km and then a another 20km at 50 km/</a:t>
            </a:r>
            <a:r>
              <a:rPr lang="en-US" sz="1800" dirty="0" err="1">
                <a:solidFill>
                  <a:schemeClr val="bg2">
                    <a:lumMod val="50000"/>
                    <a:lumOff val="50000"/>
                  </a:schemeClr>
                </a:solidFill>
                <a:latin typeface="Inter"/>
                <a:cs typeface="Arial" panose="020B0604020202020204" pitchFamily="34" charset="0"/>
              </a:rPr>
              <a:t>hr</a:t>
            </a:r>
            <a:r>
              <a:rPr lang="en-US" sz="1800" dirty="0">
                <a:solidFill>
                  <a:schemeClr val="bg2">
                    <a:lumMod val="50000"/>
                    <a:lumOff val="50000"/>
                  </a:schemeClr>
                </a:solidFill>
                <a:latin typeface="Inter"/>
                <a:cs typeface="Arial" panose="020B0604020202020204" pitchFamily="34" charset="0"/>
              </a:rPr>
              <a:t>, what is cars average speed? </a:t>
            </a:r>
          </a:p>
        </p:txBody>
      </p:sp>
    </p:spTree>
    <p:extLst>
      <p:ext uri="{BB962C8B-B14F-4D97-AF65-F5344CB8AC3E}">
        <p14:creationId xmlns:p14="http://schemas.microsoft.com/office/powerpoint/2010/main" val="3158841867"/>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FC01E-EA6B-43E8-BBC9-193147DFA0CA}"/>
              </a:ext>
            </a:extLst>
          </p:cNvPr>
          <p:cNvSpPr>
            <a:spLocks noGrp="1"/>
          </p:cNvSpPr>
          <p:nvPr>
            <p:ph type="title"/>
          </p:nvPr>
        </p:nvSpPr>
        <p:spPr>
          <a:xfrm>
            <a:off x="99816" y="27981"/>
            <a:ext cx="7955280" cy="640080"/>
          </a:xfrm>
        </p:spPr>
        <p:txBody>
          <a:bodyPr/>
          <a:lstStyle/>
          <a:p>
            <a:r>
              <a:rPr lang="en-US" dirty="0"/>
              <a:t>Harmonic Mean</a:t>
            </a:r>
          </a:p>
        </p:txBody>
      </p:sp>
      <p:sp>
        <p:nvSpPr>
          <p:cNvPr id="4" name="Content Placeholder 3">
            <a:extLst>
              <a:ext uri="{FF2B5EF4-FFF2-40B4-BE49-F238E27FC236}">
                <a16:creationId xmlns:a16="http://schemas.microsoft.com/office/drawing/2014/main" id="{E713E63C-EBD1-4963-862B-4E27D9C33808}"/>
              </a:ext>
            </a:extLst>
          </p:cNvPr>
          <p:cNvSpPr>
            <a:spLocks noGrp="1"/>
          </p:cNvSpPr>
          <p:nvPr>
            <p:ph sz="half" idx="1"/>
          </p:nvPr>
        </p:nvSpPr>
        <p:spPr>
          <a:xfrm>
            <a:off x="99816" y="640691"/>
            <a:ext cx="8967402" cy="3862118"/>
          </a:xfrm>
        </p:spPr>
        <p:txBody>
          <a:bodyPr/>
          <a:lstStyle/>
          <a:p>
            <a:pPr>
              <a:buFont typeface="Wingdings" panose="05000000000000000000" pitchFamily="2" charset="2"/>
              <a:buChar char="q"/>
            </a:pPr>
            <a:r>
              <a:rPr lang="en-US" sz="2000" b="1" dirty="0">
                <a:solidFill>
                  <a:schemeClr val="bg2">
                    <a:lumMod val="50000"/>
                    <a:lumOff val="50000"/>
                  </a:schemeClr>
                </a:solidFill>
                <a:latin typeface="Inter"/>
                <a:cs typeface="Arial" panose="020B0604020202020204" pitchFamily="34" charset="0"/>
              </a:rPr>
              <a:t>Find harmonic mean of 4, 6, 8, 100  </a:t>
            </a:r>
          </a:p>
          <a:p>
            <a:endParaRPr lang="en-US" dirty="0">
              <a:solidFill>
                <a:schemeClr val="bg2">
                  <a:lumMod val="50000"/>
                  <a:lumOff val="50000"/>
                </a:schemeClr>
              </a:solidFill>
              <a:latin typeface="Inter"/>
            </a:endParaRPr>
          </a:p>
        </p:txBody>
      </p:sp>
    </p:spTree>
    <p:extLst>
      <p:ext uri="{BB962C8B-B14F-4D97-AF65-F5344CB8AC3E}">
        <p14:creationId xmlns:p14="http://schemas.microsoft.com/office/powerpoint/2010/main" val="3983213857"/>
      </p:ext>
    </p:extLst>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BCE88-F32A-46E6-B441-39E55F5DE739}"/>
              </a:ext>
            </a:extLst>
          </p:cNvPr>
          <p:cNvSpPr>
            <a:spLocks noGrp="1"/>
          </p:cNvSpPr>
          <p:nvPr>
            <p:ph type="title"/>
          </p:nvPr>
        </p:nvSpPr>
        <p:spPr>
          <a:xfrm>
            <a:off x="0" y="0"/>
            <a:ext cx="7955280" cy="640080"/>
          </a:xfrm>
        </p:spPr>
        <p:txBody>
          <a:bodyPr/>
          <a:lstStyle/>
          <a:p>
            <a:r>
              <a:rPr lang="en-US" dirty="0"/>
              <a:t>Conclusion : Mean, Median, Mode</a:t>
            </a:r>
          </a:p>
        </p:txBody>
      </p:sp>
      <p:sp>
        <p:nvSpPr>
          <p:cNvPr id="4" name="Content Placeholder 3">
            <a:extLst>
              <a:ext uri="{FF2B5EF4-FFF2-40B4-BE49-F238E27FC236}">
                <a16:creationId xmlns:a16="http://schemas.microsoft.com/office/drawing/2014/main" id="{0A4320CA-59D2-4476-A3FC-D912E3A0EBDE}"/>
              </a:ext>
            </a:extLst>
          </p:cNvPr>
          <p:cNvSpPr>
            <a:spLocks noGrp="1"/>
          </p:cNvSpPr>
          <p:nvPr>
            <p:ph sz="half" idx="1"/>
          </p:nvPr>
        </p:nvSpPr>
        <p:spPr>
          <a:xfrm>
            <a:off x="155657" y="744781"/>
            <a:ext cx="7955280" cy="3017520"/>
          </a:xfrm>
        </p:spPr>
        <p:txBody>
          <a:bodyPr>
            <a:normAutofit lnSpcReduction="10000"/>
          </a:bodyPr>
          <a:lstStyle/>
          <a:p>
            <a:r>
              <a:rPr lang="en-US" sz="2800" b="1" dirty="0">
                <a:solidFill>
                  <a:schemeClr val="bg2">
                    <a:lumMod val="50000"/>
                    <a:lumOff val="50000"/>
                  </a:schemeClr>
                </a:solidFill>
              </a:rPr>
              <a:t>A measure of central tendency is a measure that tells us where the middle of a bunch of data lies. The three most common measures of central tendency are the mean, the median, and the mode.</a:t>
            </a:r>
          </a:p>
          <a:p>
            <a:r>
              <a:rPr lang="en-US" sz="2800" b="1" dirty="0">
                <a:solidFill>
                  <a:schemeClr val="bg2">
                    <a:lumMod val="50000"/>
                    <a:lumOff val="50000"/>
                  </a:schemeClr>
                </a:solidFill>
              </a:rPr>
              <a:t>Use the one that best suits your data. Or better still use all three !</a:t>
            </a:r>
          </a:p>
        </p:txBody>
      </p:sp>
    </p:spTree>
    <p:extLst>
      <p:ext uri="{BB962C8B-B14F-4D97-AF65-F5344CB8AC3E}">
        <p14:creationId xmlns:p14="http://schemas.microsoft.com/office/powerpoint/2010/main" val="142900990"/>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C462B2-9098-4F9E-B15A-40E3AA3A6352}"/>
              </a:ext>
            </a:extLst>
          </p:cNvPr>
          <p:cNvSpPr>
            <a:spLocks noGrp="1"/>
          </p:cNvSpPr>
          <p:nvPr>
            <p:ph type="title"/>
          </p:nvPr>
        </p:nvSpPr>
        <p:spPr>
          <a:xfrm>
            <a:off x="0" y="27981"/>
            <a:ext cx="7955280" cy="640080"/>
          </a:xfrm>
        </p:spPr>
        <p:txBody>
          <a:bodyPr/>
          <a:lstStyle/>
          <a:p>
            <a:r>
              <a:rPr lang="en-US" dirty="0"/>
              <a:t>The Mean from a Frequency Table</a:t>
            </a:r>
          </a:p>
        </p:txBody>
      </p:sp>
      <p:sp>
        <p:nvSpPr>
          <p:cNvPr id="4" name="Content Placeholder 3">
            <a:extLst>
              <a:ext uri="{FF2B5EF4-FFF2-40B4-BE49-F238E27FC236}">
                <a16:creationId xmlns:a16="http://schemas.microsoft.com/office/drawing/2014/main" id="{71B3E98E-0974-4A9D-8EB5-A9CB714EE14D}"/>
              </a:ext>
            </a:extLst>
          </p:cNvPr>
          <p:cNvSpPr>
            <a:spLocks noGrp="1"/>
          </p:cNvSpPr>
          <p:nvPr>
            <p:ph sz="half" idx="1"/>
          </p:nvPr>
        </p:nvSpPr>
        <p:spPr>
          <a:xfrm>
            <a:off x="48861" y="765783"/>
            <a:ext cx="6728867" cy="1251481"/>
          </a:xfrm>
        </p:spPr>
        <p:txBody>
          <a:bodyPr/>
          <a:lstStyle/>
          <a:p>
            <a:r>
              <a:rPr lang="en-US" dirty="0">
                <a:solidFill>
                  <a:schemeClr val="bg2">
                    <a:lumMod val="50000"/>
                    <a:lumOff val="50000"/>
                  </a:schemeClr>
                </a:solidFill>
                <a:latin typeface="Inter"/>
              </a:rPr>
              <a:t>It is easy to calculate Mean : Add up all the numbers, then divide by how many numbers there are. </a:t>
            </a:r>
          </a:p>
          <a:p>
            <a:pPr lvl="1"/>
            <a:r>
              <a:rPr lang="en-US" sz="1400" dirty="0">
                <a:solidFill>
                  <a:schemeClr val="bg2">
                    <a:lumMod val="50000"/>
                    <a:lumOff val="50000"/>
                  </a:schemeClr>
                </a:solidFill>
                <a:latin typeface="Inter"/>
              </a:rPr>
              <a:t>Ex : What is the Mean of these numbers?</a:t>
            </a:r>
          </a:p>
          <a:p>
            <a:pPr lvl="2"/>
            <a:r>
              <a:rPr lang="en-US" sz="1400" dirty="0">
                <a:solidFill>
                  <a:schemeClr val="bg2">
                    <a:lumMod val="50000"/>
                    <a:lumOff val="50000"/>
                  </a:schemeClr>
                </a:solidFill>
                <a:latin typeface="Inter"/>
              </a:rPr>
              <a:t>6, 11, 7</a:t>
            </a:r>
          </a:p>
          <a:p>
            <a:pPr lvl="2"/>
            <a:r>
              <a:rPr lang="en-US" sz="1400" dirty="0">
                <a:solidFill>
                  <a:schemeClr val="bg2">
                    <a:lumMod val="50000"/>
                    <a:lumOff val="50000"/>
                  </a:schemeClr>
                </a:solidFill>
                <a:latin typeface="Inter"/>
              </a:rPr>
              <a:t>Add the numbers &amp; Divide by 3 : (6 + 11 + 7) / 3. </a:t>
            </a:r>
            <a:r>
              <a:rPr lang="en-US" sz="1400" b="1" i="1" dirty="0">
                <a:solidFill>
                  <a:schemeClr val="bg2">
                    <a:lumMod val="50000"/>
                    <a:lumOff val="50000"/>
                  </a:schemeClr>
                </a:solidFill>
                <a:latin typeface="Inter"/>
              </a:rPr>
              <a:t>Mean is 8 </a:t>
            </a:r>
          </a:p>
          <a:p>
            <a:pPr lvl="2"/>
            <a:endParaRPr lang="en-US" sz="1400" b="1" i="1" dirty="0">
              <a:solidFill>
                <a:schemeClr val="bg2">
                  <a:lumMod val="50000"/>
                  <a:lumOff val="50000"/>
                </a:schemeClr>
              </a:solidFill>
              <a:latin typeface="Inter"/>
            </a:endParaRPr>
          </a:p>
          <a:p>
            <a:pPr lvl="2"/>
            <a:endParaRPr lang="en-US" sz="1400" b="1" i="1" dirty="0">
              <a:solidFill>
                <a:schemeClr val="bg2">
                  <a:lumMod val="50000"/>
                  <a:lumOff val="50000"/>
                </a:schemeClr>
              </a:solidFill>
              <a:latin typeface="Inter"/>
            </a:endParaRPr>
          </a:p>
        </p:txBody>
      </p:sp>
      <p:sp>
        <p:nvSpPr>
          <p:cNvPr id="7" name="TextBox 6">
            <a:extLst>
              <a:ext uri="{FF2B5EF4-FFF2-40B4-BE49-F238E27FC236}">
                <a16:creationId xmlns:a16="http://schemas.microsoft.com/office/drawing/2014/main" id="{CBFD15FC-B763-4689-A555-569FEEEBA5DC}"/>
              </a:ext>
            </a:extLst>
          </p:cNvPr>
          <p:cNvSpPr txBox="1"/>
          <p:nvPr/>
        </p:nvSpPr>
        <p:spPr>
          <a:xfrm>
            <a:off x="48860" y="2205512"/>
            <a:ext cx="6950779" cy="523220"/>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ut sometimes we don't have a simple list of numbers, it might be a </a:t>
            </a:r>
            <a:r>
              <a:rPr lang="en-US" sz="1400" b="1" dirty="0">
                <a:solidFill>
                  <a:schemeClr val="bg2">
                    <a:lumMod val="50000"/>
                    <a:lumOff val="50000"/>
                  </a:schemeClr>
                </a:solidFill>
                <a:latin typeface="Inter"/>
                <a:cs typeface="Arial" panose="020B0604020202020204" pitchFamily="34" charset="0"/>
              </a:rPr>
              <a:t>frequency table </a:t>
            </a:r>
            <a:r>
              <a:rPr lang="en-US" sz="1400" dirty="0">
                <a:solidFill>
                  <a:schemeClr val="bg2">
                    <a:lumMod val="50000"/>
                    <a:lumOff val="50000"/>
                  </a:schemeClr>
                </a:solidFill>
                <a:latin typeface="Inter"/>
                <a:cs typeface="Arial" panose="020B0604020202020204" pitchFamily="34" charset="0"/>
              </a:rPr>
              <a:t>like this (the "frequency" says how often they occur):</a:t>
            </a:r>
            <a:endParaRPr lang="en-US" sz="1400" dirty="0">
              <a:solidFill>
                <a:schemeClr val="bg2"/>
              </a:solidFill>
              <a:latin typeface="+mn-lt"/>
            </a:endParaRPr>
          </a:p>
        </p:txBody>
      </p:sp>
      <p:pic>
        <p:nvPicPr>
          <p:cNvPr id="9" name="Picture 8">
            <a:extLst>
              <a:ext uri="{FF2B5EF4-FFF2-40B4-BE49-F238E27FC236}">
                <a16:creationId xmlns:a16="http://schemas.microsoft.com/office/drawing/2014/main" id="{05C3B33C-63E7-4CA8-AE9F-A05162C62A6E}"/>
              </a:ext>
            </a:extLst>
          </p:cNvPr>
          <p:cNvPicPr>
            <a:picLocks noChangeAspect="1"/>
          </p:cNvPicPr>
          <p:nvPr/>
        </p:nvPicPr>
        <p:blipFill>
          <a:blip r:embed="rId2"/>
          <a:stretch>
            <a:fillRect/>
          </a:stretch>
        </p:blipFill>
        <p:spPr>
          <a:xfrm>
            <a:off x="6924311" y="1689362"/>
            <a:ext cx="2219689" cy="1878713"/>
          </a:xfrm>
          <a:prstGeom prst="rect">
            <a:avLst/>
          </a:prstGeom>
        </p:spPr>
      </p:pic>
      <p:sp>
        <p:nvSpPr>
          <p:cNvPr id="13" name="TextBox 12">
            <a:extLst>
              <a:ext uri="{FF2B5EF4-FFF2-40B4-BE49-F238E27FC236}">
                <a16:creationId xmlns:a16="http://schemas.microsoft.com/office/drawing/2014/main" id="{0A0536CE-DB43-41F4-904B-13D49F0C36A6}"/>
              </a:ext>
            </a:extLst>
          </p:cNvPr>
          <p:cNvSpPr txBox="1"/>
          <p:nvPr/>
        </p:nvSpPr>
        <p:spPr>
          <a:xfrm>
            <a:off x="160543" y="2916980"/>
            <a:ext cx="7063915"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rgbClr val="007DB8"/>
                </a:solidFill>
                <a:latin typeface="Arial" panose="020B0604020202020204" pitchFamily="34" charset="0"/>
                <a:cs typeface="Arial" panose="020B0604020202020204" pitchFamily="34" charset="0"/>
              </a:rPr>
              <a:t>Method 1 : </a:t>
            </a:r>
            <a:r>
              <a:rPr lang="en-US" sz="1800" b="1" dirty="0">
                <a:solidFill>
                  <a:schemeClr val="bg2">
                    <a:lumMod val="50000"/>
                    <a:lumOff val="50000"/>
                  </a:schemeClr>
                </a:solidFill>
                <a:latin typeface="Arial" panose="020B0604020202020204" pitchFamily="34" charset="0"/>
                <a:cs typeface="Arial" panose="020B0604020202020204" pitchFamily="34" charset="0"/>
              </a:rPr>
              <a:t>We can list all the numbers</a:t>
            </a:r>
          </a:p>
        </p:txBody>
      </p:sp>
    </p:spTree>
    <p:extLst>
      <p:ext uri="{BB962C8B-B14F-4D97-AF65-F5344CB8AC3E}">
        <p14:creationId xmlns:p14="http://schemas.microsoft.com/office/powerpoint/2010/main" val="4077311094"/>
      </p:ext>
    </p:extLst>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47FCC-648D-405D-B74C-DC5AA1A2FA39}"/>
              </a:ext>
            </a:extLst>
          </p:cNvPr>
          <p:cNvSpPr>
            <a:spLocks noGrp="1"/>
          </p:cNvSpPr>
          <p:nvPr>
            <p:ph type="title"/>
          </p:nvPr>
        </p:nvSpPr>
        <p:spPr>
          <a:xfrm>
            <a:off x="0" y="0"/>
            <a:ext cx="7955280" cy="640080"/>
          </a:xfrm>
        </p:spPr>
        <p:txBody>
          <a:bodyPr/>
          <a:lstStyle/>
          <a:p>
            <a:r>
              <a:rPr lang="en-US" dirty="0"/>
              <a:t>The Mean from a Frequency Table - </a:t>
            </a:r>
            <a:r>
              <a:rPr lang="en-US" b="1" dirty="0">
                <a:solidFill>
                  <a:schemeClr val="bg2">
                    <a:lumMod val="50000"/>
                    <a:lumOff val="50000"/>
                  </a:schemeClr>
                </a:solidFill>
              </a:rPr>
              <a:t>Continued</a:t>
            </a:r>
          </a:p>
        </p:txBody>
      </p:sp>
      <p:sp>
        <p:nvSpPr>
          <p:cNvPr id="5" name="Content Placeholder 4">
            <a:extLst>
              <a:ext uri="{FF2B5EF4-FFF2-40B4-BE49-F238E27FC236}">
                <a16:creationId xmlns:a16="http://schemas.microsoft.com/office/drawing/2014/main" id="{CF1C8607-03FF-4056-8357-79E38FF403FC}"/>
              </a:ext>
            </a:extLst>
          </p:cNvPr>
          <p:cNvSpPr txBox="1">
            <a:spLocks noGrp="1"/>
          </p:cNvSpPr>
          <p:nvPr>
            <p:ph sz="half" idx="1"/>
          </p:nvPr>
        </p:nvSpPr>
        <p:spPr>
          <a:xfrm>
            <a:off x="121305" y="697773"/>
            <a:ext cx="7954963" cy="276999"/>
          </a:xfrm>
          <a:prstGeom prst="rect">
            <a:avLst/>
          </a:prstGeom>
          <a:noFill/>
        </p:spPr>
        <p:txBody>
          <a:bodyPr wrap="square" rtlCol="0">
            <a:spAutoFit/>
          </a:bodyPr>
          <a:lstStyle/>
          <a:p>
            <a:pPr marL="0" indent="0">
              <a:spcBef>
                <a:spcPts val="0"/>
              </a:spcBef>
              <a:spcAft>
                <a:spcPts val="0"/>
              </a:spcAft>
              <a:buClr>
                <a:schemeClr val="bg1"/>
              </a:buClr>
              <a:buNone/>
            </a:pPr>
            <a:r>
              <a:rPr lang="en-US" sz="1800" b="1" dirty="0">
                <a:solidFill>
                  <a:srgbClr val="007DB8"/>
                </a:solidFill>
                <a:latin typeface="Arial" panose="020B0604020202020204" pitchFamily="34" charset="0"/>
                <a:cs typeface="Arial" panose="020B0604020202020204" pitchFamily="34" charset="0"/>
              </a:rPr>
              <a:t>Method </a:t>
            </a:r>
            <a:r>
              <a:rPr lang="en-US" sz="1800" b="1" dirty="0">
                <a:solidFill>
                  <a:srgbClr val="007DB8"/>
                </a:solidFill>
              </a:rPr>
              <a:t>2</a:t>
            </a:r>
            <a:r>
              <a:rPr lang="en-US" sz="1800" b="1" dirty="0">
                <a:solidFill>
                  <a:srgbClr val="007DB8"/>
                </a:solidFill>
                <a:latin typeface="Arial" panose="020B0604020202020204" pitchFamily="34" charset="0"/>
                <a:cs typeface="Arial" panose="020B0604020202020204" pitchFamily="34" charset="0"/>
              </a:rPr>
              <a:t> : </a:t>
            </a:r>
            <a:r>
              <a:rPr lang="en-US" sz="1800" b="1" dirty="0">
                <a:solidFill>
                  <a:schemeClr val="bg2">
                    <a:lumMod val="50000"/>
                    <a:lumOff val="50000"/>
                  </a:schemeClr>
                </a:solidFill>
              </a:rPr>
              <a:t>It is easier to use multiplication: </a:t>
            </a:r>
            <a:endParaRPr lang="en-US" sz="1800" b="1" dirty="0">
              <a:solidFill>
                <a:schemeClr val="bg2">
                  <a:lumMod val="50000"/>
                  <a:lumOff val="50000"/>
                </a:scheme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D12F7D83-572C-4B8E-B64D-C75A5FADBC65}"/>
              </a:ext>
            </a:extLst>
          </p:cNvPr>
          <p:cNvPicPr>
            <a:picLocks noChangeAspect="1"/>
          </p:cNvPicPr>
          <p:nvPr/>
        </p:nvPicPr>
        <p:blipFill>
          <a:blip r:embed="rId2"/>
          <a:stretch>
            <a:fillRect/>
          </a:stretch>
        </p:blipFill>
        <p:spPr>
          <a:xfrm>
            <a:off x="6845435" y="751822"/>
            <a:ext cx="2219689" cy="1878713"/>
          </a:xfrm>
          <a:prstGeom prst="rect">
            <a:avLst/>
          </a:prstGeom>
        </p:spPr>
      </p:pic>
      <p:pic>
        <p:nvPicPr>
          <p:cNvPr id="8" name="Picture 7">
            <a:extLst>
              <a:ext uri="{FF2B5EF4-FFF2-40B4-BE49-F238E27FC236}">
                <a16:creationId xmlns:a16="http://schemas.microsoft.com/office/drawing/2014/main" id="{C513CFDB-808F-4A44-B1A6-71130FF08E65}"/>
              </a:ext>
            </a:extLst>
          </p:cNvPr>
          <p:cNvPicPr>
            <a:picLocks noChangeAspect="1"/>
          </p:cNvPicPr>
          <p:nvPr/>
        </p:nvPicPr>
        <p:blipFill>
          <a:blip r:embed="rId3"/>
          <a:stretch>
            <a:fillRect/>
          </a:stretch>
        </p:blipFill>
        <p:spPr>
          <a:xfrm>
            <a:off x="1719262" y="3832562"/>
            <a:ext cx="3431381" cy="1039474"/>
          </a:xfrm>
          <a:prstGeom prst="rect">
            <a:avLst/>
          </a:prstGeom>
        </p:spPr>
      </p:pic>
      <p:sp>
        <p:nvSpPr>
          <p:cNvPr id="9" name="TextBox 8">
            <a:extLst>
              <a:ext uri="{FF2B5EF4-FFF2-40B4-BE49-F238E27FC236}">
                <a16:creationId xmlns:a16="http://schemas.microsoft.com/office/drawing/2014/main" id="{45E930DC-77C7-4B7D-8DBE-B633640ED210}"/>
              </a:ext>
            </a:extLst>
          </p:cNvPr>
          <p:cNvSpPr txBox="1"/>
          <p:nvPr/>
        </p:nvSpPr>
        <p:spPr>
          <a:xfrm>
            <a:off x="309769" y="4167633"/>
            <a:ext cx="1336020"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Notation : </a:t>
            </a:r>
            <a:endParaRPr lang="en-US" sz="1400" b="1" dirty="0">
              <a:solidFill>
                <a:schemeClr val="accent1"/>
              </a:solidFill>
              <a:latin typeface="+mn-lt"/>
            </a:endParaRPr>
          </a:p>
        </p:txBody>
      </p:sp>
    </p:spTree>
    <p:extLst>
      <p:ext uri="{BB962C8B-B14F-4D97-AF65-F5344CB8AC3E}">
        <p14:creationId xmlns:p14="http://schemas.microsoft.com/office/powerpoint/2010/main" val="1490276767"/>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F4E04-8B25-441E-9B3E-D8CC37F76D72}"/>
              </a:ext>
            </a:extLst>
          </p:cNvPr>
          <p:cNvSpPr>
            <a:spLocks noGrp="1"/>
          </p:cNvSpPr>
          <p:nvPr>
            <p:ph type="title"/>
          </p:nvPr>
        </p:nvSpPr>
        <p:spPr>
          <a:xfrm>
            <a:off x="0" y="62480"/>
            <a:ext cx="7955280" cy="640080"/>
          </a:xfrm>
        </p:spPr>
        <p:txBody>
          <a:bodyPr/>
          <a:lstStyle/>
          <a:p>
            <a:r>
              <a:rPr lang="en-US" dirty="0"/>
              <a:t>Another example of Mean from a Freq Table</a:t>
            </a:r>
          </a:p>
        </p:txBody>
      </p:sp>
      <p:sp>
        <p:nvSpPr>
          <p:cNvPr id="4" name="Content Placeholder 3">
            <a:extLst>
              <a:ext uri="{FF2B5EF4-FFF2-40B4-BE49-F238E27FC236}">
                <a16:creationId xmlns:a16="http://schemas.microsoft.com/office/drawing/2014/main" id="{29F6A6DF-D96F-4002-BBEA-EFA3FFF52633}"/>
              </a:ext>
            </a:extLst>
          </p:cNvPr>
          <p:cNvSpPr>
            <a:spLocks noGrp="1"/>
          </p:cNvSpPr>
          <p:nvPr>
            <p:ph sz="half" idx="1"/>
          </p:nvPr>
        </p:nvSpPr>
        <p:spPr>
          <a:xfrm>
            <a:off x="85856" y="821564"/>
            <a:ext cx="7955280" cy="3017520"/>
          </a:xfrm>
        </p:spPr>
        <p:txBody>
          <a:bodyPr/>
          <a:lstStyle/>
          <a:p>
            <a:pPr marL="0" indent="0">
              <a:buNone/>
            </a:pPr>
            <a:r>
              <a:rPr lang="en-US" dirty="0">
                <a:solidFill>
                  <a:schemeClr val="bg2">
                    <a:lumMod val="50000"/>
                    <a:lumOff val="50000"/>
                  </a:schemeClr>
                </a:solidFill>
                <a:latin typeface="Inter"/>
              </a:rPr>
              <a:t>Isabella went up and down the street to find out how many parking spaces each house has. Here are her results:</a:t>
            </a:r>
          </a:p>
          <a:p>
            <a:endParaRPr lang="en-US" dirty="0">
              <a:solidFill>
                <a:srgbClr val="333333"/>
              </a:solidFill>
              <a:latin typeface="Verdana" panose="020B0604030504040204" pitchFamily="34" charset="0"/>
            </a:endParaRPr>
          </a:p>
          <a:p>
            <a:pPr marL="0" indent="0">
              <a:buNone/>
            </a:pPr>
            <a:r>
              <a:rPr lang="en-US" dirty="0">
                <a:solidFill>
                  <a:schemeClr val="bg2">
                    <a:lumMod val="50000"/>
                    <a:lumOff val="50000"/>
                  </a:schemeClr>
                </a:solidFill>
                <a:latin typeface="Inter"/>
              </a:rPr>
              <a:t>What is the mean number of Parking Spaces?</a:t>
            </a:r>
          </a:p>
        </p:txBody>
      </p:sp>
      <p:pic>
        <p:nvPicPr>
          <p:cNvPr id="6" name="Picture 5">
            <a:extLst>
              <a:ext uri="{FF2B5EF4-FFF2-40B4-BE49-F238E27FC236}">
                <a16:creationId xmlns:a16="http://schemas.microsoft.com/office/drawing/2014/main" id="{56085063-4095-4C3B-B988-BF3C9872C324}"/>
              </a:ext>
            </a:extLst>
          </p:cNvPr>
          <p:cNvPicPr>
            <a:picLocks noChangeAspect="1"/>
          </p:cNvPicPr>
          <p:nvPr/>
        </p:nvPicPr>
        <p:blipFill>
          <a:blip r:embed="rId2"/>
          <a:stretch>
            <a:fillRect/>
          </a:stretch>
        </p:blipFill>
        <p:spPr>
          <a:xfrm>
            <a:off x="6878768" y="1114905"/>
            <a:ext cx="2179375" cy="1732997"/>
          </a:xfrm>
          <a:prstGeom prst="rect">
            <a:avLst/>
          </a:prstGeom>
        </p:spPr>
      </p:pic>
    </p:spTree>
    <p:extLst>
      <p:ext uri="{BB962C8B-B14F-4D97-AF65-F5344CB8AC3E}">
        <p14:creationId xmlns:p14="http://schemas.microsoft.com/office/powerpoint/2010/main" val="832144514"/>
      </p:ext>
    </p:extLst>
  </p:cSld>
  <p:clrMapOvr>
    <a:masterClrMapping/>
  </p:clrMapOvr>
  <p:transition spd="med">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8465CC-6FD4-40D5-ABD5-0BE485707A80}"/>
              </a:ext>
            </a:extLst>
          </p:cNvPr>
          <p:cNvSpPr>
            <a:spLocks noGrp="1"/>
          </p:cNvSpPr>
          <p:nvPr>
            <p:ph type="title"/>
          </p:nvPr>
        </p:nvSpPr>
        <p:spPr>
          <a:xfrm>
            <a:off x="0"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51F75A8C-3E42-4490-9BF3-6D0824C8CED9}"/>
              </a:ext>
            </a:extLst>
          </p:cNvPr>
          <p:cNvSpPr>
            <a:spLocks noGrp="1"/>
          </p:cNvSpPr>
          <p:nvPr>
            <p:ph sz="half" idx="1"/>
          </p:nvPr>
        </p:nvSpPr>
        <p:spPr>
          <a:xfrm>
            <a:off x="0" y="779086"/>
            <a:ext cx="7754950" cy="3771377"/>
          </a:xfrm>
        </p:spPr>
        <p:txBody>
          <a:bodyPr/>
          <a:lstStyle/>
          <a:p>
            <a:pPr algn="l"/>
            <a:r>
              <a:rPr lang="en-US" dirty="0">
                <a:solidFill>
                  <a:schemeClr val="bg2">
                    <a:lumMod val="50000"/>
                    <a:lumOff val="50000"/>
                  </a:schemeClr>
                </a:solidFill>
                <a:latin typeface="Inter"/>
              </a:rPr>
              <a:t>When we do a simple </a:t>
            </a:r>
            <a:r>
              <a:rPr lang="en-US" dirty="0">
                <a:solidFill>
                  <a:schemeClr val="bg2">
                    <a:lumMod val="50000"/>
                    <a:lumOff val="50000"/>
                  </a:schemeClr>
                </a:solidFill>
                <a:latin typeface="Inter"/>
                <a:hlinkClick r:id="rId2">
                  <a:extLst>
                    <a:ext uri="{A12FA001-AC4F-418D-AE19-62706E023703}">
                      <ahyp:hlinkClr xmlns:ahyp="http://schemas.microsoft.com/office/drawing/2018/hyperlinkcolor" val="tx"/>
                    </a:ext>
                  </a:extLst>
                </a:hlinkClick>
              </a:rPr>
              <a:t>mean</a:t>
            </a:r>
            <a:r>
              <a:rPr lang="en-US" dirty="0">
                <a:solidFill>
                  <a:schemeClr val="bg2">
                    <a:lumMod val="50000"/>
                    <a:lumOff val="50000"/>
                  </a:schemeClr>
                </a:solidFill>
                <a:latin typeface="Inter"/>
              </a:rPr>
              <a:t> (or average), we give equal weight to each number.</a:t>
            </a:r>
          </a:p>
          <a:p>
            <a:pPr algn="l"/>
            <a:r>
              <a:rPr lang="en-US" dirty="0">
                <a:solidFill>
                  <a:schemeClr val="bg2">
                    <a:lumMod val="50000"/>
                    <a:lumOff val="50000"/>
                  </a:schemeClr>
                </a:solidFill>
                <a:latin typeface="Inter"/>
              </a:rPr>
              <a:t>What is the mean of 1, 2, 3 and 4 ? </a:t>
            </a:r>
          </a:p>
          <a:p>
            <a:endParaRPr lang="en-US" dirty="0"/>
          </a:p>
        </p:txBody>
      </p:sp>
      <p:pic>
        <p:nvPicPr>
          <p:cNvPr id="6" name="Picture 5">
            <a:extLst>
              <a:ext uri="{FF2B5EF4-FFF2-40B4-BE49-F238E27FC236}">
                <a16:creationId xmlns:a16="http://schemas.microsoft.com/office/drawing/2014/main" id="{37AAEF72-07AA-4AF0-B6D5-AC806A1EAAEA}"/>
              </a:ext>
            </a:extLst>
          </p:cNvPr>
          <p:cNvPicPr>
            <a:picLocks noChangeAspect="1"/>
          </p:cNvPicPr>
          <p:nvPr/>
        </p:nvPicPr>
        <p:blipFill>
          <a:blip r:embed="rId3"/>
          <a:stretch>
            <a:fillRect/>
          </a:stretch>
        </p:blipFill>
        <p:spPr>
          <a:xfrm>
            <a:off x="7586231" y="779086"/>
            <a:ext cx="1557769" cy="1077635"/>
          </a:xfrm>
          <a:prstGeom prst="rect">
            <a:avLst/>
          </a:prstGeom>
        </p:spPr>
      </p:pic>
    </p:spTree>
    <p:extLst>
      <p:ext uri="{BB962C8B-B14F-4D97-AF65-F5344CB8AC3E}">
        <p14:creationId xmlns:p14="http://schemas.microsoft.com/office/powerpoint/2010/main" val="42168664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007897-F972-49B5-A559-CC66DAECA555}"/>
              </a:ext>
            </a:extLst>
          </p:cNvPr>
          <p:cNvSpPr>
            <a:spLocks noGrp="1"/>
          </p:cNvSpPr>
          <p:nvPr>
            <p:ph type="title"/>
          </p:nvPr>
        </p:nvSpPr>
        <p:spPr>
          <a:xfrm>
            <a:off x="71894" y="27981"/>
            <a:ext cx="7955280" cy="640080"/>
          </a:xfrm>
        </p:spPr>
        <p:txBody>
          <a:bodyPr/>
          <a:lstStyle/>
          <a:p>
            <a:r>
              <a:rPr lang="en-US" dirty="0"/>
              <a:t>Weighted Mean</a:t>
            </a:r>
          </a:p>
        </p:txBody>
      </p:sp>
      <p:sp>
        <p:nvSpPr>
          <p:cNvPr id="4" name="Content Placeholder 3">
            <a:extLst>
              <a:ext uri="{FF2B5EF4-FFF2-40B4-BE49-F238E27FC236}">
                <a16:creationId xmlns:a16="http://schemas.microsoft.com/office/drawing/2014/main" id="{8B99626D-700C-462B-8E1D-46027AF50B0A}"/>
              </a:ext>
            </a:extLst>
          </p:cNvPr>
          <p:cNvSpPr>
            <a:spLocks noGrp="1"/>
          </p:cNvSpPr>
          <p:nvPr>
            <p:ph sz="half" idx="1"/>
          </p:nvPr>
        </p:nvSpPr>
        <p:spPr>
          <a:xfrm>
            <a:off x="71894" y="758742"/>
            <a:ext cx="8255428" cy="3017520"/>
          </a:xfrm>
        </p:spPr>
        <p:txBody>
          <a:bodyPr/>
          <a:lstStyle/>
          <a:p>
            <a:r>
              <a:rPr lang="en-US" dirty="0">
                <a:solidFill>
                  <a:schemeClr val="bg2">
                    <a:lumMod val="50000"/>
                    <a:lumOff val="50000"/>
                  </a:schemeClr>
                </a:solidFill>
                <a:latin typeface="Inter"/>
              </a:rPr>
              <a:t>Now let's change the weight of 3 to 0.7, and the weights of the other numbers to 0.1 </a:t>
            </a:r>
            <a:r>
              <a:rPr lang="en-US" sz="1800" b="1" dirty="0">
                <a:solidFill>
                  <a:schemeClr val="bg2">
                    <a:lumMod val="50000"/>
                    <a:lumOff val="50000"/>
                  </a:schemeClr>
                </a:solidFill>
                <a:latin typeface="Inter"/>
              </a:rPr>
              <a:t>so the total of the weights is still 1:</a:t>
            </a:r>
            <a:endParaRPr lang="en-US" b="1" dirty="0">
              <a:solidFill>
                <a:schemeClr val="bg2">
                  <a:lumMod val="50000"/>
                  <a:lumOff val="50000"/>
                </a:schemeClr>
              </a:solidFill>
              <a:latin typeface="Inter"/>
            </a:endParaRPr>
          </a:p>
        </p:txBody>
      </p:sp>
      <p:pic>
        <p:nvPicPr>
          <p:cNvPr id="6" name="Picture 5">
            <a:extLst>
              <a:ext uri="{FF2B5EF4-FFF2-40B4-BE49-F238E27FC236}">
                <a16:creationId xmlns:a16="http://schemas.microsoft.com/office/drawing/2014/main" id="{0A5A856D-0F57-43ED-9EC3-EAA12B3858F9}"/>
              </a:ext>
            </a:extLst>
          </p:cNvPr>
          <p:cNvPicPr>
            <a:picLocks noChangeAspect="1"/>
          </p:cNvPicPr>
          <p:nvPr/>
        </p:nvPicPr>
        <p:blipFill>
          <a:blip r:embed="rId2"/>
          <a:stretch>
            <a:fillRect/>
          </a:stretch>
        </p:blipFill>
        <p:spPr>
          <a:xfrm>
            <a:off x="7217079" y="1356077"/>
            <a:ext cx="1926921" cy="1589548"/>
          </a:xfrm>
          <a:prstGeom prst="rect">
            <a:avLst/>
          </a:prstGeom>
        </p:spPr>
      </p:pic>
      <p:sp>
        <p:nvSpPr>
          <p:cNvPr id="7" name="TextBox 6">
            <a:extLst>
              <a:ext uri="{FF2B5EF4-FFF2-40B4-BE49-F238E27FC236}">
                <a16:creationId xmlns:a16="http://schemas.microsoft.com/office/drawing/2014/main" id="{586C4650-B4D2-4078-9665-6627666C6CB4}"/>
              </a:ext>
            </a:extLst>
          </p:cNvPr>
          <p:cNvSpPr txBox="1"/>
          <p:nvPr/>
        </p:nvSpPr>
        <p:spPr>
          <a:xfrm>
            <a:off x="1383115" y="4481258"/>
            <a:ext cx="5332837" cy="369332"/>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accent1"/>
                </a:solidFill>
                <a:latin typeface="+mn-lt"/>
              </a:rPr>
              <a:t>When should I use Weighted mean ? </a:t>
            </a:r>
          </a:p>
        </p:txBody>
      </p:sp>
      <p:pic>
        <p:nvPicPr>
          <p:cNvPr id="9" name="Picture 8">
            <a:extLst>
              <a:ext uri="{FF2B5EF4-FFF2-40B4-BE49-F238E27FC236}">
                <a16:creationId xmlns:a16="http://schemas.microsoft.com/office/drawing/2014/main" id="{515CA4EC-C0A9-4FF0-B09F-3C87F72A000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500359" y="4054287"/>
            <a:ext cx="1716720" cy="1015010"/>
          </a:xfrm>
          <a:prstGeom prst="rect">
            <a:avLst/>
          </a:prstGeom>
        </p:spPr>
      </p:pic>
    </p:spTree>
    <p:extLst>
      <p:ext uri="{BB962C8B-B14F-4D97-AF65-F5344CB8AC3E}">
        <p14:creationId xmlns:p14="http://schemas.microsoft.com/office/powerpoint/2010/main" val="3603259149"/>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p:spTree>
    <p:extLst>
      <p:ext uri="{BB962C8B-B14F-4D97-AF65-F5344CB8AC3E}">
        <p14:creationId xmlns:p14="http://schemas.microsoft.com/office/powerpoint/2010/main" val="297696656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8170F-5441-4F00-8D1A-03BC63DB25FC}"/>
              </a:ext>
            </a:extLst>
          </p:cNvPr>
          <p:cNvSpPr>
            <a:spLocks noGrp="1"/>
          </p:cNvSpPr>
          <p:nvPr>
            <p:ph type="title"/>
          </p:nvPr>
        </p:nvSpPr>
        <p:spPr>
          <a:xfrm>
            <a:off x="0" y="0"/>
            <a:ext cx="7955280" cy="640080"/>
          </a:xfrm>
        </p:spPr>
        <p:txBody>
          <a:bodyPr/>
          <a:lstStyle/>
          <a:p>
            <a:r>
              <a:rPr lang="en-US" dirty="0"/>
              <a:t>Weighted Mean – Example </a:t>
            </a:r>
          </a:p>
        </p:txBody>
      </p:sp>
      <p:pic>
        <p:nvPicPr>
          <p:cNvPr id="6" name="Content Placeholder 5" descr="A camera on a tripod&#10;&#10;Description automatically generated">
            <a:extLst>
              <a:ext uri="{FF2B5EF4-FFF2-40B4-BE49-F238E27FC236}">
                <a16:creationId xmlns:a16="http://schemas.microsoft.com/office/drawing/2014/main" id="{5FA604C4-BA58-4823-9F14-A808A90C361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8594" y="1281936"/>
            <a:ext cx="2631645" cy="2026655"/>
          </a:xfrm>
        </p:spPr>
      </p:pic>
      <p:sp>
        <p:nvSpPr>
          <p:cNvPr id="7" name="TextBox 6">
            <a:extLst>
              <a:ext uri="{FF2B5EF4-FFF2-40B4-BE49-F238E27FC236}">
                <a16:creationId xmlns:a16="http://schemas.microsoft.com/office/drawing/2014/main" id="{9BE58714-D8FF-4A6D-B0FC-0DB2E076BB69}"/>
              </a:ext>
            </a:extLst>
          </p:cNvPr>
          <p:cNvSpPr txBox="1"/>
          <p:nvPr/>
        </p:nvSpPr>
        <p:spPr>
          <a:xfrm>
            <a:off x="0" y="640080"/>
            <a:ext cx="6428594" cy="2154436"/>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eighted means can help with decisions where some things are more important than other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Question : </a:t>
            </a:r>
            <a:r>
              <a:rPr lang="en-US" sz="1400" dirty="0">
                <a:solidFill>
                  <a:schemeClr val="bg2">
                    <a:lumMod val="50000"/>
                    <a:lumOff val="50000"/>
                  </a:schemeClr>
                </a:solidFill>
                <a:latin typeface="Inter"/>
                <a:cs typeface="Arial" panose="020B0604020202020204" pitchFamily="34" charset="0"/>
              </a:rPr>
              <a:t>Mike wants to buy a new camera, and decides on the following rating system:</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Image Quality </a:t>
            </a:r>
            <a:r>
              <a:rPr lang="en-US" sz="1400" b="1" dirty="0">
                <a:solidFill>
                  <a:schemeClr val="bg2">
                    <a:lumMod val="50000"/>
                    <a:lumOff val="50000"/>
                  </a:schemeClr>
                </a:solidFill>
                <a:latin typeface="Inter"/>
                <a:cs typeface="Arial" panose="020B0604020202020204" pitchFamily="34" charset="0"/>
              </a:rPr>
              <a:t>5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Battery Life     </a:t>
            </a:r>
            <a:r>
              <a:rPr lang="en-US" sz="1400" b="1" dirty="0">
                <a:solidFill>
                  <a:schemeClr val="bg2">
                    <a:lumMod val="50000"/>
                    <a:lumOff val="50000"/>
                  </a:schemeClr>
                </a:solidFill>
                <a:latin typeface="Inter"/>
                <a:cs typeface="Arial" panose="020B0604020202020204" pitchFamily="34" charset="0"/>
              </a:rPr>
              <a:t>30%</a:t>
            </a: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Zoom Range   </a:t>
            </a:r>
            <a:r>
              <a:rPr lang="en-US" sz="1400" b="1" dirty="0">
                <a:solidFill>
                  <a:schemeClr val="bg2">
                    <a:lumMod val="50000"/>
                    <a:lumOff val="50000"/>
                  </a:schemeClr>
                </a:solidFill>
                <a:latin typeface="Inter"/>
                <a:cs typeface="Arial" panose="020B0604020202020204" pitchFamily="34" charset="0"/>
              </a:rPr>
              <a:t>20%</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2701245991"/>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78E4DC-81E1-4BC8-9DB3-611736E8964A}"/>
              </a:ext>
            </a:extLst>
          </p:cNvPr>
          <p:cNvSpPr>
            <a:spLocks noGrp="1"/>
          </p:cNvSpPr>
          <p:nvPr>
            <p:ph type="title"/>
          </p:nvPr>
        </p:nvSpPr>
        <p:spPr>
          <a:xfrm>
            <a:off x="302240" y="232918"/>
            <a:ext cx="7955280" cy="640080"/>
          </a:xfrm>
        </p:spPr>
        <p:txBody>
          <a:bodyPr/>
          <a:lstStyle/>
          <a:p>
            <a:r>
              <a:rPr lang="en-US" dirty="0"/>
              <a:t>What if the weights don’t add to 1 ?</a:t>
            </a:r>
          </a:p>
        </p:txBody>
      </p:sp>
      <p:pic>
        <p:nvPicPr>
          <p:cNvPr id="6" name="Content Placeholder 5" descr="A yellow hat with black text&#10;&#10;Description automatically generated with low confidence">
            <a:extLst>
              <a:ext uri="{FF2B5EF4-FFF2-40B4-BE49-F238E27FC236}">
                <a16:creationId xmlns:a16="http://schemas.microsoft.com/office/drawing/2014/main" id="{B1B54872-4DCF-42B3-BC9A-C2750AC2AF53}"/>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56173" y="90401"/>
            <a:ext cx="921701" cy="925115"/>
          </a:xfrm>
        </p:spPr>
      </p:pic>
      <p:sp>
        <p:nvSpPr>
          <p:cNvPr id="2" name="TextBox 1">
            <a:extLst>
              <a:ext uri="{FF2B5EF4-FFF2-40B4-BE49-F238E27FC236}">
                <a16:creationId xmlns:a16="http://schemas.microsoft.com/office/drawing/2014/main" id="{AE6428D7-E78E-45E0-A9C6-6B3B8B9B4A7E}"/>
              </a:ext>
            </a:extLst>
          </p:cNvPr>
          <p:cNvSpPr txBox="1"/>
          <p:nvPr/>
        </p:nvSpPr>
        <p:spPr>
          <a:xfrm>
            <a:off x="181484" y="1015515"/>
            <a:ext cx="6728867" cy="3062377"/>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en the weights don't add to 1, divide by the sum of weights.</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Example: Adrian usually eats lunch 7 times a week, but some weeks only gets 1, 2, or 5 lunch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lgn="l"/>
            <a:r>
              <a:rPr lang="en-US" sz="1400" dirty="0">
                <a:solidFill>
                  <a:schemeClr val="bg2">
                    <a:lumMod val="50000"/>
                    <a:lumOff val="50000"/>
                  </a:schemeClr>
                </a:solidFill>
                <a:latin typeface="Inter"/>
                <a:cs typeface="Arial" panose="020B0604020202020204" pitchFamily="34" charset="0"/>
              </a:rPr>
              <a:t>Alex had lunch:</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2 weeks: only one lunch for the whole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14 weeks: 2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8 weeks: 5 lunches each week</a:t>
            </a:r>
          </a:p>
          <a:p>
            <a:pPr marL="285750" indent="-285750" algn="l">
              <a:buFont typeface="Arial" panose="020B0604020202020204" pitchFamily="34" charset="0"/>
              <a:buChar char="•"/>
            </a:pPr>
            <a:r>
              <a:rPr lang="en-US" sz="1400" dirty="0">
                <a:solidFill>
                  <a:schemeClr val="bg2">
                    <a:lumMod val="50000"/>
                    <a:lumOff val="50000"/>
                  </a:schemeClr>
                </a:solidFill>
                <a:latin typeface="Inter"/>
                <a:cs typeface="Arial" panose="020B0604020202020204" pitchFamily="34" charset="0"/>
              </a:rPr>
              <a:t>on 32 weeks: 7 lunches each week</a:t>
            </a: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dirty="0">
                <a:solidFill>
                  <a:schemeClr val="bg2">
                    <a:lumMod val="50000"/>
                    <a:lumOff val="50000"/>
                  </a:schemeClr>
                </a:solidFill>
                <a:latin typeface="Inter"/>
                <a:cs typeface="Arial" panose="020B0604020202020204" pitchFamily="34" charset="0"/>
              </a:rPr>
              <a:t>What is the mean number of lunches Alex having each week?</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1541171692"/>
      </p:ext>
    </p:extLst>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463494-2B80-433F-975F-08D7A84349CD}"/>
              </a:ext>
            </a:extLst>
          </p:cNvPr>
          <p:cNvSpPr>
            <a:spLocks noGrp="1"/>
          </p:cNvSpPr>
          <p:nvPr>
            <p:ph type="title"/>
          </p:nvPr>
        </p:nvSpPr>
        <p:spPr>
          <a:xfrm>
            <a:off x="0" y="83421"/>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4EB52728-6157-4065-A402-BCEDE421A612}"/>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41269" y="0"/>
            <a:ext cx="1688223" cy="998162"/>
          </a:xfrm>
        </p:spPr>
      </p:pic>
      <p:sp>
        <p:nvSpPr>
          <p:cNvPr id="8" name="TextBox 7">
            <a:extLst>
              <a:ext uri="{FF2B5EF4-FFF2-40B4-BE49-F238E27FC236}">
                <a16:creationId xmlns:a16="http://schemas.microsoft.com/office/drawing/2014/main" id="{9B2D573D-0295-44A9-AEDB-1A984B1AD36C}"/>
              </a:ext>
            </a:extLst>
          </p:cNvPr>
          <p:cNvSpPr txBox="1"/>
          <p:nvPr/>
        </p:nvSpPr>
        <p:spPr>
          <a:xfrm>
            <a:off x="104702" y="1081583"/>
            <a:ext cx="6428594" cy="1338828"/>
          </a:xfrm>
          <a:prstGeom prst="rect">
            <a:avLst/>
          </a:prstGeom>
          <a:noFill/>
        </p:spPr>
        <p:txBody>
          <a:bodyPr wrap="square" rtlCol="0">
            <a:spAutoFit/>
          </a:bodyPr>
          <a:lstStyle/>
          <a:p>
            <a:pPr marL="285750" indent="-285750">
              <a:spcBef>
                <a:spcPts val="0"/>
              </a:spcBef>
              <a:spcAft>
                <a:spcPts val="0"/>
              </a:spcAft>
              <a:buClr>
                <a:schemeClr val="bg1"/>
              </a:buClr>
              <a:buFont typeface="Wingdings" panose="05000000000000000000" pitchFamily="2" charset="2"/>
              <a:buChar char="q"/>
            </a:pPr>
            <a:r>
              <a:rPr lang="en-US" sz="1400" dirty="0">
                <a:solidFill>
                  <a:schemeClr val="bg2">
                    <a:lumMod val="50000"/>
                    <a:lumOff val="50000"/>
                  </a:schemeClr>
                </a:solidFill>
                <a:latin typeface="Inter"/>
                <a:cs typeface="Arial" panose="020B0604020202020204" pitchFamily="34" charset="0"/>
              </a:rPr>
              <a:t>Use “Weeks” as the weighting</a:t>
            </a: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marL="285750" indent="-285750">
              <a:spcBef>
                <a:spcPts val="0"/>
              </a:spcBef>
              <a:spcAft>
                <a:spcPts val="0"/>
              </a:spcAft>
              <a:buClr>
                <a:schemeClr val="bg1"/>
              </a:buClr>
              <a:buFont typeface="Wingdings" panose="05000000000000000000" pitchFamily="2" charset="2"/>
              <a:buChar char="q"/>
            </a:pPr>
            <a:endParaRPr lang="en-US" sz="14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Inter"/>
                <a:cs typeface="Arial" panose="020B0604020202020204" pitchFamily="34" charset="0"/>
              </a:rPr>
              <a:t>Solution : </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10" name="Picture 9">
            <a:extLst>
              <a:ext uri="{FF2B5EF4-FFF2-40B4-BE49-F238E27FC236}">
                <a16:creationId xmlns:a16="http://schemas.microsoft.com/office/drawing/2014/main" id="{4E664255-7746-4696-9615-CC824F9301BD}"/>
              </a:ext>
            </a:extLst>
          </p:cNvPr>
          <p:cNvPicPr>
            <a:picLocks noChangeAspect="1"/>
          </p:cNvPicPr>
          <p:nvPr/>
        </p:nvPicPr>
        <p:blipFill>
          <a:blip r:embed="rId4"/>
          <a:stretch>
            <a:fillRect/>
          </a:stretch>
        </p:blipFill>
        <p:spPr>
          <a:xfrm>
            <a:off x="5752099" y="3070904"/>
            <a:ext cx="3233429" cy="1619759"/>
          </a:xfrm>
          <a:prstGeom prst="rect">
            <a:avLst/>
          </a:prstGeom>
        </p:spPr>
      </p:pic>
    </p:spTree>
    <p:extLst>
      <p:ext uri="{BB962C8B-B14F-4D97-AF65-F5344CB8AC3E}">
        <p14:creationId xmlns:p14="http://schemas.microsoft.com/office/powerpoint/2010/main" val="2216126519"/>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D7890-7B45-4CAF-9C2B-2740282A16C3}"/>
              </a:ext>
            </a:extLst>
          </p:cNvPr>
          <p:cNvSpPr>
            <a:spLocks noGrp="1"/>
          </p:cNvSpPr>
          <p:nvPr>
            <p:ph type="title"/>
          </p:nvPr>
        </p:nvSpPr>
        <p:spPr>
          <a:xfrm>
            <a:off x="0" y="27981"/>
            <a:ext cx="7955280" cy="640080"/>
          </a:xfrm>
        </p:spPr>
        <p:txBody>
          <a:bodyPr/>
          <a:lstStyle/>
          <a:p>
            <a:r>
              <a:rPr lang="en-US" dirty="0"/>
              <a:t>What if the weights don’t add to 1 ?</a:t>
            </a:r>
          </a:p>
        </p:txBody>
      </p:sp>
      <p:sp>
        <p:nvSpPr>
          <p:cNvPr id="4" name="Content Placeholder 3">
            <a:extLst>
              <a:ext uri="{FF2B5EF4-FFF2-40B4-BE49-F238E27FC236}">
                <a16:creationId xmlns:a16="http://schemas.microsoft.com/office/drawing/2014/main" id="{C00C7600-583F-4D5F-8694-F5771CA467EA}"/>
              </a:ext>
            </a:extLst>
          </p:cNvPr>
          <p:cNvSpPr>
            <a:spLocks noGrp="1"/>
          </p:cNvSpPr>
          <p:nvPr>
            <p:ph sz="half" idx="1"/>
          </p:nvPr>
        </p:nvSpPr>
        <p:spPr>
          <a:xfrm>
            <a:off x="99816" y="856465"/>
            <a:ext cx="7955280" cy="3017520"/>
          </a:xfrm>
        </p:spPr>
        <p:txBody>
          <a:bodyPr/>
          <a:lstStyle/>
          <a:p>
            <a:r>
              <a:rPr lang="en-US" sz="2000" kern="1200" dirty="0">
                <a:solidFill>
                  <a:schemeClr val="bg2">
                    <a:lumMod val="50000"/>
                    <a:lumOff val="50000"/>
                  </a:schemeClr>
                </a:solidFill>
                <a:latin typeface="Inter"/>
                <a:ea typeface="+mn-ea"/>
              </a:rPr>
              <a:t>But it is often better to use a table to make sure you have all the numbers correct:</a:t>
            </a:r>
          </a:p>
          <a:p>
            <a:pPr marL="0" indent="0" algn="l">
              <a:buNone/>
            </a:pPr>
            <a:r>
              <a:rPr lang="en-US" sz="2000" b="1" kern="1200" dirty="0">
                <a:solidFill>
                  <a:schemeClr val="bg2">
                    <a:lumMod val="50000"/>
                    <a:lumOff val="50000"/>
                  </a:schemeClr>
                </a:solidFill>
                <a:latin typeface="Inter"/>
                <a:ea typeface="+mn-ea"/>
              </a:rPr>
              <a:t>Example (continued):</a:t>
            </a:r>
          </a:p>
          <a:p>
            <a:pPr algn="l"/>
            <a:r>
              <a:rPr lang="en-US" sz="2000" kern="1200" dirty="0">
                <a:solidFill>
                  <a:schemeClr val="bg2">
                    <a:lumMod val="50000"/>
                    <a:lumOff val="50000"/>
                  </a:schemeClr>
                </a:solidFill>
                <a:latin typeface="Inter"/>
                <a:ea typeface="+mn-ea"/>
              </a:rPr>
              <a:t>Let's use:</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for the number of weeks (the weight)</a:t>
            </a:r>
          </a:p>
          <a:p>
            <a:pPr algn="l">
              <a:buFont typeface="Arial" panose="020B0604020202020204" pitchFamily="34" charset="0"/>
              <a:buChar char="•"/>
            </a:pP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for lunches (the value we want the mean of)</a:t>
            </a:r>
          </a:p>
          <a:p>
            <a:pPr algn="l"/>
            <a:r>
              <a:rPr lang="en-US" sz="2000" kern="1200" dirty="0">
                <a:solidFill>
                  <a:schemeClr val="bg2">
                    <a:lumMod val="50000"/>
                    <a:lumOff val="50000"/>
                  </a:schemeClr>
                </a:solidFill>
                <a:latin typeface="Inter"/>
                <a:ea typeface="+mn-ea"/>
              </a:rPr>
              <a:t>Multiply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by </a:t>
            </a:r>
            <a:r>
              <a:rPr lang="en-US" sz="2000" b="1" kern="1200" dirty="0">
                <a:solidFill>
                  <a:schemeClr val="bg2">
                    <a:lumMod val="50000"/>
                    <a:lumOff val="50000"/>
                  </a:schemeClr>
                </a:solidFill>
                <a:latin typeface="Inter"/>
                <a:ea typeface="+mn-ea"/>
              </a:rPr>
              <a:t>x</a:t>
            </a:r>
            <a:r>
              <a:rPr lang="en-US" sz="2000" kern="1200" dirty="0">
                <a:solidFill>
                  <a:schemeClr val="bg2">
                    <a:lumMod val="50000"/>
                    <a:lumOff val="50000"/>
                  </a:schemeClr>
                </a:solidFill>
                <a:latin typeface="Inter"/>
                <a:ea typeface="+mn-ea"/>
              </a:rPr>
              <a:t>, sum up </a:t>
            </a:r>
            <a:r>
              <a:rPr lang="en-US" sz="2000" b="1" kern="1200" dirty="0">
                <a:solidFill>
                  <a:schemeClr val="bg2">
                    <a:lumMod val="50000"/>
                    <a:lumOff val="50000"/>
                  </a:schemeClr>
                </a:solidFill>
                <a:latin typeface="Inter"/>
                <a:ea typeface="+mn-ea"/>
              </a:rPr>
              <a:t>w</a:t>
            </a:r>
            <a:r>
              <a:rPr lang="en-US" sz="2000" kern="1200" dirty="0">
                <a:solidFill>
                  <a:schemeClr val="bg2">
                    <a:lumMod val="50000"/>
                    <a:lumOff val="50000"/>
                  </a:schemeClr>
                </a:solidFill>
                <a:latin typeface="Inter"/>
                <a:ea typeface="+mn-ea"/>
              </a:rPr>
              <a:t> and sum up </a:t>
            </a:r>
            <a:r>
              <a:rPr lang="en-US" sz="2000" b="1" kern="1200" dirty="0" err="1">
                <a:solidFill>
                  <a:schemeClr val="bg2">
                    <a:lumMod val="50000"/>
                    <a:lumOff val="50000"/>
                  </a:schemeClr>
                </a:solidFill>
                <a:latin typeface="Inter"/>
                <a:ea typeface="+mn-ea"/>
              </a:rPr>
              <a:t>wx</a:t>
            </a:r>
            <a:endParaRPr lang="en-US" sz="2000" kern="1200" dirty="0">
              <a:solidFill>
                <a:schemeClr val="bg2">
                  <a:lumMod val="50000"/>
                  <a:lumOff val="50000"/>
                </a:schemeClr>
              </a:solidFill>
              <a:latin typeface="Inter"/>
              <a:ea typeface="+mn-ea"/>
            </a:endParaRPr>
          </a:p>
          <a:p>
            <a:pPr marL="0" indent="0">
              <a:buNone/>
            </a:pPr>
            <a:endParaRPr lang="en-US" dirty="0"/>
          </a:p>
        </p:txBody>
      </p:sp>
    </p:spTree>
    <p:extLst>
      <p:ext uri="{BB962C8B-B14F-4D97-AF65-F5344CB8AC3E}">
        <p14:creationId xmlns:p14="http://schemas.microsoft.com/office/powerpoint/2010/main" val="2167338885"/>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502489-34AB-4B78-A9F8-548C875B7302}"/>
              </a:ext>
            </a:extLst>
          </p:cNvPr>
          <p:cNvSpPr>
            <a:spLocks noGrp="1"/>
          </p:cNvSpPr>
          <p:nvPr>
            <p:ph type="title"/>
          </p:nvPr>
        </p:nvSpPr>
        <p:spPr>
          <a:xfrm>
            <a:off x="0" y="0"/>
            <a:ext cx="7955280" cy="640080"/>
          </a:xfrm>
        </p:spPr>
        <p:txBody>
          <a:bodyPr/>
          <a:lstStyle/>
          <a:p>
            <a:r>
              <a:rPr lang="en-US" dirty="0"/>
              <a:t>What if the weights don’t add to 1 ?</a:t>
            </a:r>
          </a:p>
        </p:txBody>
      </p:sp>
      <p:pic>
        <p:nvPicPr>
          <p:cNvPr id="6" name="Content Placeholder 5">
            <a:extLst>
              <a:ext uri="{FF2B5EF4-FFF2-40B4-BE49-F238E27FC236}">
                <a16:creationId xmlns:a16="http://schemas.microsoft.com/office/drawing/2014/main" id="{D782ECDC-620D-4681-B615-F5287CCEE213}"/>
              </a:ext>
            </a:extLst>
          </p:cNvPr>
          <p:cNvPicPr>
            <a:picLocks noGrp="1" noChangeAspect="1"/>
          </p:cNvPicPr>
          <p:nvPr>
            <p:ph sz="half" idx="1"/>
          </p:nvPr>
        </p:nvPicPr>
        <p:blipFill>
          <a:blip r:embed="rId2"/>
          <a:stretch>
            <a:fillRect/>
          </a:stretch>
        </p:blipFill>
        <p:spPr>
          <a:xfrm>
            <a:off x="369948" y="755247"/>
            <a:ext cx="3395776" cy="2463603"/>
          </a:xfrm>
        </p:spPr>
      </p:pic>
      <p:sp>
        <p:nvSpPr>
          <p:cNvPr id="7" name="TextBox 6">
            <a:extLst>
              <a:ext uri="{FF2B5EF4-FFF2-40B4-BE49-F238E27FC236}">
                <a16:creationId xmlns:a16="http://schemas.microsoft.com/office/drawing/2014/main" id="{D6C86B2D-9211-4100-BBC8-0EF99C9983B8}"/>
              </a:ext>
            </a:extLst>
          </p:cNvPr>
          <p:cNvSpPr txBox="1"/>
          <p:nvPr/>
        </p:nvSpPr>
        <p:spPr>
          <a:xfrm>
            <a:off x="4213395" y="808998"/>
            <a:ext cx="4204669"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rgbClr val="333333"/>
                </a:solidFill>
                <a:effectLst/>
                <a:latin typeface="Verdana" panose="020B0604030504040204" pitchFamily="34" charset="0"/>
              </a:rPr>
              <a:t>Divide </a:t>
            </a:r>
            <a:r>
              <a:rPr lang="el-GR" sz="1100" b="1" i="0" dirty="0">
                <a:solidFill>
                  <a:srgbClr val="333333"/>
                </a:solidFill>
                <a:effectLst/>
                <a:latin typeface="Verdana" panose="020B0604030504040204" pitchFamily="34" charset="0"/>
              </a:rPr>
              <a:t>Σ</a:t>
            </a:r>
            <a:r>
              <a:rPr lang="en-US" sz="1100" b="1" i="0" dirty="0" err="1">
                <a:solidFill>
                  <a:srgbClr val="333333"/>
                </a:solidFill>
                <a:effectLst/>
                <a:latin typeface="Verdana" panose="020B0604030504040204" pitchFamily="34" charset="0"/>
              </a:rPr>
              <a:t>wx</a:t>
            </a:r>
            <a:r>
              <a:rPr lang="en-US" sz="1100" b="0" i="0" dirty="0">
                <a:solidFill>
                  <a:srgbClr val="333333"/>
                </a:solidFill>
                <a:effectLst/>
                <a:latin typeface="Verdana" panose="020B0604030504040204" pitchFamily="34" charset="0"/>
              </a:rPr>
              <a:t> by </a:t>
            </a:r>
            <a:r>
              <a:rPr lang="el-GR" sz="1100" b="1" i="0" dirty="0">
                <a:solidFill>
                  <a:srgbClr val="333333"/>
                </a:solidFill>
                <a:effectLst/>
                <a:latin typeface="Verdana" panose="020B0604030504040204" pitchFamily="34" charset="0"/>
              </a:rPr>
              <a:t>Σ</a:t>
            </a:r>
            <a:r>
              <a:rPr lang="en-US" sz="1100" b="1" i="0" dirty="0">
                <a:solidFill>
                  <a:srgbClr val="333333"/>
                </a:solidFill>
                <a:effectLst/>
                <a:latin typeface="Verdana" panose="020B0604030504040204" pitchFamily="34" charset="0"/>
              </a:rPr>
              <a:t>w</a:t>
            </a:r>
            <a:r>
              <a:rPr lang="en-US" sz="1100" b="0" i="0" dirty="0">
                <a:solidFill>
                  <a:srgbClr val="333333"/>
                </a:solidFill>
                <a:effectLst/>
                <a:latin typeface="Verdana" panose="020B0604030504040204" pitchFamily="34" charset="0"/>
              </a:rPr>
              <a:t>:</a:t>
            </a:r>
            <a:endParaRPr lang="en-US" sz="1400" dirty="0">
              <a:solidFill>
                <a:schemeClr val="bg2"/>
              </a:solidFill>
              <a:latin typeface="+mn-lt"/>
            </a:endParaRPr>
          </a:p>
        </p:txBody>
      </p:sp>
    </p:spTree>
    <p:extLst>
      <p:ext uri="{BB962C8B-B14F-4D97-AF65-F5344CB8AC3E}">
        <p14:creationId xmlns:p14="http://schemas.microsoft.com/office/powerpoint/2010/main" val="2987937793"/>
      </p:ext>
    </p:extLst>
  </p:cSld>
  <p:clrMapOvr>
    <a:masterClrMapping/>
  </p:clrMapOvr>
  <p:transition spd="med">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8A6EC3-9EEB-4520-A0E7-3537EBC315EA}"/>
              </a:ext>
            </a:extLst>
          </p:cNvPr>
          <p:cNvSpPr>
            <a:spLocks noGrp="1"/>
          </p:cNvSpPr>
          <p:nvPr>
            <p:ph type="title"/>
          </p:nvPr>
        </p:nvSpPr>
        <p:spPr>
          <a:xfrm>
            <a:off x="0" y="0"/>
            <a:ext cx="7955280" cy="640080"/>
          </a:xfrm>
        </p:spPr>
        <p:txBody>
          <a:bodyPr/>
          <a:lstStyle/>
          <a:p>
            <a:r>
              <a:rPr lang="en-US" dirty="0"/>
              <a:t>Weighted Mean : Summary</a:t>
            </a:r>
          </a:p>
        </p:txBody>
      </p:sp>
      <p:sp>
        <p:nvSpPr>
          <p:cNvPr id="4" name="Content Placeholder 3">
            <a:extLst>
              <a:ext uri="{FF2B5EF4-FFF2-40B4-BE49-F238E27FC236}">
                <a16:creationId xmlns:a16="http://schemas.microsoft.com/office/drawing/2014/main" id="{CF701619-2E8D-4182-BCFA-D371984D8E07}"/>
              </a:ext>
            </a:extLst>
          </p:cNvPr>
          <p:cNvSpPr>
            <a:spLocks noGrp="1"/>
          </p:cNvSpPr>
          <p:nvPr>
            <p:ph sz="half" idx="1"/>
          </p:nvPr>
        </p:nvSpPr>
        <p:spPr>
          <a:xfrm>
            <a:off x="62822" y="711976"/>
            <a:ext cx="8229600" cy="4020568"/>
          </a:xfrm>
        </p:spPr>
        <p:txBody>
          <a:bodyPr>
            <a:normAutofit/>
          </a:bodyPr>
          <a:lstStyle/>
          <a:p>
            <a:pPr>
              <a:buFont typeface="Arial" panose="020B0604020202020204" pitchFamily="34" charset="0"/>
              <a:buChar char="•"/>
            </a:pPr>
            <a:r>
              <a:rPr lang="en-US" sz="2400" b="1" kern="1200" dirty="0">
                <a:solidFill>
                  <a:schemeClr val="bg2">
                    <a:lumMod val="50000"/>
                    <a:lumOff val="50000"/>
                  </a:schemeClr>
                </a:solidFill>
                <a:latin typeface="Inter"/>
                <a:ea typeface="+mn-ea"/>
              </a:rPr>
              <a:t>Weighted Mean: </a:t>
            </a:r>
            <a:r>
              <a:rPr lang="en-US" sz="2400" kern="1200" dirty="0">
                <a:solidFill>
                  <a:schemeClr val="bg2">
                    <a:lumMod val="50000"/>
                    <a:lumOff val="50000"/>
                  </a:schemeClr>
                </a:solidFill>
                <a:latin typeface="Inter"/>
                <a:ea typeface="+mn-ea"/>
              </a:rPr>
              <a:t>A mean where some values contribute more than others.</a:t>
            </a:r>
          </a:p>
          <a:p>
            <a:pPr>
              <a:buFont typeface="Arial" panose="020B0604020202020204" pitchFamily="34" charset="0"/>
              <a:buChar char="•"/>
            </a:pPr>
            <a:r>
              <a:rPr lang="en-US" sz="2400" kern="1200" dirty="0">
                <a:solidFill>
                  <a:schemeClr val="bg2">
                    <a:lumMod val="50000"/>
                    <a:lumOff val="50000"/>
                  </a:schemeClr>
                </a:solidFill>
                <a:latin typeface="Inter"/>
                <a:ea typeface="+mn-ea"/>
              </a:rPr>
              <a:t>When the weights add to 1: just multiply each weight by the matching value and sum it all up</a:t>
            </a:r>
          </a:p>
          <a:p>
            <a:pPr>
              <a:buFont typeface="Arial" panose="020B0604020202020204" pitchFamily="34" charset="0"/>
              <a:buChar char="•"/>
            </a:pPr>
            <a:r>
              <a:rPr lang="en-US" sz="2400" kern="1200" dirty="0">
                <a:solidFill>
                  <a:schemeClr val="bg2">
                    <a:lumMod val="50000"/>
                    <a:lumOff val="50000"/>
                  </a:schemeClr>
                </a:solidFill>
                <a:latin typeface="Inter"/>
                <a:ea typeface="+mn-ea"/>
              </a:rPr>
              <a:t>Otherwise, multiply each weight </a:t>
            </a:r>
            <a:r>
              <a:rPr lang="en-US" sz="2400" b="1" kern="1200" dirty="0">
                <a:solidFill>
                  <a:schemeClr val="bg2">
                    <a:lumMod val="50000"/>
                    <a:lumOff val="50000"/>
                  </a:schemeClr>
                </a:solidFill>
                <a:latin typeface="Inter"/>
                <a:ea typeface="+mn-ea"/>
              </a:rPr>
              <a:t>w</a:t>
            </a:r>
            <a:r>
              <a:rPr lang="en-US" sz="2400" kern="1200" dirty="0">
                <a:solidFill>
                  <a:schemeClr val="bg2">
                    <a:lumMod val="50000"/>
                    <a:lumOff val="50000"/>
                  </a:schemeClr>
                </a:solidFill>
                <a:latin typeface="Inter"/>
                <a:ea typeface="+mn-ea"/>
              </a:rPr>
              <a:t> by its matching value </a:t>
            </a:r>
            <a:r>
              <a:rPr lang="en-US" sz="2400" b="1" kern="1200" dirty="0">
                <a:solidFill>
                  <a:schemeClr val="bg2">
                    <a:lumMod val="50000"/>
                    <a:lumOff val="50000"/>
                  </a:schemeClr>
                </a:solidFill>
                <a:latin typeface="Inter"/>
                <a:ea typeface="+mn-ea"/>
              </a:rPr>
              <a:t>x</a:t>
            </a:r>
            <a:r>
              <a:rPr lang="en-US" sz="2400" kern="1200" dirty="0">
                <a:solidFill>
                  <a:schemeClr val="bg2">
                    <a:lumMod val="50000"/>
                    <a:lumOff val="50000"/>
                  </a:schemeClr>
                </a:solidFill>
                <a:latin typeface="Inter"/>
                <a:ea typeface="+mn-ea"/>
              </a:rPr>
              <a:t>, sum that all up, and divide by the sum of weights:</a:t>
            </a:r>
          </a:p>
        </p:txBody>
      </p:sp>
      <p:pic>
        <p:nvPicPr>
          <p:cNvPr id="5" name="Picture 4">
            <a:extLst>
              <a:ext uri="{FF2B5EF4-FFF2-40B4-BE49-F238E27FC236}">
                <a16:creationId xmlns:a16="http://schemas.microsoft.com/office/drawing/2014/main" id="{0D4ADD21-A252-44ED-9CF5-2BCC2F3D1F9E}"/>
              </a:ext>
            </a:extLst>
          </p:cNvPr>
          <p:cNvPicPr>
            <a:picLocks noChangeAspect="1"/>
          </p:cNvPicPr>
          <p:nvPr/>
        </p:nvPicPr>
        <p:blipFill>
          <a:blip r:embed="rId2"/>
          <a:stretch>
            <a:fillRect/>
          </a:stretch>
        </p:blipFill>
        <p:spPr>
          <a:xfrm>
            <a:off x="2463122" y="3393299"/>
            <a:ext cx="3429000" cy="1038225"/>
          </a:xfrm>
          <a:prstGeom prst="rect">
            <a:avLst/>
          </a:prstGeom>
        </p:spPr>
      </p:pic>
    </p:spTree>
    <p:extLst>
      <p:ext uri="{BB962C8B-B14F-4D97-AF65-F5344CB8AC3E}">
        <p14:creationId xmlns:p14="http://schemas.microsoft.com/office/powerpoint/2010/main" val="2486453715"/>
      </p:ext>
    </p:extLst>
  </p:cSld>
  <p:clrMapOvr>
    <a:masterClrMapping/>
  </p:clrMapOvr>
  <p:transition spd="med">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4203"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18" name="Picture 17" descr="Diagram&#10;&#10;Description automatically generated with medium confidence">
            <a:extLst>
              <a:ext uri="{FF2B5EF4-FFF2-40B4-BE49-F238E27FC236}">
                <a16:creationId xmlns:a16="http://schemas.microsoft.com/office/drawing/2014/main" id="{E58CA81C-C243-431A-9819-E31BF6C52308}"/>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0" y="0"/>
            <a:ext cx="9144000" cy="5143500"/>
          </a:xfrm>
          <a:prstGeom prst="rect">
            <a:avLst/>
          </a:prstGeom>
        </p:spPr>
      </p:pic>
      <p:sp>
        <p:nvSpPr>
          <p:cNvPr id="22" name="Title 32">
            <a:extLst>
              <a:ext uri="{FF2B5EF4-FFF2-40B4-BE49-F238E27FC236}">
                <a16:creationId xmlns:a16="http://schemas.microsoft.com/office/drawing/2014/main" id="{7DE4F7AF-87AC-4CE0-9C4D-A5C0A40E4C2E}"/>
              </a:ext>
            </a:extLst>
          </p:cNvPr>
          <p:cNvSpPr>
            <a:spLocks noGrp="1"/>
          </p:cNvSpPr>
          <p:nvPr>
            <p:ph type="title"/>
          </p:nvPr>
        </p:nvSpPr>
        <p:spPr>
          <a:xfrm>
            <a:off x="75610" y="1249967"/>
            <a:ext cx="8992779" cy="3035543"/>
          </a:xfrm>
        </p:spPr>
        <p:txBody>
          <a:bodyPr/>
          <a:lstStyle/>
          <a:p>
            <a:r>
              <a:rPr lang="en-US" sz="4800" dirty="0">
                <a:solidFill>
                  <a:schemeClr val="tx2"/>
                </a:solidFill>
              </a:rPr>
              <a:t>Measure of  </a:t>
            </a:r>
            <a:br>
              <a:rPr lang="en-US" sz="4800" dirty="0">
                <a:solidFill>
                  <a:schemeClr val="tx2"/>
                </a:solidFill>
              </a:rPr>
            </a:br>
            <a:r>
              <a:rPr lang="en-US" sz="4800" dirty="0">
                <a:solidFill>
                  <a:schemeClr val="tx2"/>
                </a:solidFill>
              </a:rPr>
              <a:t>Variability</a:t>
            </a:r>
            <a:br>
              <a:rPr lang="en-US" dirty="0"/>
            </a:br>
            <a:br>
              <a:rPr lang="en-US" dirty="0"/>
            </a:br>
            <a:r>
              <a:rPr lang="en-US" dirty="0"/>
              <a:t> </a:t>
            </a:r>
          </a:p>
        </p:txBody>
      </p:sp>
    </p:spTree>
    <p:extLst>
      <p:ext uri="{BB962C8B-B14F-4D97-AF65-F5344CB8AC3E}">
        <p14:creationId xmlns:p14="http://schemas.microsoft.com/office/powerpoint/2010/main" val="2675433104"/>
      </p:ext>
    </p:extLst>
  </p:cSld>
  <p:clrMapOvr>
    <a:masterClrMapping/>
  </p:clrMapOvr>
  <p:transition spd="med">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3D5C2-409B-4595-BFEF-49120103B5E7}"/>
              </a:ext>
            </a:extLst>
          </p:cNvPr>
          <p:cNvSpPr>
            <a:spLocks noGrp="1"/>
          </p:cNvSpPr>
          <p:nvPr>
            <p:ph type="title"/>
          </p:nvPr>
        </p:nvSpPr>
        <p:spPr>
          <a:xfrm>
            <a:off x="0" y="49589"/>
            <a:ext cx="8229600" cy="637794"/>
          </a:xfrm>
        </p:spPr>
        <p:txBody>
          <a:bodyPr/>
          <a:lstStyle/>
          <a:p>
            <a:r>
              <a:rPr lang="en-US" dirty="0"/>
              <a:t>Measure of Variability </a:t>
            </a:r>
          </a:p>
        </p:txBody>
      </p:sp>
      <p:sp>
        <p:nvSpPr>
          <p:cNvPr id="3" name="TextBox 2">
            <a:extLst>
              <a:ext uri="{FF2B5EF4-FFF2-40B4-BE49-F238E27FC236}">
                <a16:creationId xmlns:a16="http://schemas.microsoft.com/office/drawing/2014/main" id="{8B0A8520-70DC-4944-9F76-6EF1C18E6612}"/>
              </a:ext>
            </a:extLst>
          </p:cNvPr>
          <p:cNvSpPr txBox="1"/>
          <p:nvPr/>
        </p:nvSpPr>
        <p:spPr>
          <a:xfrm>
            <a:off x="104701" y="687383"/>
            <a:ext cx="8732171" cy="3862596"/>
          </a:xfrm>
          <a:prstGeom prst="rect">
            <a:avLst/>
          </a:prstGeom>
          <a:noFill/>
        </p:spPr>
        <p:txBody>
          <a:bodyPr wrap="square" rtlCol="0">
            <a:spAutoFit/>
          </a:bodyPr>
          <a:lstStyle/>
          <a:p>
            <a:pPr>
              <a:spcBef>
                <a:spcPts val="0"/>
              </a:spcBef>
              <a:spcAft>
                <a:spcPts val="0"/>
              </a:spcAft>
              <a:buClr>
                <a:schemeClr val="bg1"/>
              </a:buClr>
            </a:pPr>
            <a:r>
              <a:rPr lang="en-US" sz="2000" b="1" dirty="0">
                <a:solidFill>
                  <a:schemeClr val="bg2">
                    <a:lumMod val="50000"/>
                    <a:lumOff val="50000"/>
                  </a:schemeClr>
                </a:solidFill>
                <a:latin typeface="Inter"/>
                <a:cs typeface="Arial" panose="020B0604020202020204" pitchFamily="34" charset="0"/>
              </a:rPr>
              <a:t>Variability</a:t>
            </a:r>
            <a:r>
              <a:rPr lang="en-US" sz="2000" dirty="0">
                <a:solidFill>
                  <a:schemeClr val="bg2">
                    <a:lumMod val="50000"/>
                    <a:lumOff val="50000"/>
                  </a:schemeClr>
                </a:solidFill>
                <a:latin typeface="Inter"/>
                <a:cs typeface="Arial" panose="020B0604020202020204" pitchFamily="34" charset="0"/>
              </a:rPr>
              <a:t> describes how </a:t>
            </a:r>
            <a:r>
              <a:rPr lang="en-US" sz="2000" b="1" i="1" dirty="0">
                <a:solidFill>
                  <a:schemeClr val="bg2">
                    <a:lumMod val="50000"/>
                    <a:lumOff val="50000"/>
                  </a:schemeClr>
                </a:solidFill>
                <a:latin typeface="Inter"/>
                <a:cs typeface="Arial" panose="020B0604020202020204" pitchFamily="34" charset="0"/>
              </a:rPr>
              <a:t>far apart data points lie from each other </a:t>
            </a:r>
            <a:r>
              <a:rPr lang="en-US" sz="2000" dirty="0">
                <a:solidFill>
                  <a:schemeClr val="bg2">
                    <a:lumMod val="50000"/>
                    <a:lumOff val="50000"/>
                  </a:schemeClr>
                </a:solidFill>
                <a:latin typeface="Inter"/>
                <a:cs typeface="Arial" panose="020B0604020202020204" pitchFamily="34" charset="0"/>
              </a:rPr>
              <a:t>and from the center of a distribution. Along with measures of central tendency, measures of variability give you descriptive statistics that summarize your data.</a:t>
            </a:r>
          </a:p>
          <a:p>
            <a:pPr>
              <a:spcBef>
                <a:spcPts val="0"/>
              </a:spcBef>
              <a:spcAft>
                <a:spcPts val="0"/>
              </a:spcAft>
              <a:buClr>
                <a:schemeClr val="bg1"/>
              </a:buClr>
            </a:pPr>
            <a:endParaRPr lang="en-US" sz="1100" b="1" dirty="0">
              <a:solidFill>
                <a:srgbClr val="000000"/>
              </a:solidFill>
              <a:latin typeface="Lato" panose="020F0502020204030203"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Variability is also referred to as </a:t>
            </a:r>
            <a:r>
              <a:rPr lang="en-US" sz="2000" b="1" dirty="0">
                <a:solidFill>
                  <a:schemeClr val="bg2">
                    <a:lumMod val="50000"/>
                    <a:lumOff val="50000"/>
                  </a:schemeClr>
                </a:solidFill>
                <a:latin typeface="Inter"/>
                <a:cs typeface="Arial" panose="020B0604020202020204" pitchFamily="34" charset="0"/>
              </a:rPr>
              <a:t>spread</a:t>
            </a:r>
            <a:r>
              <a:rPr lang="en-US" sz="2000" dirty="0">
                <a:solidFill>
                  <a:schemeClr val="bg2">
                    <a:lumMod val="50000"/>
                    <a:lumOff val="50000"/>
                  </a:schemeClr>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scatter</a:t>
            </a:r>
            <a:r>
              <a:rPr lang="en-US" sz="2000" dirty="0">
                <a:solidFill>
                  <a:schemeClr val="bg2">
                    <a:lumMod val="50000"/>
                    <a:lumOff val="50000"/>
                  </a:schemeClr>
                </a:solidFill>
                <a:latin typeface="Inter"/>
                <a:cs typeface="Arial" panose="020B0604020202020204" pitchFamily="34" charset="0"/>
              </a:rPr>
              <a:t> or </a:t>
            </a:r>
            <a:r>
              <a:rPr lang="en-US" sz="2000" b="1" dirty="0">
                <a:solidFill>
                  <a:schemeClr val="bg2">
                    <a:lumMod val="50000"/>
                    <a:lumOff val="50000"/>
                  </a:schemeClr>
                </a:solidFill>
                <a:latin typeface="Inter"/>
                <a:cs typeface="Arial" panose="020B0604020202020204" pitchFamily="34" charset="0"/>
              </a:rPr>
              <a:t>dispersion</a:t>
            </a:r>
            <a:r>
              <a:rPr lang="en-US" sz="2000" dirty="0">
                <a:solidFill>
                  <a:schemeClr val="bg2">
                    <a:lumMod val="50000"/>
                    <a:lumOff val="50000"/>
                  </a:schemeClr>
                </a:solidFill>
                <a:latin typeface="Inter"/>
                <a:cs typeface="Arial" panose="020B0604020202020204" pitchFamily="34" charset="0"/>
              </a:rPr>
              <a:t>. It is most commonly measured with the following:</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Range</a:t>
            </a:r>
            <a:r>
              <a:rPr lang="en-US" sz="2000" b="1" dirty="0">
                <a:solidFill>
                  <a:schemeClr val="accent1"/>
                </a:solidFill>
                <a:latin typeface="Inter"/>
                <a:cs typeface="Arial" panose="020B0604020202020204" pitchFamily="34" charset="0"/>
              </a:rPr>
              <a:t>: </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difference between the highest and lowest values</a:t>
            </a:r>
          </a:p>
          <a:p>
            <a:pPr>
              <a:spcBef>
                <a:spcPts val="0"/>
              </a:spcBef>
              <a:spcAft>
                <a:spcPts val="0"/>
              </a:spcAft>
              <a:buClr>
                <a:schemeClr val="bg1"/>
              </a:buClr>
            </a:pPr>
            <a:r>
              <a:rPr lang="en-US" sz="2000" b="1" u="sng" dirty="0">
                <a:solidFill>
                  <a:schemeClr val="accent1"/>
                </a:solidFill>
                <a:latin typeface="Inter"/>
                <a:cs typeface="Arial" panose="020B0604020202020204" pitchFamily="34" charset="0"/>
              </a:rPr>
              <a:t>Quartile:</a:t>
            </a:r>
            <a:r>
              <a:rPr lang="en-US" sz="2000" dirty="0">
                <a:solidFill>
                  <a:schemeClr val="bg2">
                    <a:lumMod val="50000"/>
                    <a:lumOff val="50000"/>
                  </a:schemeClr>
                </a:solidFill>
                <a:latin typeface="Inter"/>
                <a:cs typeface="Arial" panose="020B0604020202020204" pitchFamily="34" charset="0"/>
              </a:rPr>
              <a:t> 		that divide a list of numbers into quarters</a:t>
            </a:r>
            <a:endParaRPr lang="en-US" sz="2000" b="1" u="sng" dirty="0">
              <a:solidFill>
                <a:schemeClr val="accent1"/>
              </a:solidFill>
              <a:latin typeface="Inter"/>
              <a:cs typeface="Arial" panose="020B0604020202020204" pitchFamily="34" charset="0"/>
            </a:endParaRP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Interquartile rang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the range of the middle half of a distributio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Standard deviation</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distance from the mean</a:t>
            </a:r>
          </a:p>
          <a:p>
            <a:pPr>
              <a:spcBef>
                <a:spcPts val="0"/>
              </a:spcBef>
              <a:spcAft>
                <a:spcPts val="0"/>
              </a:spcAft>
              <a:buClr>
                <a:schemeClr val="bg1"/>
              </a:buClr>
            </a:pPr>
            <a:r>
              <a:rPr lang="en-US" sz="2000" b="1" dirty="0">
                <a:solidFill>
                  <a:schemeClr val="accent1"/>
                </a:solidFill>
                <a:latin typeface="Inter"/>
                <a:cs typeface="Arial" panose="020B0604020202020204" pitchFamily="34" charset="0"/>
                <a:hlinkClick r:id="rId5">
                  <a:extLst>
                    <a:ext uri="{A12FA001-AC4F-418D-AE19-62706E023703}">
                      <ahyp:hlinkClr xmlns:ahyp="http://schemas.microsoft.com/office/drawing/2018/hyperlinkcolor" val="tx"/>
                    </a:ext>
                  </a:extLst>
                </a:hlinkClick>
              </a:rPr>
              <a:t>Variance</a:t>
            </a:r>
            <a:r>
              <a:rPr lang="en-US" sz="2000" b="1" dirty="0">
                <a:solidFill>
                  <a:schemeClr val="accent1"/>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		average of squared distances from the mean</a:t>
            </a: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891461818"/>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D8BA4-EE20-4594-86BE-1831B7FC5366}"/>
              </a:ext>
            </a:extLst>
          </p:cNvPr>
          <p:cNvSpPr>
            <a:spLocks noGrp="1"/>
          </p:cNvSpPr>
          <p:nvPr>
            <p:ph type="title"/>
          </p:nvPr>
        </p:nvSpPr>
        <p:spPr>
          <a:xfrm>
            <a:off x="0" y="0"/>
            <a:ext cx="8229600" cy="637794"/>
          </a:xfrm>
        </p:spPr>
        <p:txBody>
          <a:bodyPr/>
          <a:lstStyle/>
          <a:p>
            <a:r>
              <a:rPr lang="en-US" dirty="0"/>
              <a:t>Why does variability matters? </a:t>
            </a:r>
          </a:p>
        </p:txBody>
      </p:sp>
      <p:pic>
        <p:nvPicPr>
          <p:cNvPr id="4" name="Picture 3">
            <a:extLst>
              <a:ext uri="{FF2B5EF4-FFF2-40B4-BE49-F238E27FC236}">
                <a16:creationId xmlns:a16="http://schemas.microsoft.com/office/drawing/2014/main" id="{B28A3692-9C0A-4265-A9CA-4E9ADB430840}"/>
              </a:ext>
            </a:extLst>
          </p:cNvPr>
          <p:cNvPicPr>
            <a:picLocks noChangeAspect="1"/>
          </p:cNvPicPr>
          <p:nvPr/>
        </p:nvPicPr>
        <p:blipFill>
          <a:blip r:embed="rId2"/>
          <a:stretch>
            <a:fillRect/>
          </a:stretch>
        </p:blipFill>
        <p:spPr>
          <a:xfrm>
            <a:off x="5535261" y="832512"/>
            <a:ext cx="3280672" cy="2508493"/>
          </a:xfrm>
          <a:prstGeom prst="rect">
            <a:avLst/>
          </a:prstGeom>
        </p:spPr>
      </p:pic>
      <p:sp>
        <p:nvSpPr>
          <p:cNvPr id="5" name="TextBox 4">
            <a:extLst>
              <a:ext uri="{FF2B5EF4-FFF2-40B4-BE49-F238E27FC236}">
                <a16:creationId xmlns:a16="http://schemas.microsoft.com/office/drawing/2014/main" id="{C16DED31-9843-4D58-962A-5B07E801B359}"/>
              </a:ext>
            </a:extLst>
          </p:cNvPr>
          <p:cNvSpPr txBox="1"/>
          <p:nvPr/>
        </p:nvSpPr>
        <p:spPr>
          <a:xfrm>
            <a:off x="-1" y="481631"/>
            <a:ext cx="5349651" cy="4170372"/>
          </a:xfrm>
          <a:prstGeom prst="rect">
            <a:avLst/>
          </a:prstGeom>
          <a:noFill/>
        </p:spPr>
        <p:txBody>
          <a:bodyPr wrap="square" rtlCol="0">
            <a:spAutoFit/>
          </a:bodyPr>
          <a:lstStyle/>
          <a:p>
            <a:pPr>
              <a:spcBef>
                <a:spcPts val="0"/>
              </a:spcBef>
              <a:spcAft>
                <a:spcPts val="0"/>
              </a:spcAft>
              <a:buClr>
                <a:schemeClr val="bg1"/>
              </a:buClr>
            </a:pPr>
            <a:r>
              <a:rPr lang="en-US" dirty="0">
                <a:solidFill>
                  <a:schemeClr val="bg2">
                    <a:lumMod val="50000"/>
                    <a:lumOff val="50000"/>
                  </a:schemeClr>
                </a:solidFill>
                <a:latin typeface="Inter"/>
                <a:cs typeface="Arial" panose="020B0604020202020204" pitchFamily="34" charset="0"/>
              </a:rPr>
              <a:t>Ex : Variability in normal distribution </a:t>
            </a:r>
          </a:p>
          <a:p>
            <a:pPr>
              <a:spcBef>
                <a:spcPts val="0"/>
              </a:spcBef>
              <a:spcAft>
                <a:spcPts val="0"/>
              </a:spcAft>
              <a:buClr>
                <a:schemeClr val="bg1"/>
              </a:buClr>
            </a:pPr>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bg2">
                    <a:lumMod val="50000"/>
                    <a:lumOff val="50000"/>
                  </a:schemeClr>
                </a:solidFill>
                <a:latin typeface="Inter"/>
                <a:cs typeface="Arial" panose="020B0604020202020204" pitchFamily="34" charset="0"/>
              </a:rPr>
              <a:t>Using </a:t>
            </a:r>
            <a:r>
              <a:rPr lang="en-US" dirty="0">
                <a:solidFill>
                  <a:schemeClr val="bg2">
                    <a:lumMod val="50000"/>
                    <a:lumOff val="50000"/>
                  </a:schemeClr>
                </a:solidFill>
                <a:latin typeface="Inter"/>
                <a:cs typeface="Arial" panose="020B0604020202020204" pitchFamily="34" charset="0"/>
                <a:hlinkClick r:id="rId3">
                  <a:extLst>
                    <a:ext uri="{A12FA001-AC4F-418D-AE19-62706E023703}">
                      <ahyp:hlinkClr xmlns:ahyp="http://schemas.microsoft.com/office/drawing/2018/hyperlinkcolor" val="tx"/>
                    </a:ext>
                  </a:extLst>
                </a:hlinkClick>
              </a:rPr>
              <a:t>simple random samples</a:t>
            </a:r>
            <a:r>
              <a:rPr lang="en-US" dirty="0">
                <a:solidFill>
                  <a:schemeClr val="bg2">
                    <a:lumMod val="50000"/>
                    <a:lumOff val="50000"/>
                  </a:schemeClr>
                </a:solidFill>
                <a:latin typeface="Inter"/>
                <a:cs typeface="Arial" panose="020B0604020202020204" pitchFamily="34" charset="0"/>
              </a:rPr>
              <a:t>, you collect data from 3 groups:</a:t>
            </a:r>
          </a:p>
          <a:p>
            <a:pPr algn="l"/>
            <a:endParaRPr lang="en-US" dirty="0">
              <a:solidFill>
                <a:schemeClr val="bg2">
                  <a:lumMod val="50000"/>
                  <a:lumOff val="50000"/>
                </a:schemeClr>
              </a:solidFill>
              <a:latin typeface="Inter"/>
              <a:cs typeface="Arial" panose="020B0604020202020204" pitchFamily="34" charset="0"/>
            </a:endParaRPr>
          </a:p>
          <a:p>
            <a:pPr algn="l"/>
            <a:r>
              <a:rPr lang="en-US" dirty="0">
                <a:solidFill>
                  <a:schemeClr val="accent1"/>
                </a:solidFill>
                <a:latin typeface="Inter"/>
                <a:cs typeface="Arial" panose="020B0604020202020204" pitchFamily="34" charset="0"/>
              </a:rPr>
              <a:t>Sample A: </a:t>
            </a:r>
            <a:r>
              <a:rPr lang="en-US" dirty="0">
                <a:solidFill>
                  <a:schemeClr val="bg2">
                    <a:lumMod val="50000"/>
                    <a:lumOff val="50000"/>
                  </a:schemeClr>
                </a:solidFill>
                <a:latin typeface="Inter"/>
                <a:cs typeface="Arial" panose="020B0604020202020204" pitchFamily="34" charset="0"/>
              </a:rPr>
              <a:t>high school students,</a:t>
            </a:r>
          </a:p>
          <a:p>
            <a:pPr algn="l"/>
            <a:r>
              <a:rPr lang="en-US" dirty="0">
                <a:solidFill>
                  <a:schemeClr val="accent1"/>
                </a:solidFill>
                <a:latin typeface="Inter"/>
                <a:cs typeface="Arial" panose="020B0604020202020204" pitchFamily="34" charset="0"/>
              </a:rPr>
              <a:t>Sample B: </a:t>
            </a:r>
            <a:r>
              <a:rPr lang="en-US" dirty="0">
                <a:solidFill>
                  <a:schemeClr val="bg2">
                    <a:lumMod val="50000"/>
                    <a:lumOff val="50000"/>
                  </a:schemeClr>
                </a:solidFill>
                <a:latin typeface="Inter"/>
                <a:cs typeface="Arial" panose="020B0604020202020204" pitchFamily="34" charset="0"/>
              </a:rPr>
              <a:t>college students,</a:t>
            </a:r>
          </a:p>
          <a:p>
            <a:pPr algn="l"/>
            <a:r>
              <a:rPr lang="en-US" dirty="0">
                <a:solidFill>
                  <a:schemeClr val="accent1"/>
                </a:solidFill>
                <a:latin typeface="Inter"/>
                <a:cs typeface="Arial" panose="020B0604020202020204" pitchFamily="34" charset="0"/>
              </a:rPr>
              <a:t>Sample C: </a:t>
            </a:r>
            <a:r>
              <a:rPr lang="en-US" dirty="0">
                <a:solidFill>
                  <a:schemeClr val="bg2">
                    <a:lumMod val="50000"/>
                    <a:lumOff val="50000"/>
                  </a:schemeClr>
                </a:solidFill>
                <a:latin typeface="Inter"/>
                <a:cs typeface="Arial" panose="020B0604020202020204" pitchFamily="34" charset="0"/>
              </a:rPr>
              <a:t>adult full-time employees.</a:t>
            </a: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dirty="0">
              <a:solidFill>
                <a:schemeClr val="bg2">
                  <a:lumMod val="50000"/>
                  <a:lumOff val="50000"/>
                </a:schemeClr>
              </a:solidFill>
              <a:latin typeface="Inter"/>
              <a:cs typeface="Arial" panose="020B0604020202020204" pitchFamily="34" charset="0"/>
            </a:endParaRPr>
          </a:p>
          <a:p>
            <a:pPr algn="l">
              <a:buFont typeface="Arial" panose="020B0604020202020204" pitchFamily="34" charset="0"/>
              <a:buChar char="•"/>
            </a:pPr>
            <a:endParaRPr lang="en-US" sz="1100" b="0" i="0" dirty="0">
              <a:solidFill>
                <a:srgbClr val="0D405F"/>
              </a:solidFill>
              <a:effectLst/>
              <a:latin typeface="Inter"/>
            </a:endParaRPr>
          </a:p>
          <a:p>
            <a:pPr>
              <a:spcBef>
                <a:spcPts val="0"/>
              </a:spcBef>
              <a:spcAft>
                <a:spcPts val="0"/>
              </a:spcAft>
              <a:buClr>
                <a:schemeClr val="bg1"/>
              </a:buClr>
            </a:pPr>
            <a:endParaRPr lang="en-US" sz="1400" dirty="0" err="1">
              <a:solidFill>
                <a:schemeClr val="bg2"/>
              </a:solidFill>
              <a:latin typeface="+mn-lt"/>
            </a:endParaRPr>
          </a:p>
        </p:txBody>
      </p:sp>
      <p:sp>
        <p:nvSpPr>
          <p:cNvPr id="6" name="TextBox 5">
            <a:extLst>
              <a:ext uri="{FF2B5EF4-FFF2-40B4-BE49-F238E27FC236}">
                <a16:creationId xmlns:a16="http://schemas.microsoft.com/office/drawing/2014/main" id="{DA648542-B575-4307-A4F5-A40FCCDE0A16}"/>
              </a:ext>
            </a:extLst>
          </p:cNvPr>
          <p:cNvSpPr txBox="1"/>
          <p:nvPr/>
        </p:nvSpPr>
        <p:spPr>
          <a:xfrm>
            <a:off x="62821" y="3657600"/>
            <a:ext cx="8829894" cy="1384995"/>
          </a:xfrm>
          <a:prstGeom prst="rect">
            <a:avLst/>
          </a:prstGeom>
          <a:noFill/>
        </p:spPr>
        <p:txBody>
          <a:bodyPr wrap="square" rtlCol="0">
            <a:spAutoFit/>
          </a:bodyPr>
          <a:lstStyle/>
          <a:p>
            <a:pPr algn="l"/>
            <a:r>
              <a:rPr lang="en-US" sz="1400" dirty="0">
                <a:solidFill>
                  <a:schemeClr val="bg2">
                    <a:lumMod val="50000"/>
                    <a:lumOff val="50000"/>
                  </a:schemeClr>
                </a:solidFill>
                <a:latin typeface="Inter"/>
                <a:cs typeface="Arial" panose="020B0604020202020204" pitchFamily="34" charset="0"/>
              </a:rPr>
              <a:t>All three of your samples have the same average phone use, at 195 minutes or 3 hours and 15 minutes. This is the x-axis value where the peak of the curves are.</a:t>
            </a:r>
          </a:p>
          <a:p>
            <a:pPr algn="l"/>
            <a:endParaRPr lang="en-US" sz="1400" dirty="0">
              <a:solidFill>
                <a:schemeClr val="bg2">
                  <a:lumMod val="50000"/>
                  <a:lumOff val="50000"/>
                </a:schemeClr>
              </a:solidFill>
              <a:latin typeface="Inter"/>
              <a:cs typeface="Arial" panose="020B0604020202020204" pitchFamily="34" charset="0"/>
            </a:endParaRPr>
          </a:p>
          <a:p>
            <a:pPr algn="l"/>
            <a:r>
              <a:rPr lang="en-US" sz="1400" dirty="0">
                <a:solidFill>
                  <a:schemeClr val="bg2">
                    <a:lumMod val="50000"/>
                    <a:lumOff val="50000"/>
                  </a:schemeClr>
                </a:solidFill>
                <a:latin typeface="Inter"/>
                <a:cs typeface="Arial" panose="020B0604020202020204" pitchFamily="34" charset="0"/>
              </a:rPr>
              <a:t>Although the data follows a </a:t>
            </a:r>
            <a:r>
              <a:rPr lang="en-US" sz="1400" dirty="0">
                <a:solidFill>
                  <a:schemeClr val="bg2">
                    <a:lumMod val="50000"/>
                    <a:lumOff val="50000"/>
                  </a:schemeClr>
                </a:solidFill>
                <a:latin typeface="Inter"/>
                <a:cs typeface="Arial" panose="020B0604020202020204" pitchFamily="34" charset="0"/>
                <a:hlinkClick r:id="rId4">
                  <a:extLst>
                    <a:ext uri="{A12FA001-AC4F-418D-AE19-62706E023703}">
                      <ahyp:hlinkClr xmlns:ahyp="http://schemas.microsoft.com/office/drawing/2018/hyperlinkcolor" val="tx"/>
                    </a:ext>
                  </a:extLst>
                </a:hlinkClick>
              </a:rPr>
              <a:t>normal distribution</a:t>
            </a:r>
            <a:r>
              <a:rPr lang="en-US" sz="1400" dirty="0">
                <a:solidFill>
                  <a:schemeClr val="bg2">
                    <a:lumMod val="50000"/>
                    <a:lumOff val="50000"/>
                  </a:schemeClr>
                </a:solidFill>
                <a:latin typeface="Inter"/>
                <a:cs typeface="Arial" panose="020B0604020202020204" pitchFamily="34" charset="0"/>
              </a:rPr>
              <a:t>, each sample has different spreads. Sample A has the largest variability while Sample C has the smallest variability.</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306192768"/>
      </p:ext>
    </p:extLst>
  </p:cSld>
  <p:clrMapOvr>
    <a:masterClrMapping/>
  </p:clrMapOvr>
  <p:transition spd="med">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7BF18-BDD0-4811-8BF9-7AA8D82CBE88}"/>
              </a:ext>
            </a:extLst>
          </p:cNvPr>
          <p:cNvSpPr>
            <a:spLocks noGrp="1"/>
          </p:cNvSpPr>
          <p:nvPr>
            <p:ph type="title"/>
          </p:nvPr>
        </p:nvSpPr>
        <p:spPr>
          <a:xfrm>
            <a:off x="101213" y="77509"/>
            <a:ext cx="8229600" cy="637794"/>
          </a:xfrm>
        </p:spPr>
        <p:txBody>
          <a:bodyPr/>
          <a:lstStyle/>
          <a:p>
            <a:r>
              <a:rPr lang="en-US" dirty="0"/>
              <a:t>Range</a:t>
            </a:r>
          </a:p>
        </p:txBody>
      </p:sp>
      <p:sp>
        <p:nvSpPr>
          <p:cNvPr id="3" name="TextBox 2">
            <a:extLst>
              <a:ext uri="{FF2B5EF4-FFF2-40B4-BE49-F238E27FC236}">
                <a16:creationId xmlns:a16="http://schemas.microsoft.com/office/drawing/2014/main" id="{B75B9029-80C6-49D8-8997-614ABF93772C}"/>
              </a:ext>
            </a:extLst>
          </p:cNvPr>
          <p:cNvSpPr txBox="1"/>
          <p:nvPr/>
        </p:nvSpPr>
        <p:spPr>
          <a:xfrm>
            <a:off x="41881" y="663114"/>
            <a:ext cx="8885734" cy="2277547"/>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The range tells you the spread of your data from the lowest to the highest value in the distribution. It’s the easiest measure of variability to calculate.</a:t>
            </a:r>
          </a:p>
          <a:p>
            <a:pPr marL="342900" indent="-342900">
              <a:spcBef>
                <a:spcPts val="0"/>
              </a:spcBef>
              <a:spcAft>
                <a:spcPts val="0"/>
              </a:spcAft>
              <a:buClr>
                <a:schemeClr val="bg1"/>
              </a:buClr>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o </a:t>
            </a:r>
            <a:r>
              <a:rPr lang="en-US" sz="2000" b="1" i="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find the range</a:t>
            </a:r>
            <a:r>
              <a:rPr lang="en-US" sz="2000" dirty="0">
                <a:solidFill>
                  <a:schemeClr val="bg2">
                    <a:lumMod val="50000"/>
                    <a:lumOff val="50000"/>
                  </a:schemeClr>
                </a:solidFill>
                <a:latin typeface="Inter"/>
                <a:cs typeface="Arial" panose="020B0604020202020204" pitchFamily="34" charset="0"/>
              </a:rPr>
              <a:t>, simply subtract the lowest value from the highest value in the data set.</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100" dirty="0">
              <a:solidFill>
                <a:srgbClr val="0D405F"/>
              </a:solidFill>
              <a:latin typeface="Inter"/>
            </a:endParaRPr>
          </a:p>
          <a:p>
            <a:pPr>
              <a:spcBef>
                <a:spcPts val="0"/>
              </a:spcBef>
              <a:spcAft>
                <a:spcPts val="0"/>
              </a:spcAft>
              <a:buClr>
                <a:schemeClr val="bg1"/>
              </a:buClr>
            </a:pPr>
            <a:r>
              <a:rPr lang="en-US" sz="1100" b="1" dirty="0">
                <a:solidFill>
                  <a:schemeClr val="accent1"/>
                </a:solidFill>
                <a:latin typeface="Inter"/>
              </a:rPr>
              <a:t>Data (Minutes) 		72	110	134	190	238	287	305	324</a:t>
            </a:r>
            <a:endParaRPr lang="en-US" sz="1400" b="1" dirty="0">
              <a:solidFill>
                <a:schemeClr val="accent1"/>
              </a:solidFill>
              <a:latin typeface="+mn-lt"/>
            </a:endParaRPr>
          </a:p>
        </p:txBody>
      </p:sp>
    </p:spTree>
    <p:extLst>
      <p:ext uri="{BB962C8B-B14F-4D97-AF65-F5344CB8AC3E}">
        <p14:creationId xmlns:p14="http://schemas.microsoft.com/office/powerpoint/2010/main" val="3012658408"/>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08532574"/>
      </p:ext>
    </p:extLst>
  </p:cSld>
  <p:clrMapOvr>
    <a:masterClrMapping/>
  </p:clrMapOvr>
  <p:transition spd="med">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71A17D-7635-493B-AB43-E07EB5D146FF}"/>
              </a:ext>
            </a:extLst>
          </p:cNvPr>
          <p:cNvSpPr/>
          <p:nvPr/>
        </p:nvSpPr>
        <p:spPr>
          <a:xfrm>
            <a:off x="614252" y="2968157"/>
            <a:ext cx="7915493" cy="459098"/>
          </a:xfrm>
          <a:prstGeom prst="rect">
            <a:avLst/>
          </a:prstGeom>
          <a:noFill/>
          <a:ln w="12700" cmpd="sng">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 name="Title 1">
            <a:extLst>
              <a:ext uri="{FF2B5EF4-FFF2-40B4-BE49-F238E27FC236}">
                <a16:creationId xmlns:a16="http://schemas.microsoft.com/office/drawing/2014/main" id="{1E17F21F-77D2-498D-ACC0-34D5250C6951}"/>
              </a:ext>
            </a:extLst>
          </p:cNvPr>
          <p:cNvSpPr>
            <a:spLocks noGrp="1"/>
          </p:cNvSpPr>
          <p:nvPr>
            <p:ph type="title"/>
          </p:nvPr>
        </p:nvSpPr>
        <p:spPr>
          <a:xfrm>
            <a:off x="66311" y="0"/>
            <a:ext cx="8229600" cy="637794"/>
          </a:xfrm>
        </p:spPr>
        <p:txBody>
          <a:bodyPr/>
          <a:lstStyle/>
          <a:p>
            <a:r>
              <a:rPr lang="en-US" dirty="0"/>
              <a:t>Range can be misleading</a:t>
            </a:r>
          </a:p>
        </p:txBody>
      </p:sp>
      <p:sp>
        <p:nvSpPr>
          <p:cNvPr id="3" name="TextBox 2">
            <a:extLst>
              <a:ext uri="{FF2B5EF4-FFF2-40B4-BE49-F238E27FC236}">
                <a16:creationId xmlns:a16="http://schemas.microsoft.com/office/drawing/2014/main" id="{82F50FE0-C1C2-4BB0-B826-A9131CC07860}"/>
              </a:ext>
            </a:extLst>
          </p:cNvPr>
          <p:cNvSpPr txBox="1"/>
          <p:nvPr/>
        </p:nvSpPr>
        <p:spPr>
          <a:xfrm>
            <a:off x="160544" y="704996"/>
            <a:ext cx="8592567" cy="1323439"/>
          </a:xfrm>
          <a:prstGeom prst="rect">
            <a:avLst/>
          </a:prstGeom>
          <a:noFill/>
        </p:spPr>
        <p:txBody>
          <a:bodyPr wrap="square" rtlCol="0">
            <a:spAutoFit/>
          </a:bodyPr>
          <a:lstStyle/>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Because only 2 numbers are used, the range is influenced by </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outliers</a:t>
            </a:r>
            <a:r>
              <a:rPr lang="en-US" sz="2000" dirty="0">
                <a:solidFill>
                  <a:schemeClr val="bg2">
                    <a:lumMod val="50000"/>
                    <a:lumOff val="50000"/>
                  </a:schemeClr>
                </a:solidFill>
                <a:latin typeface="Inter"/>
                <a:cs typeface="Arial" panose="020B0604020202020204" pitchFamily="34" charset="0"/>
              </a:rPr>
              <a:t> and doesn’t give you any information about the distribution of values. </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It’s best used in combination with other measures.</a:t>
            </a:r>
          </a:p>
        </p:txBody>
      </p:sp>
      <p:sp>
        <p:nvSpPr>
          <p:cNvPr id="4" name="TextBox 3">
            <a:extLst>
              <a:ext uri="{FF2B5EF4-FFF2-40B4-BE49-F238E27FC236}">
                <a16:creationId xmlns:a16="http://schemas.microsoft.com/office/drawing/2014/main" id="{85E3C32C-D87E-4DEA-9465-5133B118800A}"/>
              </a:ext>
            </a:extLst>
          </p:cNvPr>
          <p:cNvSpPr txBox="1"/>
          <p:nvPr/>
        </p:nvSpPr>
        <p:spPr>
          <a:xfrm>
            <a:off x="614253" y="2968157"/>
            <a:ext cx="7915493" cy="400110"/>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 we may be better off using </a:t>
            </a:r>
            <a:r>
              <a:rPr lang="en-US" sz="2000" b="1" dirty="0">
                <a:solidFill>
                  <a:schemeClr val="accent1"/>
                </a:solidFill>
                <a:latin typeface="Inter"/>
                <a:cs typeface="Arial" panose="020B0604020202020204" pitchFamily="34" charset="0"/>
              </a:rPr>
              <a:t>Interquartile Range </a:t>
            </a:r>
            <a:r>
              <a:rPr lang="en-US" sz="2000" dirty="0">
                <a:solidFill>
                  <a:schemeClr val="bg2">
                    <a:lumMod val="50000"/>
                    <a:lumOff val="50000"/>
                  </a:schemeClr>
                </a:solidFill>
                <a:latin typeface="Inter"/>
                <a:cs typeface="Arial" panose="020B0604020202020204" pitchFamily="34" charset="0"/>
              </a:rPr>
              <a:t>or </a:t>
            </a:r>
            <a:r>
              <a:rPr lang="en-US" sz="2000" b="1" dirty="0">
                <a:solidFill>
                  <a:schemeClr val="accent1"/>
                </a:solidFill>
                <a:latin typeface="Inter"/>
                <a:cs typeface="Arial" panose="020B0604020202020204" pitchFamily="34" charset="0"/>
              </a:rPr>
              <a:t>Standard Deviation</a:t>
            </a:r>
          </a:p>
        </p:txBody>
      </p:sp>
    </p:spTree>
    <p:extLst>
      <p:ext uri="{BB962C8B-B14F-4D97-AF65-F5344CB8AC3E}">
        <p14:creationId xmlns:p14="http://schemas.microsoft.com/office/powerpoint/2010/main" val="1368213410"/>
      </p:ext>
    </p:extLst>
  </p:cSld>
  <p:clrMapOvr>
    <a:masterClrMapping/>
  </p:clrMapOvr>
  <p:transition spd="med">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BF71-DFC5-427E-A65C-107910B8233F}"/>
              </a:ext>
            </a:extLst>
          </p:cNvPr>
          <p:cNvSpPr>
            <a:spLocks noGrp="1"/>
          </p:cNvSpPr>
          <p:nvPr>
            <p:ph type="title"/>
          </p:nvPr>
        </p:nvSpPr>
        <p:spPr>
          <a:xfrm>
            <a:off x="73291" y="98450"/>
            <a:ext cx="8229600" cy="637794"/>
          </a:xfrm>
        </p:spPr>
        <p:txBody>
          <a:bodyPr/>
          <a:lstStyle/>
          <a:p>
            <a:r>
              <a:rPr lang="en-US" dirty="0"/>
              <a:t>Quartiles</a:t>
            </a:r>
          </a:p>
        </p:txBody>
      </p:sp>
      <p:sp>
        <p:nvSpPr>
          <p:cNvPr id="3" name="TextBox 2">
            <a:extLst>
              <a:ext uri="{FF2B5EF4-FFF2-40B4-BE49-F238E27FC236}">
                <a16:creationId xmlns:a16="http://schemas.microsoft.com/office/drawing/2014/main" id="{BB64782E-BA76-46E6-BA36-C05EB80808B3}"/>
              </a:ext>
            </a:extLst>
          </p:cNvPr>
          <p:cNvSpPr txBox="1"/>
          <p:nvPr/>
        </p:nvSpPr>
        <p:spPr>
          <a:xfrm>
            <a:off x="125643" y="795736"/>
            <a:ext cx="8055096" cy="2246769"/>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Quartiles are the values that divide a list of numbers into quart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Put the list of numbers in order</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n cut the list into four equal part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marL="342900" indent="-342900">
              <a:spcBef>
                <a:spcPts val="0"/>
              </a:spcBef>
              <a:spcAft>
                <a:spcPts val="0"/>
              </a:spcAft>
              <a:buClr>
                <a:schemeClr val="bg1"/>
              </a:buClr>
              <a:buFont typeface="Wingdings" panose="05000000000000000000" pitchFamily="2" charset="2"/>
              <a:buChar char="q"/>
            </a:pPr>
            <a:r>
              <a:rPr lang="en-US" sz="2000" dirty="0">
                <a:solidFill>
                  <a:schemeClr val="bg2">
                    <a:lumMod val="50000"/>
                    <a:lumOff val="50000"/>
                  </a:schemeClr>
                </a:solidFill>
                <a:latin typeface="Inter"/>
                <a:cs typeface="Arial" panose="020B0604020202020204" pitchFamily="34" charset="0"/>
              </a:rPr>
              <a:t>The Quartiles are at the "cuts"</a:t>
            </a:r>
          </a:p>
        </p:txBody>
      </p:sp>
      <p:pic>
        <p:nvPicPr>
          <p:cNvPr id="5" name="Picture 4" descr="Icon&#10;&#10;Description automatically generated">
            <a:extLst>
              <a:ext uri="{FF2B5EF4-FFF2-40B4-BE49-F238E27FC236}">
                <a16:creationId xmlns:a16="http://schemas.microsoft.com/office/drawing/2014/main" id="{C0D2230B-C88E-42F0-8B61-73C227906A0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15823" y="1919120"/>
            <a:ext cx="3046400" cy="3046400"/>
          </a:xfrm>
          <a:prstGeom prst="rect">
            <a:avLst/>
          </a:prstGeom>
        </p:spPr>
      </p:pic>
    </p:spTree>
    <p:extLst>
      <p:ext uri="{BB962C8B-B14F-4D97-AF65-F5344CB8AC3E}">
        <p14:creationId xmlns:p14="http://schemas.microsoft.com/office/powerpoint/2010/main" val="3035897662"/>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96CD2-A218-41FD-81FB-068327F9D7E8}"/>
              </a:ext>
            </a:extLst>
          </p:cNvPr>
          <p:cNvSpPr>
            <a:spLocks noGrp="1"/>
          </p:cNvSpPr>
          <p:nvPr>
            <p:ph type="title"/>
          </p:nvPr>
        </p:nvSpPr>
        <p:spPr>
          <a:xfrm>
            <a:off x="0" y="0"/>
            <a:ext cx="8229600" cy="637794"/>
          </a:xfrm>
        </p:spPr>
        <p:txBody>
          <a:bodyPr/>
          <a:lstStyle/>
          <a:p>
            <a:r>
              <a:rPr lang="en-US" dirty="0"/>
              <a:t>Quartile</a:t>
            </a:r>
          </a:p>
        </p:txBody>
      </p:sp>
      <p:sp>
        <p:nvSpPr>
          <p:cNvPr id="4" name="TextBox 3">
            <a:extLst>
              <a:ext uri="{FF2B5EF4-FFF2-40B4-BE49-F238E27FC236}">
                <a16:creationId xmlns:a16="http://schemas.microsoft.com/office/drawing/2014/main" id="{51564A6B-0B9B-4B53-869D-F275C99CECAC}"/>
              </a:ext>
            </a:extLst>
          </p:cNvPr>
          <p:cNvSpPr txBox="1"/>
          <p:nvPr/>
        </p:nvSpPr>
        <p:spPr>
          <a:xfrm>
            <a:off x="55841" y="540425"/>
            <a:ext cx="8173759" cy="2031325"/>
          </a:xfrm>
          <a:prstGeom prst="rect">
            <a:avLst/>
          </a:prstGeom>
          <a:noFill/>
        </p:spPr>
        <p:txBody>
          <a:bodyPr wrap="square" rtlCol="0">
            <a:spAutoFit/>
          </a:bodyPr>
          <a:lstStyle/>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Ex : 5, 7, 4, 4, 6, 2,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Put them in order </a:t>
            </a:r>
            <a:r>
              <a:rPr lang="en-US" sz="1800" dirty="0">
                <a:solidFill>
                  <a:schemeClr val="bg2">
                    <a:lumMod val="50000"/>
                    <a:lumOff val="50000"/>
                  </a:schemeClr>
                </a:solidFill>
                <a:latin typeface="Inter"/>
                <a:cs typeface="Arial" panose="020B0604020202020204" pitchFamily="34" charset="0"/>
              </a:rPr>
              <a:t>: 2, 4, 4, 5, 6, 7, 8</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r>
              <a:rPr lang="en-US" sz="1800" b="1" dirty="0">
                <a:solidFill>
                  <a:schemeClr val="bg2">
                    <a:lumMod val="50000"/>
                    <a:lumOff val="50000"/>
                  </a:schemeClr>
                </a:solidFill>
                <a:latin typeface="Inter"/>
                <a:cs typeface="Arial" panose="020B0604020202020204" pitchFamily="34" charset="0"/>
              </a:rPr>
              <a:t>Cut the List into Quarters : </a:t>
            </a:r>
          </a:p>
          <a:p>
            <a:pPr>
              <a:spcBef>
                <a:spcPts val="0"/>
              </a:spcBef>
              <a:spcAft>
                <a:spcPts val="0"/>
              </a:spcAft>
              <a:buClr>
                <a:schemeClr val="bg1"/>
              </a:buClr>
            </a:pPr>
            <a:endParaRPr lang="en-US" sz="1800" b="1"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800" b="1" dirty="0">
              <a:solidFill>
                <a:schemeClr val="bg2"/>
              </a:solidFill>
              <a:latin typeface="+mn-lt"/>
            </a:endParaRPr>
          </a:p>
        </p:txBody>
      </p:sp>
      <p:pic>
        <p:nvPicPr>
          <p:cNvPr id="6" name="Picture 5">
            <a:extLst>
              <a:ext uri="{FF2B5EF4-FFF2-40B4-BE49-F238E27FC236}">
                <a16:creationId xmlns:a16="http://schemas.microsoft.com/office/drawing/2014/main" id="{1B565FA1-179B-418E-89CE-CB7A5FE56550}"/>
              </a:ext>
            </a:extLst>
          </p:cNvPr>
          <p:cNvPicPr>
            <a:picLocks noChangeAspect="1"/>
          </p:cNvPicPr>
          <p:nvPr/>
        </p:nvPicPr>
        <p:blipFill>
          <a:blip r:embed="rId2"/>
          <a:stretch>
            <a:fillRect/>
          </a:stretch>
        </p:blipFill>
        <p:spPr>
          <a:xfrm>
            <a:off x="2272803" y="2132338"/>
            <a:ext cx="3080974" cy="1440083"/>
          </a:xfrm>
          <a:prstGeom prst="rect">
            <a:avLst/>
          </a:prstGeom>
        </p:spPr>
      </p:pic>
    </p:spTree>
    <p:extLst>
      <p:ext uri="{BB962C8B-B14F-4D97-AF65-F5344CB8AC3E}">
        <p14:creationId xmlns:p14="http://schemas.microsoft.com/office/powerpoint/2010/main" val="610422850"/>
      </p:ext>
    </p:extLst>
  </p:cSld>
  <p:clrMapOvr>
    <a:masterClrMapping/>
  </p:clrMapOvr>
  <p:transition spd="med">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B1DF-923A-42F7-BB0D-328499793335}"/>
              </a:ext>
            </a:extLst>
          </p:cNvPr>
          <p:cNvSpPr>
            <a:spLocks noGrp="1"/>
          </p:cNvSpPr>
          <p:nvPr>
            <p:ph type="title"/>
          </p:nvPr>
        </p:nvSpPr>
        <p:spPr>
          <a:xfrm>
            <a:off x="0" y="56569"/>
            <a:ext cx="8229600" cy="637794"/>
          </a:xfrm>
        </p:spPr>
        <p:txBody>
          <a:bodyPr/>
          <a:lstStyle/>
          <a:p>
            <a:r>
              <a:rPr lang="en-US" dirty="0"/>
              <a:t>Quartile</a:t>
            </a:r>
          </a:p>
        </p:txBody>
      </p:sp>
      <p:sp>
        <p:nvSpPr>
          <p:cNvPr id="3" name="TextBox 2">
            <a:extLst>
              <a:ext uri="{FF2B5EF4-FFF2-40B4-BE49-F238E27FC236}">
                <a16:creationId xmlns:a16="http://schemas.microsoft.com/office/drawing/2014/main" id="{6D6F2D4B-88D4-4088-AF08-0BC82059D804}"/>
              </a:ext>
            </a:extLst>
          </p:cNvPr>
          <p:cNvSpPr txBox="1"/>
          <p:nvPr/>
        </p:nvSpPr>
        <p:spPr>
          <a:xfrm>
            <a:off x="0" y="459033"/>
            <a:ext cx="9018357" cy="4909036"/>
          </a:xfrm>
          <a:prstGeom prst="rect">
            <a:avLst/>
          </a:prstGeom>
          <a:noFill/>
        </p:spPr>
        <p:txBody>
          <a:bodyPr wrap="square" rtlCol="0">
            <a:spAutoFit/>
          </a:bodyPr>
          <a:lstStyle/>
          <a:p>
            <a:pPr>
              <a:spcBef>
                <a:spcPts val="0"/>
              </a:spcBef>
              <a:spcAft>
                <a:spcPts val="0"/>
              </a:spcAft>
              <a:buClr>
                <a:schemeClr val="bg1"/>
              </a:buClr>
            </a:pPr>
            <a:r>
              <a:rPr lang="en-US" sz="2000" dirty="0">
                <a:solidFill>
                  <a:schemeClr val="bg2">
                    <a:lumMod val="50000"/>
                    <a:lumOff val="50000"/>
                  </a:schemeClr>
                </a:solidFill>
                <a:latin typeface="Inter"/>
                <a:cs typeface="Arial" panose="020B0604020202020204" pitchFamily="34" charset="0"/>
              </a:rPr>
              <a:t>Sometimes a "cut" is between two numbers ... the Quartile is the average of the two numbers</a:t>
            </a:r>
          </a:p>
          <a:p>
            <a:pPr>
              <a:spcBef>
                <a:spcPts val="0"/>
              </a:spcBef>
              <a:spcAft>
                <a:spcPts val="0"/>
              </a:spcAft>
              <a:buClr>
                <a:schemeClr val="bg1"/>
              </a:buClr>
            </a:pPr>
            <a:endParaRPr lang="en-US" sz="2000" dirty="0">
              <a:solidFill>
                <a:schemeClr val="bg2">
                  <a:lumMod val="50000"/>
                  <a:lumOff val="50000"/>
                </a:schemeClr>
              </a:solidFill>
              <a:latin typeface="Inter"/>
              <a:cs typeface="Arial" panose="020B0604020202020204" pitchFamily="34" charset="0"/>
            </a:endParaRPr>
          </a:p>
          <a:p>
            <a:pPr algn="l"/>
            <a:r>
              <a:rPr lang="en-US" sz="1800" b="1" dirty="0">
                <a:solidFill>
                  <a:schemeClr val="bg2">
                    <a:lumMod val="50000"/>
                    <a:lumOff val="50000"/>
                  </a:schemeClr>
                </a:solidFill>
                <a:latin typeface="Inter"/>
                <a:cs typeface="Arial" panose="020B0604020202020204" pitchFamily="34" charset="0"/>
              </a:rPr>
              <a:t>Example: 1, 3, 3, 4, 5, 6, 6, 7, 8, 8</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The numbers are already in order</a:t>
            </a:r>
          </a:p>
          <a:p>
            <a:pPr marL="285750" indent="-285750" algn="l">
              <a:buFont typeface="Wingdings" panose="05000000000000000000" pitchFamily="2" charset="2"/>
              <a:buChar char="Ø"/>
            </a:pPr>
            <a:r>
              <a:rPr lang="en-US" sz="1800" dirty="0">
                <a:solidFill>
                  <a:schemeClr val="bg2">
                    <a:lumMod val="50000"/>
                    <a:lumOff val="50000"/>
                  </a:schemeClr>
                </a:solidFill>
                <a:latin typeface="Inter"/>
                <a:cs typeface="Arial" panose="020B0604020202020204" pitchFamily="34" charset="0"/>
              </a:rPr>
              <a:t>Cut the list into quarters:</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lgn="l"/>
            <a:endParaRPr lang="en-US" sz="1800" dirty="0">
              <a:solidFill>
                <a:schemeClr val="bg2">
                  <a:lumMod val="50000"/>
                  <a:lumOff val="50000"/>
                </a:schemeClr>
              </a:solidFill>
              <a:latin typeface="Inter"/>
              <a:cs typeface="Arial" panose="020B0604020202020204" pitchFamily="34" charset="0"/>
            </a:endParaRPr>
          </a:p>
          <a:p>
            <a:pPr algn="l"/>
            <a:r>
              <a:rPr lang="en-US" sz="2000" dirty="0">
                <a:solidFill>
                  <a:schemeClr val="bg2">
                    <a:lumMod val="50000"/>
                    <a:lumOff val="50000"/>
                  </a:schemeClr>
                </a:solidFill>
                <a:latin typeface="Inter"/>
                <a:cs typeface="Arial" panose="020B0604020202020204" pitchFamily="34" charset="0"/>
              </a:rPr>
              <a:t>In this case Quartile 2 is halfway between 5 and 6:</a:t>
            </a:r>
          </a:p>
          <a:p>
            <a:pPr algn="l"/>
            <a:r>
              <a:rPr lang="en-US" sz="2000" dirty="0">
                <a:solidFill>
                  <a:schemeClr val="bg2">
                    <a:lumMod val="50000"/>
                    <a:lumOff val="50000"/>
                  </a:schemeClr>
                </a:solidFill>
                <a:latin typeface="Inter"/>
                <a:cs typeface="Arial" panose="020B0604020202020204" pitchFamily="34" charset="0"/>
              </a:rPr>
              <a:t>		Q2 = (5+6)/2 = 5.5</a:t>
            </a:r>
          </a:p>
          <a:p>
            <a:pPr algn="l"/>
            <a:r>
              <a:rPr lang="en-US" sz="2000" b="1" i="1" dirty="0">
                <a:solidFill>
                  <a:schemeClr val="bg2">
                    <a:lumMod val="50000"/>
                    <a:lumOff val="50000"/>
                  </a:schemeClr>
                </a:solidFill>
                <a:latin typeface="Inter"/>
                <a:cs typeface="Arial" panose="020B0604020202020204" pitchFamily="34" charset="0"/>
              </a:rPr>
              <a:t>And the result is:</a:t>
            </a:r>
          </a:p>
          <a:p>
            <a:pPr algn="l"/>
            <a:r>
              <a:rPr lang="en-US" sz="2000" dirty="0">
                <a:solidFill>
                  <a:schemeClr val="bg2">
                    <a:lumMod val="50000"/>
                    <a:lumOff val="50000"/>
                  </a:schemeClr>
                </a:solidFill>
                <a:latin typeface="Inter"/>
                <a:cs typeface="Arial" panose="020B0604020202020204" pitchFamily="34" charset="0"/>
              </a:rPr>
              <a:t>Quartile 1 (Q1) = 3</a:t>
            </a:r>
          </a:p>
          <a:p>
            <a:pPr algn="l"/>
            <a:r>
              <a:rPr lang="en-US" sz="2000" dirty="0">
                <a:solidFill>
                  <a:schemeClr val="bg2">
                    <a:lumMod val="50000"/>
                    <a:lumOff val="50000"/>
                  </a:schemeClr>
                </a:solidFill>
                <a:latin typeface="Inter"/>
                <a:cs typeface="Arial" panose="020B0604020202020204" pitchFamily="34" charset="0"/>
              </a:rPr>
              <a:t>Quartile 2 (Q2) = 5.5</a:t>
            </a:r>
          </a:p>
          <a:p>
            <a:pPr algn="l"/>
            <a:r>
              <a:rPr lang="en-US" sz="2000" dirty="0">
                <a:solidFill>
                  <a:schemeClr val="bg2">
                    <a:lumMod val="50000"/>
                    <a:lumOff val="50000"/>
                  </a:schemeClr>
                </a:solidFill>
                <a:latin typeface="Inter"/>
                <a:cs typeface="Arial" panose="020B0604020202020204" pitchFamily="34" charset="0"/>
              </a:rPr>
              <a:t>Quartile 3 (Q3) = 7</a:t>
            </a:r>
          </a:p>
          <a:p>
            <a:pPr marL="285750" indent="-285750" algn="l">
              <a:buFont typeface="Wingdings" panose="05000000000000000000" pitchFamily="2" charset="2"/>
              <a:buChar char="Ø"/>
            </a:pPr>
            <a:endParaRPr lang="en-US" sz="1800" dirty="0">
              <a:solidFill>
                <a:schemeClr val="bg2">
                  <a:lumMod val="50000"/>
                  <a:lumOff val="50000"/>
                </a:schemeClr>
              </a:solidFill>
              <a:latin typeface="Inter"/>
              <a:cs typeface="Arial" panose="020B060402020202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B8D3FA8A-E1F8-48C3-893C-09F0E75760C3}"/>
              </a:ext>
            </a:extLst>
          </p:cNvPr>
          <p:cNvPicPr>
            <a:picLocks noChangeAspect="1"/>
          </p:cNvPicPr>
          <p:nvPr/>
        </p:nvPicPr>
        <p:blipFill>
          <a:blip r:embed="rId2"/>
          <a:stretch>
            <a:fillRect/>
          </a:stretch>
        </p:blipFill>
        <p:spPr>
          <a:xfrm>
            <a:off x="4114800" y="1155395"/>
            <a:ext cx="4204561" cy="1515671"/>
          </a:xfrm>
          <a:prstGeom prst="rect">
            <a:avLst/>
          </a:prstGeom>
        </p:spPr>
      </p:pic>
    </p:spTree>
    <p:extLst>
      <p:ext uri="{BB962C8B-B14F-4D97-AF65-F5344CB8AC3E}">
        <p14:creationId xmlns:p14="http://schemas.microsoft.com/office/powerpoint/2010/main" val="480427111"/>
      </p:ext>
    </p:extLst>
  </p:cSld>
  <p:clrMapOvr>
    <a:masterClrMapping/>
  </p:clrMapOvr>
  <p:transition spd="med">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9C6A-64C3-4584-B1ED-A04DC1EC1D56}"/>
              </a:ext>
            </a:extLst>
          </p:cNvPr>
          <p:cNvSpPr>
            <a:spLocks noGrp="1"/>
          </p:cNvSpPr>
          <p:nvPr>
            <p:ph type="title"/>
          </p:nvPr>
        </p:nvSpPr>
        <p:spPr>
          <a:xfrm>
            <a:off x="0" y="0"/>
            <a:ext cx="9144000" cy="637794"/>
          </a:xfrm>
        </p:spPr>
        <p:txBody>
          <a:bodyPr/>
          <a:lstStyle/>
          <a:p>
            <a:r>
              <a:rPr lang="en-US" dirty="0"/>
              <a:t>How to find Q1, Q2, Q3 ? lets do a small example to get the understanding</a:t>
            </a:r>
            <a:br>
              <a:rPr lang="en-US" sz="1800" dirty="0">
                <a:effectLst/>
                <a:latin typeface="Calibri" panose="020F0502020204030204" pitchFamily="34" charset="0"/>
                <a:ea typeface="DengXian" panose="02010600030101010101" pitchFamily="2" charset="-122"/>
                <a:cs typeface="Times New Roman" panose="02020603050405020304" pitchFamily="18" charset="0"/>
              </a:rPr>
            </a:br>
            <a:endParaRPr lang="en-US" dirty="0"/>
          </a:p>
        </p:txBody>
      </p:sp>
    </p:spTree>
    <p:extLst>
      <p:ext uri="{BB962C8B-B14F-4D97-AF65-F5344CB8AC3E}">
        <p14:creationId xmlns:p14="http://schemas.microsoft.com/office/powerpoint/2010/main" val="770549809"/>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3DDF7-9977-4F1F-89F2-D84EB59C0B3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EC723DC2-7B90-4304-AAC3-E683C7BC140B}"/>
              </a:ext>
            </a:extLst>
          </p:cNvPr>
          <p:cNvSpPr txBox="1"/>
          <p:nvPr/>
        </p:nvSpPr>
        <p:spPr>
          <a:xfrm>
            <a:off x="0" y="637794"/>
            <a:ext cx="9060238" cy="1846659"/>
          </a:xfrm>
          <a:prstGeom prst="rect">
            <a:avLst/>
          </a:prstGeom>
          <a:noFill/>
        </p:spPr>
        <p:txBody>
          <a:bodyPr wrap="square" rtlCol="0">
            <a:spAutoFit/>
          </a:bodyPr>
          <a:lstStyle/>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The</a:t>
            </a:r>
            <a:r>
              <a:rPr lang="en-US" sz="2000"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 </a:t>
            </a:r>
            <a:r>
              <a:rPr lang="en-US" sz="2000" b="1" dirty="0">
                <a:solidFill>
                  <a:schemeClr val="bg2">
                    <a:lumMod val="50000"/>
                    <a:lumOff val="50000"/>
                  </a:schemeClr>
                </a:solidFill>
                <a:latin typeface="Inter"/>
                <a:cs typeface="Arial" panose="020B0604020202020204" pitchFamily="34" charset="0"/>
                <a:hlinkClick r:id="rId2">
                  <a:extLst>
                    <a:ext uri="{A12FA001-AC4F-418D-AE19-62706E023703}">
                      <ahyp:hlinkClr xmlns:ahyp="http://schemas.microsoft.com/office/drawing/2018/hyperlinkcolor" val="tx"/>
                    </a:ext>
                  </a:extLst>
                </a:hlinkClick>
              </a:rPr>
              <a:t>interquartile range</a:t>
            </a:r>
            <a:r>
              <a:rPr lang="en-US" sz="2000" b="1" dirty="0">
                <a:solidFill>
                  <a:schemeClr val="bg2">
                    <a:lumMod val="50000"/>
                    <a:lumOff val="50000"/>
                  </a:schemeClr>
                </a:solidFill>
                <a:latin typeface="Inter"/>
                <a:cs typeface="Arial" panose="020B0604020202020204" pitchFamily="34" charset="0"/>
              </a:rPr>
              <a:t> </a:t>
            </a:r>
            <a:r>
              <a:rPr lang="en-US" sz="2000" dirty="0">
                <a:solidFill>
                  <a:schemeClr val="bg2">
                    <a:lumMod val="50000"/>
                    <a:lumOff val="50000"/>
                  </a:schemeClr>
                </a:solidFill>
                <a:latin typeface="Inter"/>
                <a:cs typeface="Arial" panose="020B0604020202020204" pitchFamily="34" charset="0"/>
              </a:rPr>
              <a:t>gives you the spread of the middle of your distribution.</a:t>
            </a:r>
          </a:p>
          <a:p>
            <a:pPr marL="342900" indent="-342900" algn="l">
              <a:buFont typeface="Wingdings" panose="05000000000000000000" pitchFamily="2" charset="2"/>
              <a:buChar char="Ø"/>
            </a:pPr>
            <a:endParaRPr lang="en-US" sz="2000" dirty="0">
              <a:solidFill>
                <a:schemeClr val="bg2">
                  <a:lumMod val="50000"/>
                  <a:lumOff val="50000"/>
                </a:schemeClr>
              </a:solidFill>
              <a:latin typeface="Inter"/>
              <a:cs typeface="Arial" panose="020B0604020202020204" pitchFamily="34" charset="0"/>
            </a:endParaRPr>
          </a:p>
          <a:p>
            <a:pPr marL="342900" indent="-342900" algn="l">
              <a:buFont typeface="Wingdings" panose="05000000000000000000" pitchFamily="2" charset="2"/>
              <a:buChar char="Ø"/>
            </a:pPr>
            <a:r>
              <a:rPr lang="en-US" sz="2000" dirty="0">
                <a:solidFill>
                  <a:schemeClr val="bg2">
                    <a:lumMod val="50000"/>
                    <a:lumOff val="50000"/>
                  </a:schemeClr>
                </a:solidFill>
                <a:latin typeface="Inter"/>
                <a:cs typeface="Arial" panose="020B0604020202020204" pitchFamily="34" charset="0"/>
              </a:rPr>
              <a:t>For any distribution that’s ordered from low to high, the interquartile range contains half of the values. While the first quartile (Q1) contains the first 25% of values, the fourth quartile (Q4) contains the last 25% of values.</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D92FD61A-25F3-4C72-BB82-FCCE08F21D34}"/>
              </a:ext>
            </a:extLst>
          </p:cNvPr>
          <p:cNvPicPr>
            <a:picLocks noChangeAspect="1"/>
          </p:cNvPicPr>
          <p:nvPr/>
        </p:nvPicPr>
        <p:blipFill>
          <a:blip r:embed="rId3"/>
          <a:stretch>
            <a:fillRect/>
          </a:stretch>
        </p:blipFill>
        <p:spPr>
          <a:xfrm>
            <a:off x="2287928" y="2661167"/>
            <a:ext cx="4043392" cy="2032355"/>
          </a:xfrm>
          <a:prstGeom prst="rect">
            <a:avLst/>
          </a:prstGeom>
        </p:spPr>
      </p:pic>
    </p:spTree>
    <p:extLst>
      <p:ext uri="{BB962C8B-B14F-4D97-AF65-F5344CB8AC3E}">
        <p14:creationId xmlns:p14="http://schemas.microsoft.com/office/powerpoint/2010/main" val="1056268501"/>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6D149-A19F-47BE-87C4-806F1BF7BC68}"/>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C999203-3FC5-457B-83C4-A1677B14ED3D}"/>
              </a:ext>
            </a:extLst>
          </p:cNvPr>
          <p:cNvSpPr txBox="1"/>
          <p:nvPr/>
        </p:nvSpPr>
        <p:spPr>
          <a:xfrm>
            <a:off x="0" y="725937"/>
            <a:ext cx="9144000" cy="1169551"/>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you have 8 data points from Sample A</a:t>
            </a:r>
          </a:p>
          <a:p>
            <a:pPr>
              <a:spcBef>
                <a:spcPts val="0"/>
              </a:spcBef>
              <a:spcAft>
                <a:spcPts val="0"/>
              </a:spcAft>
              <a:buClr>
                <a:schemeClr val="bg1"/>
              </a:buClr>
            </a:pPr>
            <a:endParaRPr lang="en-US" sz="1400" dirty="0">
              <a:solidFill>
                <a:srgbClr val="0D405F"/>
              </a:solidFill>
              <a:latin typeface="Inter"/>
            </a:endParaRPr>
          </a:p>
          <a:p>
            <a:pPr>
              <a:spcBef>
                <a:spcPts val="0"/>
              </a:spcBef>
              <a:spcAft>
                <a:spcPts val="0"/>
              </a:spcAft>
              <a:buClr>
                <a:schemeClr val="bg1"/>
              </a:buClr>
            </a:pPr>
            <a:r>
              <a:rPr lang="en-US" sz="1400" b="1" dirty="0">
                <a:solidFill>
                  <a:schemeClr val="accent1"/>
                </a:solidFill>
                <a:latin typeface="Inter"/>
              </a:rPr>
              <a:t>Data (Minutes) 	72	110	134	190	238	287	305	324</a:t>
            </a:r>
            <a:endParaRPr lang="en-US" sz="1800" b="1" dirty="0">
              <a:solidFill>
                <a:schemeClr val="accent1"/>
              </a:solidFill>
              <a:latin typeface="+mn-lt"/>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015857233"/>
      </p:ext>
    </p:extLst>
  </p:cSld>
  <p:clrMapOvr>
    <a:masterClrMapping/>
  </p:clrMapOvr>
  <p:transition spd="med">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6A2A-E07A-42CE-BF96-41BC3D022BD0}"/>
              </a:ext>
            </a:extLst>
          </p:cNvPr>
          <p:cNvSpPr>
            <a:spLocks noGrp="1"/>
          </p:cNvSpPr>
          <p:nvPr>
            <p:ph type="title"/>
          </p:nvPr>
        </p:nvSpPr>
        <p:spPr>
          <a:xfrm>
            <a:off x="0" y="0"/>
            <a:ext cx="8229600" cy="637794"/>
          </a:xfrm>
        </p:spPr>
        <p:txBody>
          <a:bodyPr/>
          <a:lstStyle/>
          <a:p>
            <a:r>
              <a:rPr lang="en-US" dirty="0"/>
              <a:t>Interquartile Range</a:t>
            </a:r>
          </a:p>
        </p:txBody>
      </p:sp>
      <p:sp>
        <p:nvSpPr>
          <p:cNvPr id="3" name="TextBox 2">
            <a:extLst>
              <a:ext uri="{FF2B5EF4-FFF2-40B4-BE49-F238E27FC236}">
                <a16:creationId xmlns:a16="http://schemas.microsoft.com/office/drawing/2014/main" id="{AB8E5736-46E3-4A0C-8877-A0E746A30E1C}"/>
              </a:ext>
            </a:extLst>
          </p:cNvPr>
          <p:cNvSpPr txBox="1"/>
          <p:nvPr/>
        </p:nvSpPr>
        <p:spPr>
          <a:xfrm>
            <a:off x="56087" y="582111"/>
            <a:ext cx="8117426" cy="954107"/>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2">
                    <a:lumMod val="50000"/>
                    <a:lumOff val="50000"/>
                  </a:schemeClr>
                </a:solidFill>
                <a:latin typeface="Inter"/>
                <a:cs typeface="Arial" panose="020B0604020202020204" pitchFamily="34" charset="0"/>
              </a:rPr>
              <a:t>Ex : To calculate it just subtract Quartile 1 from Quartile 3, like this:</a:t>
            </a:r>
          </a:p>
        </p:txBody>
      </p:sp>
      <p:pic>
        <p:nvPicPr>
          <p:cNvPr id="5" name="Picture 4">
            <a:extLst>
              <a:ext uri="{FF2B5EF4-FFF2-40B4-BE49-F238E27FC236}">
                <a16:creationId xmlns:a16="http://schemas.microsoft.com/office/drawing/2014/main" id="{88C503D7-DF26-4859-ABAA-04EB3D0015F5}"/>
              </a:ext>
            </a:extLst>
          </p:cNvPr>
          <p:cNvPicPr>
            <a:picLocks noChangeAspect="1"/>
          </p:cNvPicPr>
          <p:nvPr/>
        </p:nvPicPr>
        <p:blipFill>
          <a:blip r:embed="rId2"/>
          <a:stretch>
            <a:fillRect/>
          </a:stretch>
        </p:blipFill>
        <p:spPr>
          <a:xfrm>
            <a:off x="1571517" y="1726261"/>
            <a:ext cx="4166170" cy="1881022"/>
          </a:xfrm>
          <a:prstGeom prst="rect">
            <a:avLst/>
          </a:prstGeom>
        </p:spPr>
      </p:pic>
      <p:sp>
        <p:nvSpPr>
          <p:cNvPr id="6" name="TextBox 5">
            <a:extLst>
              <a:ext uri="{FF2B5EF4-FFF2-40B4-BE49-F238E27FC236}">
                <a16:creationId xmlns:a16="http://schemas.microsoft.com/office/drawing/2014/main" id="{F8E18E6A-F867-4A4B-A86D-75A83FA49F2F}"/>
              </a:ext>
            </a:extLst>
          </p:cNvPr>
          <p:cNvSpPr txBox="1"/>
          <p:nvPr/>
        </p:nvSpPr>
        <p:spPr>
          <a:xfrm>
            <a:off x="237325" y="3869546"/>
            <a:ext cx="6707927" cy="646331"/>
          </a:xfrm>
          <a:prstGeom prst="rect">
            <a:avLst/>
          </a:prstGeom>
          <a:noFill/>
        </p:spPr>
        <p:txBody>
          <a:bodyPr wrap="square" rtlCol="0">
            <a:spAutoFit/>
          </a:bodyPr>
          <a:lstStyle/>
          <a:p>
            <a:pPr algn="l"/>
            <a:r>
              <a:rPr lang="en-US" sz="1100" b="0" i="0" dirty="0">
                <a:solidFill>
                  <a:schemeClr val="bg2">
                    <a:lumMod val="50000"/>
                    <a:lumOff val="50000"/>
                  </a:schemeClr>
                </a:solidFill>
                <a:effectLst/>
                <a:latin typeface="Verdana" panose="020B0604030504040204" pitchFamily="34" charset="0"/>
              </a:rPr>
              <a:t>The </a:t>
            </a:r>
            <a:r>
              <a:rPr lang="en-US" sz="1100" b="1" i="0" dirty="0">
                <a:solidFill>
                  <a:schemeClr val="bg2">
                    <a:lumMod val="50000"/>
                    <a:lumOff val="50000"/>
                  </a:schemeClr>
                </a:solidFill>
                <a:effectLst/>
                <a:latin typeface="Verdana" panose="020B0604030504040204" pitchFamily="34" charset="0"/>
              </a:rPr>
              <a:t>Interquartile Range</a:t>
            </a:r>
            <a:r>
              <a:rPr lang="en-US" sz="1100" b="0" i="0" dirty="0">
                <a:solidFill>
                  <a:schemeClr val="bg2">
                    <a:lumMod val="50000"/>
                    <a:lumOff val="50000"/>
                  </a:schemeClr>
                </a:solidFill>
                <a:effectLst/>
                <a:latin typeface="Verdana" panose="020B0604030504040204" pitchFamily="34" charset="0"/>
              </a:rPr>
              <a:t> is:</a:t>
            </a:r>
          </a:p>
          <a:p>
            <a:pPr algn="ctr"/>
            <a:r>
              <a:rPr lang="en-US" sz="1100" b="0" i="0" dirty="0">
                <a:solidFill>
                  <a:schemeClr val="bg2">
                    <a:lumMod val="50000"/>
                    <a:lumOff val="50000"/>
                  </a:schemeClr>
                </a:solidFill>
                <a:effectLst/>
                <a:latin typeface="Verdana" panose="020B0604030504040204" pitchFamily="34" charset="0"/>
              </a:rPr>
              <a:t>Q3 − Q1 = 7 − 4 = </a:t>
            </a:r>
            <a:r>
              <a:rPr lang="en-US" sz="1100" b="1" i="0" dirty="0">
                <a:solidFill>
                  <a:schemeClr val="bg2">
                    <a:lumMod val="50000"/>
                    <a:lumOff val="50000"/>
                  </a:schemeClr>
                </a:solidFill>
                <a:effectLst/>
                <a:latin typeface="Verdana" panose="020B0604030504040204" pitchFamily="34" charset="0"/>
              </a:rPr>
              <a:t>3</a:t>
            </a:r>
            <a:endParaRPr lang="en-US" sz="11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597251860"/>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706E-BE1F-4177-844F-8FEA64AD4A0C}"/>
              </a:ext>
            </a:extLst>
          </p:cNvPr>
          <p:cNvSpPr>
            <a:spLocks noGrp="1"/>
          </p:cNvSpPr>
          <p:nvPr>
            <p:ph type="title"/>
          </p:nvPr>
        </p:nvSpPr>
        <p:spPr>
          <a:xfrm>
            <a:off x="143093" y="105430"/>
            <a:ext cx="8229600" cy="637794"/>
          </a:xfrm>
        </p:spPr>
        <p:txBody>
          <a:bodyPr/>
          <a:lstStyle/>
          <a:p>
            <a:r>
              <a:rPr lang="en-US" dirty="0"/>
              <a:t>Worksheet</a:t>
            </a:r>
          </a:p>
        </p:txBody>
      </p:sp>
    </p:spTree>
    <p:extLst>
      <p:ext uri="{BB962C8B-B14F-4D97-AF65-F5344CB8AC3E}">
        <p14:creationId xmlns:p14="http://schemas.microsoft.com/office/powerpoint/2010/main" val="2405108307"/>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2B98-D68B-4822-8A33-AA6F189B8061}"/>
              </a:ext>
            </a:extLst>
          </p:cNvPr>
          <p:cNvSpPr>
            <a:spLocks noGrp="1"/>
          </p:cNvSpPr>
          <p:nvPr>
            <p:ph type="title"/>
          </p:nvPr>
        </p:nvSpPr>
        <p:spPr>
          <a:xfrm>
            <a:off x="0" y="56569"/>
            <a:ext cx="8229600" cy="637794"/>
          </a:xfrm>
        </p:spPr>
        <p:txBody>
          <a:bodyPr/>
          <a:lstStyle/>
          <a:p>
            <a:r>
              <a:rPr lang="en-US" dirty="0"/>
              <a:t>Box and Whiskers Plot</a:t>
            </a:r>
          </a:p>
        </p:txBody>
      </p:sp>
      <p:sp>
        <p:nvSpPr>
          <p:cNvPr id="3" name="TextBox 2">
            <a:extLst>
              <a:ext uri="{FF2B5EF4-FFF2-40B4-BE49-F238E27FC236}">
                <a16:creationId xmlns:a16="http://schemas.microsoft.com/office/drawing/2014/main" id="{5CE3D9A2-4611-47A0-ADFC-F45B7CD82AC5}"/>
              </a:ext>
            </a:extLst>
          </p:cNvPr>
          <p:cNvSpPr txBox="1"/>
          <p:nvPr/>
        </p:nvSpPr>
        <p:spPr>
          <a:xfrm>
            <a:off x="181482" y="694363"/>
            <a:ext cx="7664209"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We can show all the important values in a "Box and Whisker Plot", like this:</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CFC2D9A-0771-4355-9746-A1CDB752DECD}"/>
              </a:ext>
            </a:extLst>
          </p:cNvPr>
          <p:cNvPicPr>
            <a:picLocks noChangeAspect="1"/>
          </p:cNvPicPr>
          <p:nvPr/>
        </p:nvPicPr>
        <p:blipFill>
          <a:blip r:embed="rId2"/>
          <a:stretch>
            <a:fillRect/>
          </a:stretch>
        </p:blipFill>
        <p:spPr>
          <a:xfrm>
            <a:off x="1771177" y="1639934"/>
            <a:ext cx="4280615" cy="1314520"/>
          </a:xfrm>
          <a:prstGeom prst="rect">
            <a:avLst/>
          </a:prstGeom>
        </p:spPr>
      </p:pic>
    </p:spTree>
    <p:extLst>
      <p:ext uri="{BB962C8B-B14F-4D97-AF65-F5344CB8AC3E}">
        <p14:creationId xmlns:p14="http://schemas.microsoft.com/office/powerpoint/2010/main" val="47765115"/>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12247"/>
      </p:ext>
    </p:extLst>
  </p:cSld>
  <p:clrMapOvr>
    <a:masterClrMapping/>
  </p:clrMapOvr>
  <p:transition spd="med">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F826E-42FE-413B-94F5-930FD1324A21}"/>
              </a:ext>
            </a:extLst>
          </p:cNvPr>
          <p:cNvSpPr>
            <a:spLocks noGrp="1"/>
          </p:cNvSpPr>
          <p:nvPr>
            <p:ph type="title"/>
          </p:nvPr>
        </p:nvSpPr>
        <p:spPr>
          <a:xfrm>
            <a:off x="0" y="0"/>
            <a:ext cx="9144000" cy="637794"/>
          </a:xfrm>
        </p:spPr>
        <p:txBody>
          <a:bodyPr/>
          <a:lstStyle/>
          <a:p>
            <a:r>
              <a:rPr lang="en-US" dirty="0"/>
              <a:t>Putting it all together – Quartiles &amp; Box and Whisker Plot</a:t>
            </a:r>
          </a:p>
        </p:txBody>
      </p:sp>
      <p:sp>
        <p:nvSpPr>
          <p:cNvPr id="3" name="TextBox 2">
            <a:extLst>
              <a:ext uri="{FF2B5EF4-FFF2-40B4-BE49-F238E27FC236}">
                <a16:creationId xmlns:a16="http://schemas.microsoft.com/office/drawing/2014/main" id="{732EC174-2DD3-4269-88F1-B18EC6E5775D}"/>
              </a:ext>
            </a:extLst>
          </p:cNvPr>
          <p:cNvSpPr txBox="1"/>
          <p:nvPr/>
        </p:nvSpPr>
        <p:spPr>
          <a:xfrm>
            <a:off x="69801" y="401925"/>
            <a:ext cx="8550687" cy="4508927"/>
          </a:xfrm>
          <a:prstGeom prst="rect">
            <a:avLst/>
          </a:prstGeom>
          <a:noFill/>
        </p:spPr>
        <p:txBody>
          <a:bodyPr wrap="square" rtlCol="0">
            <a:spAutoFit/>
          </a:bodyPr>
          <a:lstStyle/>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Example: </a:t>
            </a:r>
            <a:r>
              <a:rPr lang="en-US" sz="1100" b="1" i="0" dirty="0">
                <a:solidFill>
                  <a:schemeClr val="bg2">
                    <a:lumMod val="50000"/>
                    <a:lumOff val="50000"/>
                  </a:schemeClr>
                </a:solidFill>
                <a:effectLst/>
                <a:latin typeface="Verdana" panose="020B0604030504040204" pitchFamily="34" charset="0"/>
              </a:rPr>
              <a:t>Box and Whisker Plot and Interquartile Range</a:t>
            </a:r>
            <a:r>
              <a:rPr lang="en-US" sz="1100" b="0" i="0" dirty="0">
                <a:solidFill>
                  <a:schemeClr val="bg2">
                    <a:lumMod val="50000"/>
                    <a:lumOff val="50000"/>
                  </a:schemeClr>
                </a:solidFill>
                <a:effectLst/>
                <a:latin typeface="Verdana" panose="020B0604030504040204" pitchFamily="34" charset="0"/>
              </a:rPr>
              <a:t> for</a:t>
            </a:r>
          </a:p>
          <a:p>
            <a:pPr algn="l"/>
            <a:endParaRPr lang="en-US" sz="1100" dirty="0">
              <a:solidFill>
                <a:schemeClr val="bg2">
                  <a:lumMod val="50000"/>
                  <a:lumOff val="50000"/>
                </a:schemeClr>
              </a:solidFill>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4, 17, 7, 14, 18, 12, 3, 16, 10, 4, 4, 11</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Put them in order:   </a:t>
            </a:r>
            <a:r>
              <a:rPr lang="en-US" sz="1100" b="0" i="0" dirty="0">
                <a:solidFill>
                  <a:schemeClr val="bg2">
                    <a:lumMod val="50000"/>
                    <a:lumOff val="50000"/>
                  </a:schemeClr>
                </a:solidFill>
                <a:effectLst/>
                <a:latin typeface="Verdana" panose="020B0604030504040204" pitchFamily="34" charset="0"/>
              </a:rPr>
              <a:t>3, 4, 4, 4, 7, 10, 11, 12, 14, 16, 17, 18</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1" i="0" dirty="0">
                <a:solidFill>
                  <a:schemeClr val="bg2">
                    <a:lumMod val="50000"/>
                    <a:lumOff val="50000"/>
                  </a:schemeClr>
                </a:solidFill>
                <a:effectLst/>
                <a:latin typeface="Verdana" panose="020B0604030504040204" pitchFamily="34" charset="0"/>
              </a:rPr>
              <a:t>Cut it into quarters:  </a:t>
            </a:r>
            <a:r>
              <a:rPr lang="en-US" sz="1100" b="0" i="0" dirty="0">
                <a:solidFill>
                  <a:schemeClr val="bg2">
                    <a:lumMod val="50000"/>
                    <a:lumOff val="50000"/>
                  </a:schemeClr>
                </a:solidFill>
                <a:effectLst/>
                <a:latin typeface="Verdana" panose="020B0604030504040204" pitchFamily="34" charset="0"/>
              </a:rPr>
              <a:t>3, 4, 4 | 4, 7, 10 | 11, 12, 14 | 16, 17, 18</a:t>
            </a:r>
          </a:p>
          <a:p>
            <a:pPr algn="l"/>
            <a:endParaRPr lang="en-US" sz="1100" b="0" i="0" dirty="0">
              <a:solidFill>
                <a:schemeClr val="bg2">
                  <a:lumMod val="50000"/>
                  <a:lumOff val="50000"/>
                </a:schemeClr>
              </a:solidFill>
              <a:effectLst/>
              <a:latin typeface="Verdana" panose="020B0604030504040204" pitchFamily="34" charset="0"/>
            </a:endParaRP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In this case all the quartiles are between numbers:</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1 (Q1) = (4+4)/2 = </a:t>
            </a:r>
            <a:r>
              <a:rPr lang="en-US" sz="1100" b="1" i="0" dirty="0">
                <a:solidFill>
                  <a:schemeClr val="bg2">
                    <a:lumMod val="50000"/>
                    <a:lumOff val="50000"/>
                  </a:schemeClr>
                </a:solidFill>
                <a:effectLst/>
                <a:latin typeface="Verdana" panose="020B0604030504040204" pitchFamily="34" charset="0"/>
              </a:rPr>
              <a:t>4</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2 (Q2) = (10+11)/2 = </a:t>
            </a:r>
            <a:r>
              <a:rPr lang="en-US" sz="1100" b="1" i="0" dirty="0">
                <a:solidFill>
                  <a:schemeClr val="bg2">
                    <a:lumMod val="50000"/>
                    <a:lumOff val="50000"/>
                  </a:schemeClr>
                </a:solidFill>
                <a:effectLst/>
                <a:latin typeface="Verdana" panose="020B0604030504040204" pitchFamily="34" charset="0"/>
              </a:rPr>
              <a:t>10.5</a:t>
            </a:r>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Quartile 3 (Q3) = (14+16)/2 = </a:t>
            </a:r>
            <a:r>
              <a:rPr lang="en-US" sz="1100" b="1" i="0" dirty="0">
                <a:solidFill>
                  <a:schemeClr val="bg2">
                    <a:lumMod val="50000"/>
                    <a:lumOff val="50000"/>
                  </a:schemeClr>
                </a:solidFill>
                <a:effectLst/>
                <a:latin typeface="Verdana" panose="020B0604030504040204" pitchFamily="34" charset="0"/>
              </a:rPr>
              <a:t>15</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Also:</a:t>
            </a:r>
          </a:p>
          <a:p>
            <a:pPr algn="l"/>
            <a:endParaRPr lang="en-US" sz="1100" b="0" i="0" dirty="0">
              <a:solidFill>
                <a:schemeClr val="bg2">
                  <a:lumMod val="50000"/>
                  <a:lumOff val="50000"/>
                </a:schemeClr>
              </a:solidFill>
              <a:effectLst/>
              <a:latin typeface="Verdana" panose="020B0604030504040204" pitchFamily="34" charset="0"/>
            </a:endParaRPr>
          </a:p>
          <a:p>
            <a:pPr algn="l"/>
            <a:r>
              <a:rPr lang="en-US" sz="1100" b="0" i="0" dirty="0">
                <a:solidFill>
                  <a:schemeClr val="bg2">
                    <a:lumMod val="50000"/>
                    <a:lumOff val="50000"/>
                  </a:schemeClr>
                </a:solidFill>
                <a:effectLst/>
                <a:latin typeface="Verdana" panose="020B0604030504040204" pitchFamily="34" charset="0"/>
              </a:rPr>
              <a:t>The Lowest Value is </a:t>
            </a:r>
            <a:r>
              <a:rPr lang="en-US" sz="1100" b="1" i="0" dirty="0">
                <a:solidFill>
                  <a:schemeClr val="bg2">
                    <a:lumMod val="50000"/>
                    <a:lumOff val="50000"/>
                  </a:schemeClr>
                </a:solidFill>
                <a:effectLst/>
                <a:latin typeface="Verdana" panose="020B0604030504040204" pitchFamily="34" charset="0"/>
              </a:rPr>
              <a:t>3</a:t>
            </a:r>
            <a:r>
              <a:rPr lang="en-US" sz="1100" b="0" i="0" dirty="0">
                <a:solidFill>
                  <a:schemeClr val="bg2">
                    <a:lumMod val="50000"/>
                    <a:lumOff val="50000"/>
                  </a:schemeClr>
                </a:solidFill>
                <a:effectLst/>
                <a:latin typeface="Verdana" panose="020B0604030504040204" pitchFamily="34" charset="0"/>
              </a:rPr>
              <a:t>,</a:t>
            </a:r>
          </a:p>
          <a:p>
            <a:pPr algn="l"/>
            <a:r>
              <a:rPr lang="en-US" sz="1100" b="0" i="0" dirty="0">
                <a:solidFill>
                  <a:schemeClr val="bg2">
                    <a:lumMod val="50000"/>
                    <a:lumOff val="50000"/>
                  </a:schemeClr>
                </a:solidFill>
                <a:effectLst/>
                <a:latin typeface="Verdana" panose="020B0604030504040204" pitchFamily="34" charset="0"/>
              </a:rPr>
              <a:t>The Highest Value is </a:t>
            </a:r>
            <a:r>
              <a:rPr lang="en-US" sz="1100" b="1" i="0" dirty="0">
                <a:solidFill>
                  <a:schemeClr val="bg2">
                    <a:lumMod val="50000"/>
                    <a:lumOff val="50000"/>
                  </a:schemeClr>
                </a:solidFill>
                <a:effectLst/>
                <a:latin typeface="Verdana" panose="020B0604030504040204" pitchFamily="34" charset="0"/>
              </a:rPr>
              <a:t>18</a:t>
            </a:r>
          </a:p>
          <a:p>
            <a:pPr algn="l"/>
            <a:endParaRPr lang="en-US" sz="1100" b="1" dirty="0">
              <a:solidFill>
                <a:schemeClr val="bg2">
                  <a:lumMod val="50000"/>
                  <a:lumOff val="50000"/>
                </a:schemeClr>
              </a:solidFill>
              <a:latin typeface="Verdana" panose="020B0604030504040204" pitchFamily="34" charset="0"/>
            </a:endParaRPr>
          </a:p>
          <a:p>
            <a:pPr algn="l"/>
            <a:endParaRPr lang="en-US" sz="1100" b="1" i="0" dirty="0">
              <a:solidFill>
                <a:schemeClr val="bg2">
                  <a:lumMod val="50000"/>
                  <a:lumOff val="50000"/>
                </a:schemeClr>
              </a:solidFill>
              <a:effectLst/>
              <a:latin typeface="Verdana" panose="020B0604030504040204" pitchFamily="34" charset="0"/>
            </a:endParaRPr>
          </a:p>
          <a:p>
            <a:pPr algn="l"/>
            <a:endParaRPr lang="en-US" sz="1000" b="0" i="0" dirty="0">
              <a:solidFill>
                <a:schemeClr val="bg2">
                  <a:lumMod val="50000"/>
                  <a:lumOff val="50000"/>
                </a:schemeClr>
              </a:solidFill>
              <a:effectLst/>
              <a:latin typeface="Verdana" panose="020B0604030504040204" pitchFamily="34" charset="0"/>
            </a:endParaRPr>
          </a:p>
          <a:p>
            <a:pPr algn="l"/>
            <a:r>
              <a:rPr lang="en-US" sz="1000" b="0" i="0" dirty="0">
                <a:solidFill>
                  <a:schemeClr val="bg2">
                    <a:lumMod val="50000"/>
                    <a:lumOff val="50000"/>
                  </a:schemeClr>
                </a:solidFill>
                <a:effectLst/>
                <a:latin typeface="Verdana" panose="020B0604030504040204" pitchFamily="34" charset="0"/>
              </a:rPr>
              <a:t>And the </a:t>
            </a:r>
            <a:r>
              <a:rPr lang="en-US" sz="1000" b="1" i="0" dirty="0">
                <a:solidFill>
                  <a:schemeClr val="bg2">
                    <a:lumMod val="50000"/>
                    <a:lumOff val="50000"/>
                  </a:schemeClr>
                </a:solidFill>
                <a:effectLst/>
                <a:latin typeface="Verdana" panose="020B0604030504040204" pitchFamily="34" charset="0"/>
              </a:rPr>
              <a:t>Interquartile Range</a:t>
            </a:r>
            <a:r>
              <a:rPr lang="en-US" sz="1000" b="0" i="0" dirty="0">
                <a:solidFill>
                  <a:schemeClr val="bg2">
                    <a:lumMod val="50000"/>
                    <a:lumOff val="50000"/>
                  </a:schemeClr>
                </a:solidFill>
                <a:effectLst/>
                <a:latin typeface="Verdana" panose="020B0604030504040204" pitchFamily="34" charset="0"/>
              </a:rPr>
              <a:t> is:  Q3 − Q1 = 15 − 4 = </a:t>
            </a:r>
            <a:r>
              <a:rPr lang="en-US" sz="1000" b="1" i="0" dirty="0">
                <a:solidFill>
                  <a:schemeClr val="bg2">
                    <a:lumMod val="50000"/>
                    <a:lumOff val="50000"/>
                  </a:schemeClr>
                </a:solidFill>
                <a:effectLst/>
                <a:latin typeface="Verdana" panose="020B0604030504040204" pitchFamily="34" charset="0"/>
              </a:rPr>
              <a:t>11</a:t>
            </a:r>
            <a:endParaRPr lang="en-US" sz="1000" b="0" i="0" dirty="0">
              <a:solidFill>
                <a:schemeClr val="bg2">
                  <a:lumMod val="50000"/>
                  <a:lumOff val="50000"/>
                </a:schemeClr>
              </a:solidFill>
              <a:effectLst/>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855912B2-43D3-466B-8818-DA5069B7543D}"/>
              </a:ext>
            </a:extLst>
          </p:cNvPr>
          <p:cNvPicPr>
            <a:picLocks noChangeAspect="1"/>
          </p:cNvPicPr>
          <p:nvPr/>
        </p:nvPicPr>
        <p:blipFill>
          <a:blip r:embed="rId2"/>
          <a:stretch>
            <a:fillRect/>
          </a:stretch>
        </p:blipFill>
        <p:spPr>
          <a:xfrm>
            <a:off x="2563059" y="3011718"/>
            <a:ext cx="6388986" cy="1080553"/>
          </a:xfrm>
          <a:prstGeom prst="rect">
            <a:avLst/>
          </a:prstGeom>
        </p:spPr>
      </p:pic>
      <p:sp>
        <p:nvSpPr>
          <p:cNvPr id="6" name="Rectangle 5">
            <a:extLst>
              <a:ext uri="{FF2B5EF4-FFF2-40B4-BE49-F238E27FC236}">
                <a16:creationId xmlns:a16="http://schemas.microsoft.com/office/drawing/2014/main" id="{78A0F166-87FB-4E04-AA2E-A971A56754AB}"/>
              </a:ext>
            </a:extLst>
          </p:cNvPr>
          <p:cNvSpPr/>
          <p:nvPr/>
        </p:nvSpPr>
        <p:spPr>
          <a:xfrm>
            <a:off x="69801" y="4174131"/>
            <a:ext cx="4020568" cy="432770"/>
          </a:xfrm>
          <a:prstGeom prst="rect">
            <a:avLst/>
          </a:prstGeom>
          <a:noFill/>
          <a:ln w="19050"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053432518"/>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7FB37-7364-4C6E-8104-4B3F120F068C}"/>
              </a:ext>
            </a:extLst>
          </p:cNvPr>
          <p:cNvSpPr>
            <a:spLocks noGrp="1"/>
          </p:cNvSpPr>
          <p:nvPr>
            <p:ph type="title"/>
          </p:nvPr>
        </p:nvSpPr>
        <p:spPr>
          <a:xfrm>
            <a:off x="0" y="0"/>
            <a:ext cx="8229600" cy="637794"/>
          </a:xfrm>
        </p:spPr>
        <p:txBody>
          <a:bodyPr/>
          <a:lstStyle/>
          <a:p>
            <a:r>
              <a:rPr lang="en-US" dirty="0"/>
              <a:t>Quartile – Five-number summary</a:t>
            </a:r>
          </a:p>
        </p:txBody>
      </p:sp>
      <p:sp>
        <p:nvSpPr>
          <p:cNvPr id="3" name="TextBox 2">
            <a:extLst>
              <a:ext uri="{FF2B5EF4-FFF2-40B4-BE49-F238E27FC236}">
                <a16:creationId xmlns:a16="http://schemas.microsoft.com/office/drawing/2014/main" id="{6AA95D92-9A44-4080-BA36-19FFE96B6405}"/>
              </a:ext>
            </a:extLst>
          </p:cNvPr>
          <p:cNvSpPr txBox="1"/>
          <p:nvPr/>
        </p:nvSpPr>
        <p:spPr>
          <a:xfrm>
            <a:off x="0" y="809698"/>
            <a:ext cx="8927615" cy="2862322"/>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very distribution can be organized using a five-number summary:</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Lowest value</a:t>
            </a:r>
          </a:p>
          <a:p>
            <a:pPr>
              <a:spcBef>
                <a:spcPts val="0"/>
              </a:spcBef>
              <a:spcAft>
                <a:spcPts val="0"/>
              </a:spcAft>
              <a:buClr>
                <a:schemeClr val="bg1"/>
              </a:buClr>
            </a:pPr>
            <a:r>
              <a:rPr lang="en-US" sz="1800" dirty="0">
                <a:solidFill>
                  <a:schemeClr val="bg2">
                    <a:lumMod val="50000"/>
                    <a:lumOff val="50000"/>
                  </a:schemeClr>
                </a:solidFill>
                <a:latin typeface="+mn-lt"/>
              </a:rPr>
              <a:t>Q1: 25th percentile</a:t>
            </a:r>
          </a:p>
          <a:p>
            <a:pPr>
              <a:spcBef>
                <a:spcPts val="0"/>
              </a:spcBef>
              <a:spcAft>
                <a:spcPts val="0"/>
              </a:spcAft>
              <a:buClr>
                <a:schemeClr val="bg1"/>
              </a:buClr>
            </a:pPr>
            <a:r>
              <a:rPr lang="en-US" sz="1800" dirty="0">
                <a:solidFill>
                  <a:schemeClr val="bg2">
                    <a:lumMod val="50000"/>
                    <a:lumOff val="50000"/>
                  </a:schemeClr>
                </a:solidFill>
                <a:latin typeface="+mn-lt"/>
              </a:rPr>
              <a:t>Q2: the median</a:t>
            </a:r>
          </a:p>
          <a:p>
            <a:pPr>
              <a:spcBef>
                <a:spcPts val="0"/>
              </a:spcBef>
              <a:spcAft>
                <a:spcPts val="0"/>
              </a:spcAft>
              <a:buClr>
                <a:schemeClr val="bg1"/>
              </a:buClr>
            </a:pPr>
            <a:r>
              <a:rPr lang="en-US" sz="1800" dirty="0">
                <a:solidFill>
                  <a:schemeClr val="bg2">
                    <a:lumMod val="50000"/>
                    <a:lumOff val="50000"/>
                  </a:schemeClr>
                </a:solidFill>
                <a:latin typeface="+mn-lt"/>
              </a:rPr>
              <a:t>Q3: 75th percentile</a:t>
            </a:r>
          </a:p>
          <a:p>
            <a:pPr>
              <a:spcBef>
                <a:spcPts val="0"/>
              </a:spcBef>
              <a:spcAft>
                <a:spcPts val="0"/>
              </a:spcAft>
              <a:buClr>
                <a:schemeClr val="bg1"/>
              </a:buClr>
            </a:pPr>
            <a:r>
              <a:rPr lang="en-US" sz="1800" dirty="0">
                <a:solidFill>
                  <a:schemeClr val="bg2">
                    <a:lumMod val="50000"/>
                    <a:lumOff val="50000"/>
                  </a:schemeClr>
                </a:solidFill>
                <a:latin typeface="+mn-lt"/>
              </a:rPr>
              <a:t>Highest value (Q4)</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These five-number summaries can be easily visualized using box and whisker plots</a:t>
            </a:r>
          </a:p>
        </p:txBody>
      </p:sp>
    </p:spTree>
    <p:extLst>
      <p:ext uri="{BB962C8B-B14F-4D97-AF65-F5344CB8AC3E}">
        <p14:creationId xmlns:p14="http://schemas.microsoft.com/office/powerpoint/2010/main" val="1785345867"/>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DBF01-355E-4D2A-A767-72CDC43D1AE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43EE8FE4-39C7-4BD2-BE1E-E79137AD0F9D}"/>
              </a:ext>
            </a:extLst>
          </p:cNvPr>
          <p:cNvSpPr txBox="1"/>
          <p:nvPr/>
        </p:nvSpPr>
        <p:spPr>
          <a:xfrm>
            <a:off x="0" y="659770"/>
            <a:ext cx="8836873" cy="3416320"/>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How far, on average, all values are from the middle</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b="1" dirty="0">
                <a:solidFill>
                  <a:schemeClr val="bg2">
                    <a:lumMod val="50000"/>
                    <a:lumOff val="50000"/>
                  </a:schemeClr>
                </a:solidFill>
                <a:latin typeface="+mn-lt"/>
              </a:rPr>
              <a:t>Calculation Steps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342900" indent="-342900" algn="l">
              <a:buAutoNum type="arabicPeriod"/>
            </a:pPr>
            <a:r>
              <a:rPr lang="en-US" sz="1800" dirty="0">
                <a:solidFill>
                  <a:schemeClr val="bg2">
                    <a:lumMod val="50000"/>
                    <a:lumOff val="50000"/>
                  </a:schemeClr>
                </a:solidFill>
                <a:latin typeface="+mn-lt"/>
              </a:rPr>
              <a:t>Find the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mean</a:t>
            </a:r>
            <a:r>
              <a:rPr lang="en-US" sz="1800" dirty="0">
                <a:solidFill>
                  <a:schemeClr val="bg2">
                    <a:lumMod val="50000"/>
                    <a:lumOff val="50000"/>
                  </a:schemeClr>
                </a:solidFill>
                <a:latin typeface="+mn-lt"/>
              </a:rPr>
              <a:t> of all value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2. Find the distance of each value from that mean (subtract the mean from each value, ignore minus signs)</a:t>
            </a:r>
          </a:p>
          <a:p>
            <a:pPr algn="l"/>
            <a:endParaRPr lang="en-US" sz="1800" dirty="0">
              <a:solidFill>
                <a:schemeClr val="bg2">
                  <a:lumMod val="50000"/>
                  <a:lumOff val="50000"/>
                </a:schemeClr>
              </a:solidFill>
              <a:latin typeface="+mn-lt"/>
            </a:endParaRPr>
          </a:p>
          <a:p>
            <a:pPr algn="l"/>
            <a:r>
              <a:rPr lang="en-US" sz="1800" dirty="0">
                <a:solidFill>
                  <a:schemeClr val="bg2">
                    <a:lumMod val="50000"/>
                    <a:lumOff val="50000"/>
                  </a:schemeClr>
                </a:solidFill>
                <a:latin typeface="+mn-lt"/>
              </a:rPr>
              <a:t>3. Then find the mean of those distances</a:t>
            </a: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100" dirty="0">
              <a:solidFill>
                <a:srgbClr val="333333"/>
              </a:solidFill>
              <a:latin typeface="Verdana" panose="020B0604030504040204" pitchFamily="34" charset="0"/>
            </a:endParaRPr>
          </a:p>
          <a:p>
            <a:pPr>
              <a:spcBef>
                <a:spcPts val="0"/>
              </a:spcBef>
              <a:spcAft>
                <a:spcPts val="0"/>
              </a:spcAft>
              <a:buClr>
                <a:schemeClr val="bg1"/>
              </a:buClr>
            </a:pPr>
            <a:endParaRPr lang="en-US" sz="1400" dirty="0">
              <a:solidFill>
                <a:schemeClr val="bg2"/>
              </a:solidFill>
              <a:latin typeface="+mn-lt"/>
            </a:endParaRPr>
          </a:p>
        </p:txBody>
      </p:sp>
    </p:spTree>
    <p:extLst>
      <p:ext uri="{BB962C8B-B14F-4D97-AF65-F5344CB8AC3E}">
        <p14:creationId xmlns:p14="http://schemas.microsoft.com/office/powerpoint/2010/main" val="4175273265"/>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D8774-87C9-418D-9F90-90226D8612B0}"/>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C774A8E0-6B14-40F1-88E8-69C5C2BF46A0}"/>
              </a:ext>
            </a:extLst>
          </p:cNvPr>
          <p:cNvSpPr txBox="1"/>
          <p:nvPr/>
        </p:nvSpPr>
        <p:spPr>
          <a:xfrm>
            <a:off x="139603" y="637794"/>
            <a:ext cx="8229600" cy="2246769"/>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Example: the Mean Deviation of 3, 6, 6, 7, 8, 11, 15, 16</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1 : Find the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Step 2 : Find the distance of each value from mean</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800" dirty="0">
                <a:solidFill>
                  <a:schemeClr val="bg2">
                    <a:lumMod val="50000"/>
                    <a:lumOff val="50000"/>
                  </a:schemeClr>
                </a:solidFill>
                <a:latin typeface="+mn-lt"/>
              </a:rPr>
              <a:t>	</a:t>
            </a:r>
            <a:r>
              <a:rPr lang="en-US" sz="1800" b="1" i="1" dirty="0">
                <a:solidFill>
                  <a:schemeClr val="bg2">
                    <a:lumMod val="50000"/>
                    <a:lumOff val="50000"/>
                  </a:schemeClr>
                </a:solidFill>
                <a:latin typeface="+mn-lt"/>
              </a:rPr>
              <a:t>Which looks like :  </a:t>
            </a: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2C18772C-952A-41C0-AA17-DDB5486D696E}"/>
              </a:ext>
            </a:extLst>
          </p:cNvPr>
          <p:cNvPicPr>
            <a:picLocks noChangeAspect="1"/>
          </p:cNvPicPr>
          <p:nvPr/>
        </p:nvPicPr>
        <p:blipFill>
          <a:blip r:embed="rId2"/>
          <a:stretch>
            <a:fillRect/>
          </a:stretch>
        </p:blipFill>
        <p:spPr>
          <a:xfrm>
            <a:off x="7017017" y="719932"/>
            <a:ext cx="1676119" cy="2248427"/>
          </a:xfrm>
          <a:prstGeom prst="rect">
            <a:avLst/>
          </a:prstGeom>
        </p:spPr>
      </p:pic>
      <p:pic>
        <p:nvPicPr>
          <p:cNvPr id="8" name="Picture 7">
            <a:extLst>
              <a:ext uri="{FF2B5EF4-FFF2-40B4-BE49-F238E27FC236}">
                <a16:creationId xmlns:a16="http://schemas.microsoft.com/office/drawing/2014/main" id="{8B3BB222-15D4-4D90-87BE-DC4A27AF5518}"/>
              </a:ext>
            </a:extLst>
          </p:cNvPr>
          <p:cNvPicPr>
            <a:picLocks noChangeAspect="1"/>
          </p:cNvPicPr>
          <p:nvPr/>
        </p:nvPicPr>
        <p:blipFill>
          <a:blip r:embed="rId3"/>
          <a:stretch>
            <a:fillRect/>
          </a:stretch>
        </p:blipFill>
        <p:spPr>
          <a:xfrm>
            <a:off x="1146671" y="2733363"/>
            <a:ext cx="5658979" cy="1683827"/>
          </a:xfrm>
          <a:prstGeom prst="rect">
            <a:avLst/>
          </a:prstGeom>
        </p:spPr>
      </p:pic>
    </p:spTree>
    <p:extLst>
      <p:ext uri="{BB962C8B-B14F-4D97-AF65-F5344CB8AC3E}">
        <p14:creationId xmlns:p14="http://schemas.microsoft.com/office/powerpoint/2010/main" val="1775430889"/>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23591-2BA9-4893-BBCB-23008C088B94}"/>
              </a:ext>
            </a:extLst>
          </p:cNvPr>
          <p:cNvSpPr>
            <a:spLocks noGrp="1"/>
          </p:cNvSpPr>
          <p:nvPr>
            <p:ph type="title"/>
          </p:nvPr>
        </p:nvSpPr>
        <p:spPr>
          <a:xfrm>
            <a:off x="0" y="0"/>
            <a:ext cx="8229600" cy="637794"/>
          </a:xfrm>
        </p:spPr>
        <p:txBody>
          <a:bodyPr/>
          <a:lstStyle/>
          <a:p>
            <a:r>
              <a:rPr lang="en-US" dirty="0"/>
              <a:t>Mean Deviation</a:t>
            </a:r>
          </a:p>
        </p:txBody>
      </p:sp>
      <p:sp>
        <p:nvSpPr>
          <p:cNvPr id="3" name="TextBox 2">
            <a:extLst>
              <a:ext uri="{FF2B5EF4-FFF2-40B4-BE49-F238E27FC236}">
                <a16:creationId xmlns:a16="http://schemas.microsoft.com/office/drawing/2014/main" id="{189569A4-57DB-4D58-AAEC-08366E824698}"/>
              </a:ext>
            </a:extLst>
          </p:cNvPr>
          <p:cNvSpPr txBox="1"/>
          <p:nvPr/>
        </p:nvSpPr>
        <p:spPr>
          <a:xfrm>
            <a:off x="97723" y="571202"/>
            <a:ext cx="8229600" cy="1785104"/>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mn-lt"/>
              </a:rPr>
              <a:t>Step 3 : Find the mean of those distances : </a:t>
            </a: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endParaRPr lang="en-US" sz="1800" dirty="0">
              <a:solidFill>
                <a:schemeClr val="bg2">
                  <a:lumMod val="50000"/>
                  <a:lumOff val="50000"/>
                </a:schemeClr>
              </a:solidFill>
              <a:latin typeface="+mn-lt"/>
            </a:endParaRPr>
          </a:p>
          <a:p>
            <a:pPr>
              <a:spcBef>
                <a:spcPts val="0"/>
              </a:spcBef>
              <a:spcAft>
                <a:spcPts val="0"/>
              </a:spcAft>
              <a:buClr>
                <a:schemeClr val="bg1"/>
              </a:buClr>
            </a:pPr>
            <a:r>
              <a:rPr lang="en-US" sz="1400" b="1" i="0" dirty="0">
                <a:solidFill>
                  <a:schemeClr val="bg2">
                    <a:lumMod val="50000"/>
                    <a:lumOff val="50000"/>
                  </a:schemeClr>
                </a:solidFill>
                <a:effectLst/>
                <a:latin typeface="Verdana" panose="020B0604030504040204" pitchFamily="34" charset="0"/>
              </a:rPr>
              <a:t>Mean Deviation</a:t>
            </a:r>
            <a:r>
              <a:rPr lang="en-US" sz="1400" b="0" i="0" dirty="0">
                <a:solidFill>
                  <a:schemeClr val="bg2">
                    <a:lumMod val="50000"/>
                    <a:lumOff val="50000"/>
                  </a:schemeClr>
                </a:solidFill>
                <a:effectLst/>
                <a:latin typeface="Verdana" panose="020B0604030504040204" pitchFamily="34" charset="0"/>
              </a:rPr>
              <a:t> =  </a:t>
            </a:r>
            <a:r>
              <a:rPr lang="en-US" sz="1400" b="0" i="1" dirty="0">
                <a:solidFill>
                  <a:schemeClr val="bg2">
                    <a:lumMod val="50000"/>
                    <a:lumOff val="50000"/>
                  </a:schemeClr>
                </a:solidFill>
                <a:effectLst/>
                <a:latin typeface="Verdana" panose="020B0604030504040204" pitchFamily="34" charset="0"/>
              </a:rPr>
              <a:t>6 + 3 + 3 + </a:t>
            </a:r>
            <a:r>
              <a:rPr lang="en-US" sz="1400" i="1" dirty="0">
                <a:solidFill>
                  <a:schemeClr val="bg2">
                    <a:lumMod val="50000"/>
                    <a:lumOff val="50000"/>
                  </a:schemeClr>
                </a:solidFill>
                <a:effectLst/>
                <a:latin typeface="Verdana" panose="020B0604030504040204" pitchFamily="34" charset="0"/>
              </a:rPr>
              <a:t>2 + 1 + 2 + 6 + 7</a:t>
            </a:r>
            <a:r>
              <a:rPr lang="en-US" sz="1400" i="0" dirty="0">
                <a:solidFill>
                  <a:schemeClr val="bg2">
                    <a:lumMod val="50000"/>
                    <a:lumOff val="50000"/>
                  </a:schemeClr>
                </a:solidFill>
                <a:effectLst/>
                <a:latin typeface="Verdana" panose="020B0604030504040204" pitchFamily="34" charset="0"/>
              </a:rPr>
              <a:t>8  =  </a:t>
            </a:r>
            <a:r>
              <a:rPr lang="en-US" sz="1400" i="1" dirty="0">
                <a:solidFill>
                  <a:schemeClr val="bg2">
                    <a:lumMod val="50000"/>
                    <a:lumOff val="50000"/>
                  </a:schemeClr>
                </a:solidFill>
                <a:effectLst/>
                <a:latin typeface="Verdana" panose="020B0604030504040204" pitchFamily="34" charset="0"/>
              </a:rPr>
              <a:t>30</a:t>
            </a:r>
            <a:r>
              <a:rPr lang="en-US" sz="1400" i="0" dirty="0">
                <a:solidFill>
                  <a:schemeClr val="bg2">
                    <a:lumMod val="50000"/>
                    <a:lumOff val="50000"/>
                  </a:schemeClr>
                </a:solidFill>
                <a:effectLst/>
                <a:latin typeface="Verdana" panose="020B0604030504040204" pitchFamily="34" charset="0"/>
              </a:rPr>
              <a:t>8  = 3.75</a:t>
            </a: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b="1"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400" b="1" dirty="0">
                <a:solidFill>
                  <a:schemeClr val="bg2">
                    <a:lumMod val="50000"/>
                    <a:lumOff val="50000"/>
                  </a:schemeClr>
                </a:solidFill>
                <a:latin typeface="Verdana" panose="020B0604030504040204" pitchFamily="34" charset="0"/>
              </a:rPr>
              <a:t>So, the mean = 9, and the mean deviation = 3.75</a:t>
            </a:r>
            <a:endParaRPr lang="en-US" sz="1800" dirty="0">
              <a:solidFill>
                <a:schemeClr val="bg2">
                  <a:lumMod val="50000"/>
                  <a:lumOff val="50000"/>
                </a:schemeClr>
              </a:solidFill>
              <a:latin typeface="+mn-lt"/>
            </a:endParaRPr>
          </a:p>
        </p:txBody>
      </p:sp>
      <p:sp>
        <p:nvSpPr>
          <p:cNvPr id="4" name="TextBox 3">
            <a:extLst>
              <a:ext uri="{FF2B5EF4-FFF2-40B4-BE49-F238E27FC236}">
                <a16:creationId xmlns:a16="http://schemas.microsoft.com/office/drawing/2014/main" id="{7BA168E8-C891-4961-BA65-96DC95B11E16}"/>
              </a:ext>
            </a:extLst>
          </p:cNvPr>
          <p:cNvSpPr txBox="1"/>
          <p:nvPr/>
        </p:nvSpPr>
        <p:spPr>
          <a:xfrm>
            <a:off x="97723" y="2673399"/>
            <a:ext cx="7524604" cy="1846659"/>
          </a:xfrm>
          <a:prstGeom prst="rect">
            <a:avLst/>
          </a:prstGeom>
          <a:noFill/>
        </p:spPr>
        <p:txBody>
          <a:bodyPr wrap="square" rtlCol="0">
            <a:spAutoFit/>
          </a:bodyPr>
          <a:lstStyle/>
          <a:p>
            <a:pPr>
              <a:spcBef>
                <a:spcPts val="0"/>
              </a:spcBef>
              <a:spcAft>
                <a:spcPts val="0"/>
              </a:spcAft>
              <a:buClr>
                <a:schemeClr val="bg1"/>
              </a:buClr>
            </a:pPr>
            <a:r>
              <a:rPr lang="en-US" sz="2800" dirty="0">
                <a:solidFill>
                  <a:schemeClr val="bg1"/>
                </a:solidFill>
                <a:latin typeface="+mj-lt"/>
                <a:cs typeface="+mj-cs"/>
              </a:rPr>
              <a:t>What does Mean Deviation say ? </a:t>
            </a:r>
          </a:p>
          <a:p>
            <a:pPr>
              <a:spcBef>
                <a:spcPts val="0"/>
              </a:spcBef>
              <a:spcAft>
                <a:spcPts val="0"/>
              </a:spcAft>
              <a:buClr>
                <a:schemeClr val="bg1"/>
              </a:buClr>
            </a:pPr>
            <a:endParaRPr lang="en-US" sz="1800" dirty="0">
              <a:solidFill>
                <a:schemeClr val="bg2">
                  <a:lumMod val="50000"/>
                  <a:lumOff val="50000"/>
                </a:schemeClr>
              </a:solidFill>
              <a:latin typeface="+mn-lt"/>
            </a:endParaRP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t tells us how far, on average, all values are from the middle.</a:t>
            </a:r>
          </a:p>
          <a:p>
            <a:pPr marL="285750" indent="-285750" algn="l">
              <a:buFont typeface="Wingdings" panose="05000000000000000000" pitchFamily="2" charset="2"/>
              <a:buChar char="q"/>
            </a:pPr>
            <a:r>
              <a:rPr lang="en-US" sz="1800" dirty="0">
                <a:solidFill>
                  <a:schemeClr val="bg2">
                    <a:lumMod val="50000"/>
                    <a:lumOff val="50000"/>
                  </a:schemeClr>
                </a:solidFill>
                <a:latin typeface="+mn-lt"/>
              </a:rPr>
              <a:t>In that example the values are, on average, 3.75 away from the middle</a:t>
            </a:r>
          </a:p>
          <a:p>
            <a:pPr>
              <a:spcBef>
                <a:spcPts val="0"/>
              </a:spcBef>
              <a:spcAft>
                <a:spcPts val="0"/>
              </a:spcAft>
              <a:buClr>
                <a:schemeClr val="bg1"/>
              </a:buClr>
            </a:pPr>
            <a:endParaRPr lang="en-US" sz="1400" dirty="0" err="1">
              <a:solidFill>
                <a:schemeClr val="bg2"/>
              </a:solidFill>
              <a:latin typeface="+mn-lt"/>
            </a:endParaRPr>
          </a:p>
        </p:txBody>
      </p:sp>
      <p:sp>
        <p:nvSpPr>
          <p:cNvPr id="5" name="Rectangle 4">
            <a:extLst>
              <a:ext uri="{FF2B5EF4-FFF2-40B4-BE49-F238E27FC236}">
                <a16:creationId xmlns:a16="http://schemas.microsoft.com/office/drawing/2014/main" id="{5FC14057-7159-4E30-ABC8-355D937DF3A5}"/>
              </a:ext>
            </a:extLst>
          </p:cNvPr>
          <p:cNvSpPr/>
          <p:nvPr/>
        </p:nvSpPr>
        <p:spPr>
          <a:xfrm>
            <a:off x="97723" y="2673399"/>
            <a:ext cx="8948554" cy="1668256"/>
          </a:xfrm>
          <a:prstGeom prst="rect">
            <a:avLst/>
          </a:prstGeom>
          <a:noFill/>
          <a:ln w="28575" cmpd="sng">
            <a:solidFill>
              <a:schemeClr val="tx1"/>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206333337"/>
      </p:ext>
    </p:extLst>
  </p:cSld>
  <p:clrMapOvr>
    <a:masterClrMapping/>
  </p:clrMapOvr>
  <p:transition spd="med">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446A-7FBF-4270-B3F9-3C9E47FD1AB0}"/>
              </a:ext>
            </a:extLst>
          </p:cNvPr>
          <p:cNvSpPr>
            <a:spLocks noGrp="1"/>
          </p:cNvSpPr>
          <p:nvPr>
            <p:ph type="title"/>
          </p:nvPr>
        </p:nvSpPr>
        <p:spPr>
          <a:xfrm>
            <a:off x="0" y="0"/>
            <a:ext cx="8229600" cy="637794"/>
          </a:xfrm>
        </p:spPr>
        <p:txBody>
          <a:bodyPr/>
          <a:lstStyle/>
          <a:p>
            <a:r>
              <a:rPr lang="en-US" dirty="0"/>
              <a:t>Mean Deviation - Formula</a:t>
            </a:r>
          </a:p>
        </p:txBody>
      </p:sp>
      <p:sp>
        <p:nvSpPr>
          <p:cNvPr id="3" name="TextBox 2">
            <a:extLst>
              <a:ext uri="{FF2B5EF4-FFF2-40B4-BE49-F238E27FC236}">
                <a16:creationId xmlns:a16="http://schemas.microsoft.com/office/drawing/2014/main" id="{6D3F6156-DC35-41C3-BD79-96AB55011EF8}"/>
              </a:ext>
            </a:extLst>
          </p:cNvPr>
          <p:cNvSpPr txBox="1"/>
          <p:nvPr/>
        </p:nvSpPr>
        <p:spPr>
          <a:xfrm>
            <a:off x="160543" y="637794"/>
            <a:ext cx="8725191" cy="3077766"/>
          </a:xfrm>
          <a:prstGeom prst="rect">
            <a:avLst/>
          </a:prstGeom>
          <a:noFill/>
        </p:spPr>
        <p:txBody>
          <a:bodyPr wrap="square" rtlCol="0">
            <a:spAutoFit/>
          </a:bodyPr>
          <a:lstStyle/>
          <a:p>
            <a:pPr algn="l"/>
            <a:r>
              <a:rPr lang="en-US" sz="1800" dirty="0">
                <a:solidFill>
                  <a:schemeClr val="bg2">
                    <a:lumMod val="50000"/>
                    <a:lumOff val="50000"/>
                  </a:schemeClr>
                </a:solidFill>
                <a:latin typeface="+mn-lt"/>
              </a:rPr>
              <a:t>The formula is:</a:t>
            </a: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algn="ctr"/>
            <a:endParaRPr lang="en-US" sz="1800" dirty="0">
              <a:solidFill>
                <a:schemeClr val="bg2">
                  <a:lumMod val="50000"/>
                  <a:lumOff val="50000"/>
                </a:schemeClr>
              </a:solidFill>
              <a:latin typeface="+mn-lt"/>
            </a:endParaRPr>
          </a:p>
          <a:p>
            <a:pPr marL="285750" indent="-285750" algn="l">
              <a:buFont typeface="Arial" panose="020B0604020202020204" pitchFamily="34" charset="0"/>
              <a:buChar char="•"/>
            </a:pPr>
            <a:r>
              <a:rPr lang="en-US" sz="1800" dirty="0">
                <a:solidFill>
                  <a:schemeClr val="bg2">
                    <a:lumMod val="50000"/>
                    <a:lumOff val="50000"/>
                  </a:schemeClr>
                </a:solidFill>
                <a:latin typeface="+mn-lt"/>
              </a:rPr>
              <a:t>Σ is </a:t>
            </a:r>
            <a:r>
              <a:rPr lang="en-US" sz="1800" dirty="0">
                <a:solidFill>
                  <a:schemeClr val="bg2">
                    <a:lumMod val="50000"/>
                    <a:lumOff val="50000"/>
                  </a:schemeClr>
                </a:solidFill>
                <a:latin typeface="+mn-lt"/>
                <a:hlinkClick r:id="rId2">
                  <a:extLst>
                    <a:ext uri="{A12FA001-AC4F-418D-AE19-62706E023703}">
                      <ahyp:hlinkClr xmlns:ahyp="http://schemas.microsoft.com/office/drawing/2018/hyperlinkcolor" val="tx"/>
                    </a:ext>
                  </a:extLst>
                </a:hlinkClick>
              </a:rPr>
              <a:t>Sigma</a:t>
            </a:r>
            <a:r>
              <a:rPr lang="en-US" sz="1800" dirty="0">
                <a:solidFill>
                  <a:schemeClr val="bg2">
                    <a:lumMod val="50000"/>
                    <a:lumOff val="50000"/>
                  </a:schemeClr>
                </a:solidFill>
                <a:latin typeface="+mn-lt"/>
              </a:rPr>
              <a:t>, which means to sum up</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 (the vertical bars) mean </a:t>
            </a:r>
            <a:r>
              <a:rPr lang="en-US" sz="1800" dirty="0">
                <a:solidFill>
                  <a:schemeClr val="bg2">
                    <a:lumMod val="50000"/>
                    <a:lumOff val="50000"/>
                  </a:schemeClr>
                </a:solidFill>
                <a:latin typeface="+mn-lt"/>
                <a:hlinkClick r:id="rId3">
                  <a:extLst>
                    <a:ext uri="{A12FA001-AC4F-418D-AE19-62706E023703}">
                      <ahyp:hlinkClr xmlns:ahyp="http://schemas.microsoft.com/office/drawing/2018/hyperlinkcolor" val="tx"/>
                    </a:ext>
                  </a:extLst>
                </a:hlinkClick>
              </a:rPr>
              <a:t>Absolute Value</a:t>
            </a:r>
            <a:r>
              <a:rPr lang="en-US" sz="1800" dirty="0">
                <a:solidFill>
                  <a:schemeClr val="bg2">
                    <a:lumMod val="50000"/>
                    <a:lumOff val="50000"/>
                  </a:schemeClr>
                </a:solidFill>
                <a:latin typeface="+mn-lt"/>
              </a:rPr>
              <a:t>, basically to ignore minus signs</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x is each value (such as 3 or 16)</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μ is the mean (in our example μ = 9)</a:t>
            </a:r>
          </a:p>
          <a:p>
            <a:pPr marL="285750" indent="-285750" algn="l">
              <a:buFont typeface="Arial" panose="020B0604020202020204" pitchFamily="34" charset="0"/>
              <a:buChar char="•"/>
            </a:pPr>
            <a:r>
              <a:rPr lang="en-US" sz="1800" dirty="0">
                <a:solidFill>
                  <a:schemeClr val="bg2">
                    <a:lumMod val="50000"/>
                    <a:lumOff val="50000"/>
                  </a:schemeClr>
                </a:solidFill>
                <a:latin typeface="+mn-lt"/>
              </a:rPr>
              <a:t>N is the number of values (in our example N = 8)</a:t>
            </a:r>
          </a:p>
          <a:p>
            <a:pPr>
              <a:spcBef>
                <a:spcPts val="0"/>
              </a:spcBef>
              <a:spcAft>
                <a:spcPts val="0"/>
              </a:spcAft>
              <a:buClr>
                <a:schemeClr val="bg1"/>
              </a:buClr>
            </a:pPr>
            <a:endParaRPr lang="en-US" sz="1400" dirty="0" err="1">
              <a:solidFill>
                <a:schemeClr val="bg2"/>
              </a:solidFill>
              <a:latin typeface="+mn-lt"/>
            </a:endParaRPr>
          </a:p>
        </p:txBody>
      </p:sp>
      <p:pic>
        <p:nvPicPr>
          <p:cNvPr id="6" name="Picture 5">
            <a:extLst>
              <a:ext uri="{FF2B5EF4-FFF2-40B4-BE49-F238E27FC236}">
                <a16:creationId xmlns:a16="http://schemas.microsoft.com/office/drawing/2014/main" id="{B12533B2-36D3-4DB7-AA9E-F31226F4C8E3}"/>
              </a:ext>
            </a:extLst>
          </p:cNvPr>
          <p:cNvPicPr>
            <a:picLocks noChangeAspect="1"/>
          </p:cNvPicPr>
          <p:nvPr/>
        </p:nvPicPr>
        <p:blipFill>
          <a:blip r:embed="rId4"/>
          <a:stretch>
            <a:fillRect/>
          </a:stretch>
        </p:blipFill>
        <p:spPr>
          <a:xfrm>
            <a:off x="2143271" y="1015177"/>
            <a:ext cx="2714915" cy="769032"/>
          </a:xfrm>
          <a:prstGeom prst="rect">
            <a:avLst/>
          </a:prstGeom>
        </p:spPr>
      </p:pic>
      <p:sp>
        <p:nvSpPr>
          <p:cNvPr id="7" name="TextBox 6">
            <a:extLst>
              <a:ext uri="{FF2B5EF4-FFF2-40B4-BE49-F238E27FC236}">
                <a16:creationId xmlns:a16="http://schemas.microsoft.com/office/drawing/2014/main" id="{72CE07EA-D6D8-4715-8606-26366D32D3E3}"/>
              </a:ext>
            </a:extLst>
          </p:cNvPr>
          <p:cNvSpPr txBox="1"/>
          <p:nvPr/>
        </p:nvSpPr>
        <p:spPr>
          <a:xfrm>
            <a:off x="160543" y="3797203"/>
            <a:ext cx="8069057" cy="523220"/>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Note : </a:t>
            </a:r>
            <a:r>
              <a:rPr lang="en-US" sz="1400" i="1" dirty="0">
                <a:solidFill>
                  <a:schemeClr val="bg2">
                    <a:lumMod val="50000"/>
                    <a:lumOff val="50000"/>
                  </a:schemeClr>
                </a:solidFill>
                <a:latin typeface="+mn-lt"/>
              </a:rPr>
              <a:t>The “</a:t>
            </a:r>
            <a:r>
              <a:rPr lang="en-US" sz="1400" b="1" i="1" dirty="0">
                <a:solidFill>
                  <a:schemeClr val="bg2">
                    <a:lumMod val="50000"/>
                    <a:lumOff val="50000"/>
                  </a:schemeClr>
                </a:solidFill>
                <a:latin typeface="+mn-lt"/>
              </a:rPr>
              <a:t>Mean Deviation” </a:t>
            </a:r>
            <a:r>
              <a:rPr lang="en-US" sz="1400" i="1" dirty="0">
                <a:solidFill>
                  <a:schemeClr val="bg2">
                    <a:lumMod val="50000"/>
                    <a:lumOff val="50000"/>
                  </a:schemeClr>
                </a:solidFill>
                <a:latin typeface="+mn-lt"/>
              </a:rPr>
              <a:t>is sometimes called the </a:t>
            </a:r>
            <a:r>
              <a:rPr lang="en-US" sz="1400" b="1" i="1" dirty="0">
                <a:solidFill>
                  <a:schemeClr val="bg2">
                    <a:lumMod val="50000"/>
                    <a:lumOff val="50000"/>
                  </a:schemeClr>
                </a:solidFill>
                <a:latin typeface="+mn-lt"/>
              </a:rPr>
              <a:t>“Mean Absolute Deviation”</a:t>
            </a:r>
            <a:r>
              <a:rPr lang="en-US" sz="1400" i="1" dirty="0">
                <a:solidFill>
                  <a:schemeClr val="bg2">
                    <a:lumMod val="50000"/>
                    <a:lumOff val="50000"/>
                  </a:schemeClr>
                </a:solidFill>
                <a:latin typeface="+mn-lt"/>
              </a:rPr>
              <a:t> (MAD) because it is the mean of the absolute deviations</a:t>
            </a:r>
          </a:p>
        </p:txBody>
      </p:sp>
    </p:spTree>
    <p:extLst>
      <p:ext uri="{BB962C8B-B14F-4D97-AF65-F5344CB8AC3E}">
        <p14:creationId xmlns:p14="http://schemas.microsoft.com/office/powerpoint/2010/main" val="4202863261"/>
      </p:ext>
    </p:extLst>
  </p:cSld>
  <p:clrMapOvr>
    <a:masterClrMapping/>
  </p:clrMapOvr>
  <p:transition spd="med">
    <p:wipe dir="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63DDC-6903-4E07-98B9-95FDD97BD569}"/>
              </a:ext>
            </a:extLst>
          </p:cNvPr>
          <p:cNvSpPr>
            <a:spLocks noGrp="1"/>
          </p:cNvSpPr>
          <p:nvPr>
            <p:ph type="title"/>
          </p:nvPr>
        </p:nvSpPr>
        <p:spPr>
          <a:xfrm>
            <a:off x="0" y="0"/>
            <a:ext cx="8229600" cy="637794"/>
          </a:xfrm>
        </p:spPr>
        <p:txBody>
          <a:bodyPr/>
          <a:lstStyle/>
          <a:p>
            <a:r>
              <a:rPr lang="en-US" dirty="0"/>
              <a:t>Mean Deviation – Real life example </a:t>
            </a:r>
          </a:p>
        </p:txBody>
      </p:sp>
      <p:sp>
        <p:nvSpPr>
          <p:cNvPr id="3" name="TextBox 2">
            <a:extLst>
              <a:ext uri="{FF2B5EF4-FFF2-40B4-BE49-F238E27FC236}">
                <a16:creationId xmlns:a16="http://schemas.microsoft.com/office/drawing/2014/main" id="{64CEE453-977A-4B43-8454-41EFE9BF1B1F}"/>
              </a:ext>
            </a:extLst>
          </p:cNvPr>
          <p:cNvSpPr txBox="1"/>
          <p:nvPr/>
        </p:nvSpPr>
        <p:spPr>
          <a:xfrm>
            <a:off x="216385" y="579353"/>
            <a:ext cx="8159798" cy="2893100"/>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 </a:t>
            </a:r>
            <a:r>
              <a:rPr lang="en-US" sz="1400" dirty="0">
                <a:solidFill>
                  <a:schemeClr val="bg2">
                    <a:lumMod val="50000"/>
                    <a:lumOff val="50000"/>
                  </a:schemeClr>
                </a:solidFill>
                <a:latin typeface="+mn-lt"/>
              </a:rPr>
              <a:t>A group of friends have just measured the heights of their dogs ( in millimeters) </a:t>
            </a:r>
          </a:p>
          <a:p>
            <a:pPr>
              <a:spcBef>
                <a:spcPts val="0"/>
              </a:spcBef>
              <a:spcAft>
                <a:spcPts val="0"/>
              </a:spcAft>
              <a:buClr>
                <a:schemeClr val="bg1"/>
              </a:buCl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dirty="0">
                <a:solidFill>
                  <a:schemeClr val="bg2">
                    <a:lumMod val="50000"/>
                    <a:lumOff val="50000"/>
                  </a:schemeClr>
                </a:solidFill>
                <a:latin typeface="+mn-lt"/>
              </a:rPr>
              <a:t>The heights at shoulders are : 600mm, 470mm, 170mm, 430mm and 300mm</a:t>
            </a: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1 : </a:t>
            </a:r>
            <a:r>
              <a:rPr lang="en-US" sz="1400" dirty="0">
                <a:solidFill>
                  <a:schemeClr val="bg2">
                    <a:lumMod val="50000"/>
                    <a:lumOff val="50000"/>
                  </a:schemeClr>
                </a:solidFill>
                <a:latin typeface="+mn-lt"/>
              </a:rPr>
              <a:t>Find </a:t>
            </a:r>
            <a:r>
              <a:rPr lang="en-US" sz="1400" b="1" dirty="0">
                <a:solidFill>
                  <a:schemeClr val="bg2">
                    <a:lumMod val="50000"/>
                    <a:lumOff val="50000"/>
                  </a:schemeClr>
                </a:solidFill>
                <a:latin typeface="+mn-lt"/>
              </a:rPr>
              <a:t>mean </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r>
              <a:rPr lang="en-US" sz="1400" b="1" dirty="0">
                <a:solidFill>
                  <a:schemeClr val="bg2">
                    <a:lumMod val="50000"/>
                    <a:lumOff val="50000"/>
                  </a:schemeClr>
                </a:solidFill>
                <a:latin typeface="+mn-lt"/>
              </a:rPr>
              <a:t>Step 2 : </a:t>
            </a:r>
            <a:r>
              <a:rPr lang="en-US" sz="1400" dirty="0">
                <a:solidFill>
                  <a:schemeClr val="bg2">
                    <a:lumMod val="50000"/>
                    <a:lumOff val="50000"/>
                  </a:schemeClr>
                </a:solidFill>
                <a:latin typeface="+mn-lt"/>
              </a:rPr>
              <a:t>Find the </a:t>
            </a:r>
            <a:r>
              <a:rPr lang="en-US" sz="1400" b="1" dirty="0">
                <a:solidFill>
                  <a:schemeClr val="bg2">
                    <a:lumMod val="50000"/>
                    <a:lumOff val="50000"/>
                  </a:schemeClr>
                </a:solidFill>
                <a:latin typeface="+mn-lt"/>
              </a:rPr>
              <a:t>absolute Deviations</a:t>
            </a:r>
            <a:endParaRPr lang="en-US" sz="1400" dirty="0">
              <a:solidFill>
                <a:schemeClr val="bg2">
                  <a:lumMod val="50000"/>
                  <a:lumOff val="50000"/>
                </a:schemeClr>
              </a:solidFill>
              <a:latin typeface="+mn-lt"/>
            </a:endParaRPr>
          </a:p>
          <a:p>
            <a:pPr marL="285750" indent="-285750">
              <a:spcBef>
                <a:spcPts val="0"/>
              </a:spcBef>
              <a:spcAft>
                <a:spcPts val="0"/>
              </a:spcAft>
              <a:buClr>
                <a:schemeClr val="bg1"/>
              </a:buClr>
              <a:buFont typeface="Arial" panose="020B0604020202020204" pitchFamily="34" charset="0"/>
              <a:buChar char="•"/>
            </a:pPr>
            <a:endParaRPr lang="en-US" sz="1400" dirty="0">
              <a:solidFill>
                <a:schemeClr val="bg2"/>
              </a:solidFill>
              <a:latin typeface="+mn-lt"/>
            </a:endParaRPr>
          </a:p>
        </p:txBody>
      </p:sp>
      <p:pic>
        <p:nvPicPr>
          <p:cNvPr id="5" name="Picture 4">
            <a:extLst>
              <a:ext uri="{FF2B5EF4-FFF2-40B4-BE49-F238E27FC236}">
                <a16:creationId xmlns:a16="http://schemas.microsoft.com/office/drawing/2014/main" id="{959516F1-D246-4E8C-A73E-475C71B1491B}"/>
              </a:ext>
            </a:extLst>
          </p:cNvPr>
          <p:cNvPicPr>
            <a:picLocks noChangeAspect="1"/>
          </p:cNvPicPr>
          <p:nvPr/>
        </p:nvPicPr>
        <p:blipFill>
          <a:blip r:embed="rId2"/>
          <a:stretch>
            <a:fillRect/>
          </a:stretch>
        </p:blipFill>
        <p:spPr>
          <a:xfrm>
            <a:off x="5916553" y="2812641"/>
            <a:ext cx="2230667" cy="1919030"/>
          </a:xfrm>
          <a:prstGeom prst="rect">
            <a:avLst/>
          </a:prstGeom>
        </p:spPr>
      </p:pic>
    </p:spTree>
    <p:extLst>
      <p:ext uri="{BB962C8B-B14F-4D97-AF65-F5344CB8AC3E}">
        <p14:creationId xmlns:p14="http://schemas.microsoft.com/office/powerpoint/2010/main" val="4012045956"/>
      </p:ext>
    </p:extLst>
  </p:cSld>
  <p:clrMapOvr>
    <a:masterClrMapping/>
  </p:clrMapOvr>
  <p:transition spd="med">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0F8C7-2815-423B-9CFE-F3DB4C4B33CF}"/>
              </a:ext>
            </a:extLst>
          </p:cNvPr>
          <p:cNvSpPr>
            <a:spLocks noGrp="1"/>
          </p:cNvSpPr>
          <p:nvPr>
            <p:ph type="title"/>
          </p:nvPr>
        </p:nvSpPr>
        <p:spPr>
          <a:xfrm>
            <a:off x="0" y="0"/>
            <a:ext cx="8229600" cy="637794"/>
          </a:xfrm>
        </p:spPr>
        <p:txBody>
          <a:bodyPr/>
          <a:lstStyle/>
          <a:p>
            <a:r>
              <a:rPr lang="en-US" dirty="0"/>
              <a:t>Mean Deviation – Ex continued</a:t>
            </a:r>
          </a:p>
        </p:txBody>
      </p:sp>
      <p:pic>
        <p:nvPicPr>
          <p:cNvPr id="4" name="Picture 3">
            <a:extLst>
              <a:ext uri="{FF2B5EF4-FFF2-40B4-BE49-F238E27FC236}">
                <a16:creationId xmlns:a16="http://schemas.microsoft.com/office/drawing/2014/main" id="{2684BAC9-2977-493F-A4C0-32B4E221651D}"/>
              </a:ext>
            </a:extLst>
          </p:cNvPr>
          <p:cNvPicPr>
            <a:picLocks noChangeAspect="1"/>
          </p:cNvPicPr>
          <p:nvPr/>
        </p:nvPicPr>
        <p:blipFill>
          <a:blip r:embed="rId2"/>
          <a:stretch>
            <a:fillRect/>
          </a:stretch>
        </p:blipFill>
        <p:spPr>
          <a:xfrm>
            <a:off x="1400866" y="461163"/>
            <a:ext cx="4748649" cy="1563833"/>
          </a:xfrm>
          <a:prstGeom prst="rect">
            <a:avLst/>
          </a:prstGeom>
        </p:spPr>
      </p:pic>
      <p:sp>
        <p:nvSpPr>
          <p:cNvPr id="5" name="TextBox 4">
            <a:extLst>
              <a:ext uri="{FF2B5EF4-FFF2-40B4-BE49-F238E27FC236}">
                <a16:creationId xmlns:a16="http://schemas.microsoft.com/office/drawing/2014/main" id="{4CE2C01F-5298-4DEC-97A3-7B7C756EFFAE}"/>
              </a:ext>
            </a:extLst>
          </p:cNvPr>
          <p:cNvSpPr txBox="1"/>
          <p:nvPr/>
        </p:nvSpPr>
        <p:spPr>
          <a:xfrm>
            <a:off x="439750" y="2324391"/>
            <a:ext cx="5709765" cy="738664"/>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Step 3 : </a:t>
            </a:r>
            <a:r>
              <a:rPr lang="en-US" sz="1400" dirty="0">
                <a:solidFill>
                  <a:schemeClr val="bg2">
                    <a:lumMod val="50000"/>
                    <a:lumOff val="50000"/>
                  </a:schemeClr>
                </a:solidFill>
                <a:latin typeface="+mn-lt"/>
              </a:rPr>
              <a:t>find the Mean Deviation </a:t>
            </a:r>
          </a:p>
          <a:p>
            <a:pPr>
              <a:spcBef>
                <a:spcPts val="0"/>
              </a:spcBef>
              <a:spcAft>
                <a:spcPts val="0"/>
              </a:spcAft>
              <a:buClr>
                <a:schemeClr val="bg1"/>
              </a:buClr>
            </a:pPr>
            <a:endParaRPr lang="en-US" sz="1400" dirty="0">
              <a:solidFill>
                <a:schemeClr val="bg2"/>
              </a:solidFill>
              <a:latin typeface="+mn-lt"/>
            </a:endParaRPr>
          </a:p>
          <a:p>
            <a:pPr>
              <a:spcBef>
                <a:spcPts val="0"/>
              </a:spcBef>
              <a:spcAft>
                <a:spcPts val="0"/>
              </a:spcAft>
              <a:buClr>
                <a:schemeClr val="bg1"/>
              </a:buClr>
            </a:pPr>
            <a:endParaRPr lang="en-US" sz="1400" dirty="0" err="1">
              <a:solidFill>
                <a:schemeClr val="bg2"/>
              </a:solidFill>
              <a:latin typeface="+mn-lt"/>
            </a:endParaRPr>
          </a:p>
        </p:txBody>
      </p:sp>
      <p:pic>
        <p:nvPicPr>
          <p:cNvPr id="7" name="Picture 6">
            <a:extLst>
              <a:ext uri="{FF2B5EF4-FFF2-40B4-BE49-F238E27FC236}">
                <a16:creationId xmlns:a16="http://schemas.microsoft.com/office/drawing/2014/main" id="{BED417EC-550A-4790-A918-98F4535E60BC}"/>
              </a:ext>
            </a:extLst>
          </p:cNvPr>
          <p:cNvPicPr>
            <a:picLocks noChangeAspect="1"/>
          </p:cNvPicPr>
          <p:nvPr/>
        </p:nvPicPr>
        <p:blipFill>
          <a:blip r:embed="rId3"/>
          <a:stretch>
            <a:fillRect/>
          </a:stretch>
        </p:blipFill>
        <p:spPr>
          <a:xfrm>
            <a:off x="1146745" y="2689879"/>
            <a:ext cx="6124575" cy="857250"/>
          </a:xfrm>
          <a:prstGeom prst="rect">
            <a:avLst/>
          </a:prstGeom>
        </p:spPr>
      </p:pic>
      <p:sp>
        <p:nvSpPr>
          <p:cNvPr id="8" name="TextBox 7">
            <a:extLst>
              <a:ext uri="{FF2B5EF4-FFF2-40B4-BE49-F238E27FC236}">
                <a16:creationId xmlns:a16="http://schemas.microsoft.com/office/drawing/2014/main" id="{3C987945-4DA9-48F4-89A9-BA2AEE0435B6}"/>
              </a:ext>
            </a:extLst>
          </p:cNvPr>
          <p:cNvSpPr txBox="1"/>
          <p:nvPr/>
        </p:nvSpPr>
        <p:spPr>
          <a:xfrm>
            <a:off x="349008" y="3776263"/>
            <a:ext cx="6707926" cy="261610"/>
          </a:xfrm>
          <a:prstGeom prst="rect">
            <a:avLst/>
          </a:prstGeom>
          <a:noFill/>
        </p:spPr>
        <p:txBody>
          <a:bodyPr wrap="square" rtlCol="0">
            <a:spAutoFit/>
          </a:bodyPr>
          <a:lstStyle/>
          <a:p>
            <a:pPr>
              <a:spcBef>
                <a:spcPts val="0"/>
              </a:spcBef>
              <a:spcAft>
                <a:spcPts val="0"/>
              </a:spcAft>
              <a:buClr>
                <a:schemeClr val="bg1"/>
              </a:buClr>
            </a:pPr>
            <a:r>
              <a:rPr lang="en-US" sz="1100" i="0" dirty="0">
                <a:solidFill>
                  <a:schemeClr val="bg2">
                    <a:lumMod val="50000"/>
                    <a:lumOff val="50000"/>
                  </a:schemeClr>
                </a:solidFill>
                <a:effectLst/>
                <a:latin typeface="Verdana" panose="020B0604030504040204" pitchFamily="34" charset="0"/>
              </a:rPr>
              <a:t>So, on average, the dogs' heights are </a:t>
            </a:r>
            <a:r>
              <a:rPr lang="en-US" sz="1100" b="1" i="0" dirty="0">
                <a:solidFill>
                  <a:schemeClr val="bg2">
                    <a:lumMod val="50000"/>
                    <a:lumOff val="50000"/>
                  </a:schemeClr>
                </a:solidFill>
                <a:effectLst/>
                <a:latin typeface="Verdana" panose="020B0604030504040204" pitchFamily="34" charset="0"/>
              </a:rPr>
              <a:t>127.2 mm from the mean</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399566643"/>
      </p:ext>
    </p:extLst>
  </p:cSld>
  <p:clrMapOvr>
    <a:masterClrMapping/>
  </p:clrMapOvr>
  <p:transition spd="med">
    <p:wipe dir="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719-CCE8-4F09-B981-E32155DA1634}"/>
              </a:ext>
            </a:extLst>
          </p:cNvPr>
          <p:cNvSpPr>
            <a:spLocks noGrp="1"/>
          </p:cNvSpPr>
          <p:nvPr>
            <p:ph type="title"/>
          </p:nvPr>
        </p:nvSpPr>
        <p:spPr>
          <a:xfrm>
            <a:off x="0" y="0"/>
            <a:ext cx="8229600" cy="637794"/>
          </a:xfrm>
        </p:spPr>
        <p:txBody>
          <a:bodyPr/>
          <a:lstStyle/>
          <a:p>
            <a:r>
              <a:rPr lang="en-US" dirty="0"/>
              <a:t>Mean Deviation – A useful check</a:t>
            </a:r>
          </a:p>
        </p:txBody>
      </p:sp>
      <p:sp>
        <p:nvSpPr>
          <p:cNvPr id="3" name="TextBox 2">
            <a:extLst>
              <a:ext uri="{FF2B5EF4-FFF2-40B4-BE49-F238E27FC236}">
                <a16:creationId xmlns:a16="http://schemas.microsoft.com/office/drawing/2014/main" id="{41132D9F-766F-4798-993F-23A0FC08EC07}"/>
              </a:ext>
            </a:extLst>
          </p:cNvPr>
          <p:cNvSpPr txBox="1"/>
          <p:nvPr/>
        </p:nvSpPr>
        <p:spPr>
          <a:xfrm>
            <a:off x="195444" y="637794"/>
            <a:ext cx="7692129" cy="2400657"/>
          </a:xfrm>
          <a:prstGeom prst="rect">
            <a:avLst/>
          </a:prstGeom>
          <a:noFill/>
        </p:spPr>
        <p:txBody>
          <a:bodyPr wrap="square" rtlCol="0">
            <a:spAutoFit/>
          </a:bodyPr>
          <a:lstStyle/>
          <a:p>
            <a:pPr algn="l"/>
            <a:r>
              <a:rPr lang="en-US" sz="1600" b="0" i="0" dirty="0">
                <a:solidFill>
                  <a:schemeClr val="bg2">
                    <a:lumMod val="50000"/>
                    <a:lumOff val="50000"/>
                  </a:schemeClr>
                </a:solidFill>
                <a:effectLst/>
                <a:latin typeface="Verdana" panose="020B0604030504040204" pitchFamily="34" charset="0"/>
              </a:rPr>
              <a:t>The deviations on </a:t>
            </a:r>
            <a:r>
              <a:rPr lang="en-US" sz="1600" b="1" i="0" dirty="0">
                <a:solidFill>
                  <a:schemeClr val="bg2">
                    <a:lumMod val="50000"/>
                    <a:lumOff val="50000"/>
                  </a:schemeClr>
                </a:solidFill>
                <a:effectLst/>
                <a:latin typeface="Verdana" panose="020B0604030504040204" pitchFamily="34" charset="0"/>
              </a:rPr>
              <a:t>one side</a:t>
            </a:r>
            <a:r>
              <a:rPr lang="en-US" sz="1600" b="0" i="0" dirty="0">
                <a:solidFill>
                  <a:schemeClr val="bg2">
                    <a:lumMod val="50000"/>
                    <a:lumOff val="50000"/>
                  </a:schemeClr>
                </a:solidFill>
                <a:effectLst/>
                <a:latin typeface="Verdana" panose="020B0604030504040204" pitchFamily="34" charset="0"/>
              </a:rPr>
              <a:t> of the mean should equal the deviations on the </a:t>
            </a:r>
            <a:r>
              <a:rPr lang="en-US" sz="1600" b="1" i="0" dirty="0">
                <a:solidFill>
                  <a:schemeClr val="bg2">
                    <a:lumMod val="50000"/>
                    <a:lumOff val="50000"/>
                  </a:schemeClr>
                </a:solidFill>
                <a:effectLst/>
                <a:latin typeface="Verdana" panose="020B0604030504040204" pitchFamily="34" charset="0"/>
              </a:rPr>
              <a:t>other side</a:t>
            </a:r>
            <a:r>
              <a:rPr lang="en-US" sz="1600" b="0" i="0" dirty="0">
                <a:solidFill>
                  <a:schemeClr val="bg2">
                    <a:lumMod val="50000"/>
                    <a:lumOff val="50000"/>
                  </a:schemeClr>
                </a:solidFill>
                <a:effectLst/>
                <a:latin typeface="Verdana" panose="020B0604030504040204" pitchFamily="34" charset="0"/>
              </a:rPr>
              <a:t>.</a:t>
            </a:r>
          </a:p>
          <a:p>
            <a:pPr algn="l"/>
            <a:r>
              <a:rPr lang="en-US" sz="1600" b="0" i="0" dirty="0">
                <a:solidFill>
                  <a:schemeClr val="bg2">
                    <a:lumMod val="50000"/>
                    <a:lumOff val="50000"/>
                  </a:schemeClr>
                </a:solidFill>
                <a:effectLst/>
                <a:latin typeface="Verdana" panose="020B0604030504040204" pitchFamily="34" charset="0"/>
              </a:rPr>
              <a:t>From our first example:</a:t>
            </a:r>
          </a:p>
          <a:p>
            <a:pPr algn="l"/>
            <a:endParaRPr lang="en-US" sz="1600" dirty="0">
              <a:solidFill>
                <a:schemeClr val="bg2">
                  <a:lumMod val="50000"/>
                  <a:lumOff val="50000"/>
                </a:schemeClr>
              </a:solidFill>
              <a:latin typeface="Verdana" panose="020B0604030504040204" pitchFamily="34" charset="0"/>
            </a:endParaRPr>
          </a:p>
          <a:p>
            <a:r>
              <a:rPr lang="en-US" sz="1200" b="0" i="0" dirty="0">
                <a:solidFill>
                  <a:schemeClr val="bg2">
                    <a:lumMod val="50000"/>
                    <a:lumOff val="50000"/>
                  </a:schemeClr>
                </a:solidFill>
                <a:effectLst/>
                <a:latin typeface="Verdana" panose="020B0604030504040204" pitchFamily="34" charset="0"/>
              </a:rPr>
              <a:t>Example: 3, 6, 6, 7, 8, 11, 15, 16</a:t>
            </a:r>
          </a:p>
          <a:p>
            <a:pPr algn="l"/>
            <a:endParaRPr lang="en-US" sz="1600" b="0" i="0" dirty="0">
              <a:solidFill>
                <a:schemeClr val="bg2">
                  <a:lumMod val="50000"/>
                  <a:lumOff val="50000"/>
                </a:schemeClr>
              </a:solidFill>
              <a:effectLst/>
              <a:latin typeface="Verdana" panose="020B0604030504040204" pitchFamily="34" charset="0"/>
            </a:endParaRPr>
          </a:p>
          <a:p>
            <a:pPr algn="l"/>
            <a:r>
              <a:rPr lang="en-US" sz="1200" b="0" i="0" dirty="0">
                <a:solidFill>
                  <a:schemeClr val="bg2">
                    <a:lumMod val="50000"/>
                    <a:lumOff val="50000"/>
                  </a:schemeClr>
                </a:solidFill>
                <a:effectLst/>
                <a:latin typeface="Verdana" panose="020B0604030504040204" pitchFamily="34" charset="0"/>
              </a:rPr>
              <a:t>The deviations are:</a:t>
            </a:r>
            <a:endParaRPr lang="en-US" sz="1600" dirty="0">
              <a:solidFill>
                <a:schemeClr val="bg2">
                  <a:lumMod val="50000"/>
                  <a:lumOff val="50000"/>
                </a:schemeClr>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lgn="l"/>
            <a:endParaRPr lang="en-US" sz="1100" dirty="0">
              <a:solidFill>
                <a:srgbClr val="333333"/>
              </a:solidFill>
              <a:latin typeface="Verdana" panose="020B0604030504040204" pitchFamily="34" charset="0"/>
            </a:endParaRPr>
          </a:p>
          <a:p>
            <a:pPr algn="l"/>
            <a:endParaRPr lang="en-US" sz="1100" b="0" i="0" dirty="0">
              <a:solidFill>
                <a:srgbClr val="333333"/>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369B5A84-C0D5-47C8-A231-D0A8C134B5C9}"/>
              </a:ext>
            </a:extLst>
          </p:cNvPr>
          <p:cNvPicPr>
            <a:picLocks noChangeAspect="1"/>
          </p:cNvPicPr>
          <p:nvPr/>
        </p:nvPicPr>
        <p:blipFill>
          <a:blip r:embed="rId2"/>
          <a:stretch>
            <a:fillRect/>
          </a:stretch>
        </p:blipFill>
        <p:spPr>
          <a:xfrm>
            <a:off x="691507" y="2448298"/>
            <a:ext cx="6846585" cy="1960685"/>
          </a:xfrm>
          <a:prstGeom prst="rect">
            <a:avLst/>
          </a:prstGeom>
        </p:spPr>
      </p:pic>
    </p:spTree>
    <p:extLst>
      <p:ext uri="{BB962C8B-B14F-4D97-AF65-F5344CB8AC3E}">
        <p14:creationId xmlns:p14="http://schemas.microsoft.com/office/powerpoint/2010/main" val="2909785245"/>
      </p:ext>
    </p:extLst>
  </p:cSld>
  <p:clrMapOvr>
    <a:masterClrMapping/>
  </p:clrMapOvr>
  <p:transition spd="med">
    <p:wipe dir="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166426-5C59-4886-8DCD-BEF36302222C}"/>
              </a:ext>
            </a:extLst>
          </p:cNvPr>
          <p:cNvSpPr>
            <a:spLocks noGrp="1"/>
          </p:cNvSpPr>
          <p:nvPr>
            <p:ph type="title"/>
          </p:nvPr>
        </p:nvSpPr>
        <p:spPr>
          <a:xfrm>
            <a:off x="0" y="0"/>
            <a:ext cx="8229600" cy="637794"/>
          </a:xfrm>
        </p:spPr>
        <p:txBody>
          <a:bodyPr/>
          <a:lstStyle/>
          <a:p>
            <a:r>
              <a:rPr lang="en-US" dirty="0"/>
              <a:t>Mean Deviation – A useful check</a:t>
            </a:r>
          </a:p>
        </p:txBody>
      </p:sp>
      <p:sp>
        <p:nvSpPr>
          <p:cNvPr id="4" name="TextBox 3">
            <a:extLst>
              <a:ext uri="{FF2B5EF4-FFF2-40B4-BE49-F238E27FC236}">
                <a16:creationId xmlns:a16="http://schemas.microsoft.com/office/drawing/2014/main" id="{013FE25D-0A7C-4193-959C-38B6A985FB32}"/>
              </a:ext>
            </a:extLst>
          </p:cNvPr>
          <p:cNvSpPr txBox="1"/>
          <p:nvPr/>
        </p:nvSpPr>
        <p:spPr>
          <a:xfrm>
            <a:off x="219875" y="725937"/>
            <a:ext cx="7789850" cy="1846659"/>
          </a:xfrm>
          <a:prstGeom prst="rect">
            <a:avLst/>
          </a:prstGeom>
          <a:noFill/>
        </p:spPr>
        <p:txBody>
          <a:bodyPr wrap="square" rtlCol="0">
            <a:spAutoFit/>
          </a:bodyPr>
          <a:lstStyle/>
          <a:p>
            <a:pPr algn="l"/>
            <a:r>
              <a:rPr lang="en-US" sz="2000" b="0" i="0" dirty="0">
                <a:solidFill>
                  <a:schemeClr val="bg2">
                    <a:lumMod val="50000"/>
                    <a:lumOff val="50000"/>
                  </a:schemeClr>
                </a:solidFill>
                <a:effectLst/>
                <a:latin typeface="Verdana" panose="020B0604030504040204" pitchFamily="34" charset="0"/>
              </a:rPr>
              <a:t>Example: Dogs</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left of mean: 224 + 94 = </a:t>
            </a:r>
            <a:r>
              <a:rPr lang="en-US" sz="2000" b="1" i="0" dirty="0">
                <a:solidFill>
                  <a:schemeClr val="bg2">
                    <a:lumMod val="50000"/>
                    <a:lumOff val="50000"/>
                  </a:schemeClr>
                </a:solidFill>
                <a:effectLst/>
                <a:latin typeface="Verdana" panose="020B0604030504040204" pitchFamily="34" charset="0"/>
              </a:rPr>
              <a:t>318</a:t>
            </a:r>
          </a:p>
          <a:p>
            <a:pPr algn="l"/>
            <a:endParaRPr lang="en-US" sz="2000" b="0" i="0" dirty="0">
              <a:solidFill>
                <a:schemeClr val="bg2">
                  <a:lumMod val="50000"/>
                  <a:lumOff val="50000"/>
                </a:schemeClr>
              </a:solidFill>
              <a:effectLst/>
              <a:latin typeface="Verdana" panose="020B0604030504040204" pitchFamily="34" charset="0"/>
            </a:endParaRPr>
          </a:p>
          <a:p>
            <a:pPr algn="l"/>
            <a:r>
              <a:rPr lang="en-US" sz="2000" b="0" i="0" dirty="0">
                <a:solidFill>
                  <a:schemeClr val="bg2">
                    <a:lumMod val="50000"/>
                    <a:lumOff val="50000"/>
                  </a:schemeClr>
                </a:solidFill>
                <a:effectLst/>
                <a:latin typeface="Verdana" panose="020B0604030504040204" pitchFamily="34" charset="0"/>
              </a:rPr>
              <a:t>Deviations right of mean: 206 + 76 + 36 = </a:t>
            </a:r>
            <a:r>
              <a:rPr lang="en-US" sz="2000" b="1" i="0" dirty="0">
                <a:solidFill>
                  <a:schemeClr val="bg2">
                    <a:lumMod val="50000"/>
                    <a:lumOff val="50000"/>
                  </a:schemeClr>
                </a:solidFill>
                <a:effectLst/>
                <a:latin typeface="Verdana" panose="020B0604030504040204" pitchFamily="34" charset="0"/>
              </a:rPr>
              <a:t>318</a:t>
            </a:r>
            <a:endParaRPr lang="en-US" sz="2000" b="0" i="0" dirty="0">
              <a:solidFill>
                <a:schemeClr val="bg2">
                  <a:lumMod val="50000"/>
                  <a:lumOff val="50000"/>
                </a:schemeClr>
              </a:solidFill>
              <a:effectLst/>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pic>
        <p:nvPicPr>
          <p:cNvPr id="5" name="Picture 4">
            <a:extLst>
              <a:ext uri="{FF2B5EF4-FFF2-40B4-BE49-F238E27FC236}">
                <a16:creationId xmlns:a16="http://schemas.microsoft.com/office/drawing/2014/main" id="{56F994EE-7A03-4F69-85C5-BCFF19B3B248}"/>
              </a:ext>
            </a:extLst>
          </p:cNvPr>
          <p:cNvPicPr>
            <a:picLocks noChangeAspect="1"/>
          </p:cNvPicPr>
          <p:nvPr/>
        </p:nvPicPr>
        <p:blipFill>
          <a:blip r:embed="rId2"/>
          <a:stretch>
            <a:fillRect/>
          </a:stretch>
        </p:blipFill>
        <p:spPr>
          <a:xfrm>
            <a:off x="402704" y="2660739"/>
            <a:ext cx="4748649" cy="1563833"/>
          </a:xfrm>
          <a:prstGeom prst="rect">
            <a:avLst/>
          </a:prstGeom>
        </p:spPr>
      </p:pic>
      <p:sp>
        <p:nvSpPr>
          <p:cNvPr id="6" name="TextBox 5">
            <a:extLst>
              <a:ext uri="{FF2B5EF4-FFF2-40B4-BE49-F238E27FC236}">
                <a16:creationId xmlns:a16="http://schemas.microsoft.com/office/drawing/2014/main" id="{E9DACB1E-93D8-4B68-B0FE-167B63C7A201}"/>
              </a:ext>
            </a:extLst>
          </p:cNvPr>
          <p:cNvSpPr txBox="1"/>
          <p:nvPr/>
        </p:nvSpPr>
        <p:spPr>
          <a:xfrm>
            <a:off x="5681844" y="2987505"/>
            <a:ext cx="3141069" cy="1569660"/>
          </a:xfrm>
          <a:prstGeom prst="rect">
            <a:avLst/>
          </a:prstGeom>
          <a:noFill/>
        </p:spPr>
        <p:txBody>
          <a:bodyPr wrap="square" rtlCol="0">
            <a:spAutoFit/>
          </a:bodyPr>
          <a:lstStyle/>
          <a:p>
            <a:pPr>
              <a:spcBef>
                <a:spcPts val="0"/>
              </a:spcBef>
              <a:spcAft>
                <a:spcPts val="0"/>
              </a:spcAft>
              <a:buClr>
                <a:schemeClr val="bg1"/>
              </a:buClr>
            </a:pPr>
            <a:r>
              <a:rPr lang="en-US" b="0" i="0" dirty="0">
                <a:solidFill>
                  <a:schemeClr val="bg2">
                    <a:lumMod val="50000"/>
                    <a:lumOff val="50000"/>
                  </a:schemeClr>
                </a:solidFill>
                <a:effectLst/>
                <a:latin typeface="Verdana" panose="020B0604030504040204" pitchFamily="34" charset="0"/>
              </a:rPr>
              <a:t>If they are not equal ... you may have made a mistake!</a:t>
            </a:r>
            <a:endParaRPr lang="en-US" sz="3200" dirty="0">
              <a:solidFill>
                <a:schemeClr val="bg2">
                  <a:lumMod val="50000"/>
                  <a:lumOff val="50000"/>
                </a:schemeClr>
              </a:solidFill>
              <a:latin typeface="+mn-lt"/>
            </a:endParaRPr>
          </a:p>
        </p:txBody>
      </p:sp>
    </p:spTree>
    <p:extLst>
      <p:ext uri="{BB962C8B-B14F-4D97-AF65-F5344CB8AC3E}">
        <p14:creationId xmlns:p14="http://schemas.microsoft.com/office/powerpoint/2010/main" val="291328296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p:spTree>
    <p:extLst>
      <p:ext uri="{BB962C8B-B14F-4D97-AF65-F5344CB8AC3E}">
        <p14:creationId xmlns:p14="http://schemas.microsoft.com/office/powerpoint/2010/main" val="347885641"/>
      </p:ext>
    </p:extLst>
  </p:cSld>
  <p:clrMapOvr>
    <a:masterClrMapping/>
  </p:clrMapOvr>
  <p:transition spd="med">
    <p:wipe dir="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5D55-9AAA-45E4-8915-A63077E621F6}"/>
              </a:ext>
            </a:extLst>
          </p:cNvPr>
          <p:cNvSpPr>
            <a:spLocks noGrp="1"/>
          </p:cNvSpPr>
          <p:nvPr>
            <p:ph type="title"/>
          </p:nvPr>
        </p:nvSpPr>
        <p:spPr>
          <a:xfrm>
            <a:off x="0" y="0"/>
            <a:ext cx="8229600" cy="637794"/>
          </a:xfrm>
        </p:spPr>
        <p:txBody>
          <a:bodyPr/>
          <a:lstStyle/>
          <a:p>
            <a:r>
              <a:rPr lang="en-US" dirty="0"/>
              <a:t>Standard Deviation</a:t>
            </a:r>
          </a:p>
        </p:txBody>
      </p:sp>
      <p:sp>
        <p:nvSpPr>
          <p:cNvPr id="3" name="TextBox 2">
            <a:extLst>
              <a:ext uri="{FF2B5EF4-FFF2-40B4-BE49-F238E27FC236}">
                <a16:creationId xmlns:a16="http://schemas.microsoft.com/office/drawing/2014/main" id="{8CB960C2-872D-4418-91E5-6829B760044F}"/>
              </a:ext>
            </a:extLst>
          </p:cNvPr>
          <p:cNvSpPr txBox="1"/>
          <p:nvPr/>
        </p:nvSpPr>
        <p:spPr>
          <a:xfrm>
            <a:off x="62820" y="572373"/>
            <a:ext cx="7629307" cy="1692771"/>
          </a:xfrm>
          <a:prstGeom prst="rect">
            <a:avLst/>
          </a:prstGeom>
          <a:noFill/>
        </p:spPr>
        <p:txBody>
          <a:bodyPr wrap="square" rtlCol="0">
            <a:spAutoFit/>
          </a:bodyPr>
          <a:lstStyle/>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Standard Deviation is a measure of how spread-out numbers are.</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Its symbol is </a:t>
            </a:r>
            <a:r>
              <a:rPr lang="en-US" sz="1800" b="1" i="0" dirty="0">
                <a:solidFill>
                  <a:schemeClr val="bg2">
                    <a:lumMod val="50000"/>
                    <a:lumOff val="50000"/>
                  </a:schemeClr>
                </a:solidFill>
                <a:effectLst/>
                <a:latin typeface="Verdana" panose="020B0604030504040204" pitchFamily="34" charset="0"/>
              </a:rPr>
              <a:t>σ</a:t>
            </a:r>
            <a:r>
              <a:rPr lang="en-US" sz="1800" b="0" i="0" dirty="0">
                <a:solidFill>
                  <a:schemeClr val="bg2">
                    <a:lumMod val="50000"/>
                    <a:lumOff val="50000"/>
                  </a:schemeClr>
                </a:solidFill>
                <a:effectLst/>
                <a:latin typeface="Verdana" panose="020B0604030504040204" pitchFamily="34" charset="0"/>
              </a:rPr>
              <a:t> (the </a:t>
            </a:r>
            <a:r>
              <a:rPr lang="en-US" sz="1800" b="0" i="0" dirty="0" err="1">
                <a:solidFill>
                  <a:schemeClr val="bg2">
                    <a:lumMod val="50000"/>
                    <a:lumOff val="50000"/>
                  </a:schemeClr>
                </a:solidFill>
                <a:effectLst/>
                <a:latin typeface="Verdana" panose="020B0604030504040204" pitchFamily="34" charset="0"/>
              </a:rPr>
              <a:t>greek</a:t>
            </a:r>
            <a:r>
              <a:rPr lang="en-US" sz="1800" b="0" i="0" dirty="0">
                <a:solidFill>
                  <a:schemeClr val="bg2">
                    <a:lumMod val="50000"/>
                    <a:lumOff val="50000"/>
                  </a:schemeClr>
                </a:solidFill>
                <a:effectLst/>
                <a:latin typeface="Verdana" panose="020B0604030504040204" pitchFamily="34" charset="0"/>
              </a:rPr>
              <a:t> letter sigma)</a:t>
            </a:r>
          </a:p>
          <a:p>
            <a:pPr marL="285750" indent="-285750" algn="l">
              <a:buFont typeface="Arial" panose="020B0604020202020204" pitchFamily="34" charset="0"/>
              <a:buChar char="•"/>
            </a:pPr>
            <a:r>
              <a:rPr lang="en-US" sz="1800" b="0" i="0" dirty="0">
                <a:solidFill>
                  <a:schemeClr val="bg2">
                    <a:lumMod val="50000"/>
                    <a:lumOff val="50000"/>
                  </a:schemeClr>
                </a:solidFill>
                <a:effectLst/>
                <a:latin typeface="Verdana" panose="020B0604030504040204" pitchFamily="34" charset="0"/>
              </a:rPr>
              <a:t>The formula is easy: it is the</a:t>
            </a:r>
            <a:r>
              <a:rPr lang="en-US" sz="1800" b="1" i="0" dirty="0">
                <a:solidFill>
                  <a:schemeClr val="bg2">
                    <a:lumMod val="50000"/>
                    <a:lumOff val="50000"/>
                  </a:schemeClr>
                </a:solidFill>
                <a:effectLst/>
                <a:latin typeface="Verdana" panose="020B0604030504040204" pitchFamily="34" charset="0"/>
              </a:rPr>
              <a:t> square root</a:t>
            </a:r>
            <a:r>
              <a:rPr lang="en-US" sz="1800" b="0" i="0" dirty="0">
                <a:solidFill>
                  <a:schemeClr val="bg2">
                    <a:lumMod val="50000"/>
                    <a:lumOff val="50000"/>
                  </a:schemeClr>
                </a:solidFill>
                <a:effectLst/>
                <a:latin typeface="Verdana" panose="020B0604030504040204" pitchFamily="34" charset="0"/>
              </a:rPr>
              <a:t> of the </a:t>
            </a:r>
            <a:r>
              <a:rPr lang="en-US" sz="1800" b="1" i="0" dirty="0">
                <a:solidFill>
                  <a:schemeClr val="bg2">
                    <a:lumMod val="50000"/>
                    <a:lumOff val="50000"/>
                  </a:schemeClr>
                </a:solidFill>
                <a:effectLst/>
                <a:latin typeface="Verdana" panose="020B0604030504040204" pitchFamily="34" charset="0"/>
              </a:rPr>
              <a:t>Variance.</a:t>
            </a:r>
            <a:r>
              <a:rPr lang="en-US" sz="1800" b="0" i="0" dirty="0">
                <a:solidFill>
                  <a:schemeClr val="bg2">
                    <a:lumMod val="50000"/>
                    <a:lumOff val="50000"/>
                  </a:schemeClr>
                </a:solidFill>
                <a:effectLst/>
                <a:latin typeface="Verdana" panose="020B0604030504040204" pitchFamily="34" charset="0"/>
              </a:rPr>
              <a:t> So now you ask, "What is the Variance?"</a:t>
            </a:r>
          </a:p>
          <a:p>
            <a:pPr>
              <a:spcBef>
                <a:spcPts val="0"/>
              </a:spcBef>
              <a:spcAft>
                <a:spcPts val="0"/>
              </a:spcAft>
              <a:buClr>
                <a:schemeClr val="bg1"/>
              </a:buClr>
            </a:pPr>
            <a:endParaRPr lang="en-US" sz="1400" dirty="0" err="1">
              <a:solidFill>
                <a:schemeClr val="bg2"/>
              </a:solidFill>
              <a:latin typeface="+mn-lt"/>
            </a:endParaRPr>
          </a:p>
        </p:txBody>
      </p:sp>
      <p:sp>
        <p:nvSpPr>
          <p:cNvPr id="4" name="Title 1">
            <a:extLst>
              <a:ext uri="{FF2B5EF4-FFF2-40B4-BE49-F238E27FC236}">
                <a16:creationId xmlns:a16="http://schemas.microsoft.com/office/drawing/2014/main" id="{F1DDCECB-FE11-4385-B2D3-479150F5E6FA}"/>
              </a:ext>
            </a:extLst>
          </p:cNvPr>
          <p:cNvSpPr txBox="1">
            <a:spLocks/>
          </p:cNvSpPr>
          <p:nvPr/>
        </p:nvSpPr>
        <p:spPr>
          <a:xfrm>
            <a:off x="62820" y="2106694"/>
            <a:ext cx="8229600" cy="637794"/>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kern="0" dirty="0"/>
              <a:t>Variance</a:t>
            </a:r>
          </a:p>
        </p:txBody>
      </p:sp>
      <p:sp>
        <p:nvSpPr>
          <p:cNvPr id="6" name="TextBox 5">
            <a:extLst>
              <a:ext uri="{FF2B5EF4-FFF2-40B4-BE49-F238E27FC236}">
                <a16:creationId xmlns:a16="http://schemas.microsoft.com/office/drawing/2014/main" id="{2F44518A-41CB-4383-A7A5-39A317FE295D}"/>
              </a:ext>
            </a:extLst>
          </p:cNvPr>
          <p:cNvSpPr txBox="1"/>
          <p:nvPr/>
        </p:nvSpPr>
        <p:spPr>
          <a:xfrm>
            <a:off x="62820" y="2564606"/>
            <a:ext cx="9081180" cy="1138773"/>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The Variance is defined as: The average of the squared differences from the Mean.</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400" dirty="0" err="1">
              <a:solidFill>
                <a:schemeClr val="bg2"/>
              </a:solidFill>
              <a:latin typeface="+mn-lt"/>
            </a:endParaRPr>
          </a:p>
        </p:txBody>
      </p:sp>
      <p:sp>
        <p:nvSpPr>
          <p:cNvPr id="11" name="Rectangle 4">
            <a:extLst>
              <a:ext uri="{FF2B5EF4-FFF2-40B4-BE49-F238E27FC236}">
                <a16:creationId xmlns:a16="http://schemas.microsoft.com/office/drawing/2014/main" id="{AB2D2E9B-99A2-44F3-B1E4-1D521B26FC9C}"/>
              </a:ext>
            </a:extLst>
          </p:cNvPr>
          <p:cNvSpPr>
            <a:spLocks noChangeArrowheads="1"/>
          </p:cNvSpPr>
          <p:nvPr/>
        </p:nvSpPr>
        <p:spPr bwMode="auto">
          <a:xfrm>
            <a:off x="693544" y="3202622"/>
            <a:ext cx="8229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o calculate the variance, follow these step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Work out the </a:t>
            </a:r>
            <a:r>
              <a:rPr lang="en-US" altLang="en-US" sz="1600" dirty="0">
                <a:solidFill>
                  <a:schemeClr val="accent1"/>
                </a:solidFill>
                <a:latin typeface="Verdana" panose="020B0604030504040204" pitchFamily="34" charset="0"/>
                <a:hlinkClick r:id="rId2">
                  <a:extLst>
                    <a:ext uri="{A12FA001-AC4F-418D-AE19-62706E023703}">
                      <ahyp:hlinkClr xmlns:ahyp="http://schemas.microsoft.com/office/drawing/2018/hyperlinkcolor" val="tx"/>
                    </a:ext>
                  </a:extLst>
                </a:hlinkClick>
              </a:rPr>
              <a:t>Mean</a:t>
            </a:r>
            <a:r>
              <a:rPr lang="en-US" altLang="en-US" sz="1600" dirty="0">
                <a:solidFill>
                  <a:schemeClr val="accent1"/>
                </a:solidFill>
                <a:latin typeface="Verdana" panose="020B0604030504040204" pitchFamily="34" charset="0"/>
              </a:rPr>
              <a:t> (the simple average of the numbers)</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for each number: subtract the Mean and square the result (the squared difference).</a:t>
            </a:r>
          </a:p>
          <a:p>
            <a:pPr marL="285750" marR="0" lvl="0" indent="-285750" defTabSz="914400" eaLnBrk="0" latinLnBrk="0" hangingPunct="0">
              <a:lnSpc>
                <a:spcPct val="100000"/>
              </a:lnSpc>
              <a:buClrTx/>
              <a:buSzTx/>
              <a:buFont typeface="Arial" panose="020B0604020202020204" pitchFamily="34" charset="0"/>
              <a:buChar char="•"/>
              <a:tabLst/>
            </a:pPr>
            <a:r>
              <a:rPr lang="en-US" altLang="en-US" sz="1600" dirty="0">
                <a:solidFill>
                  <a:schemeClr val="accent1"/>
                </a:solidFill>
                <a:latin typeface="Verdana" panose="020B0604030504040204" pitchFamily="34" charset="0"/>
              </a:rPr>
              <a:t>Then work out the average of those squared differences. (</a:t>
            </a:r>
            <a:r>
              <a:rPr lang="en-US" altLang="en-US" sz="1600" dirty="0">
                <a:solidFill>
                  <a:schemeClr val="accent1"/>
                </a:solidFill>
                <a:latin typeface="Verdana" panose="020B0604030504040204" pitchFamily="34" charset="0"/>
                <a:hlinkClick r:id="rId3">
                  <a:extLst>
                    <a:ext uri="{A12FA001-AC4F-418D-AE19-62706E023703}">
                      <ahyp:hlinkClr xmlns:ahyp="http://schemas.microsoft.com/office/drawing/2018/hyperlinkcolor" val="tx"/>
                    </a:ext>
                  </a:extLst>
                </a:hlinkClick>
              </a:rPr>
              <a:t>Why Square?</a:t>
            </a:r>
            <a:r>
              <a:rPr lang="en-US" altLang="en-US" sz="1600" dirty="0">
                <a:solidFill>
                  <a:schemeClr val="accent1"/>
                </a:solidFill>
                <a:latin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88610285"/>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F2294-467A-462C-83C7-3043808D6D56}"/>
              </a:ext>
            </a:extLst>
          </p:cNvPr>
          <p:cNvSpPr>
            <a:spLocks noGrp="1"/>
          </p:cNvSpPr>
          <p:nvPr>
            <p:ph type="title"/>
          </p:nvPr>
        </p:nvSpPr>
        <p:spPr>
          <a:xfrm>
            <a:off x="0" y="0"/>
            <a:ext cx="8229600" cy="637794"/>
          </a:xfrm>
        </p:spPr>
        <p:txBody>
          <a:bodyPr/>
          <a:lstStyle/>
          <a:p>
            <a:r>
              <a:rPr lang="en-US" dirty="0"/>
              <a:t>Variance - Ex</a:t>
            </a:r>
          </a:p>
        </p:txBody>
      </p:sp>
      <p:pic>
        <p:nvPicPr>
          <p:cNvPr id="4" name="Picture 3">
            <a:extLst>
              <a:ext uri="{FF2B5EF4-FFF2-40B4-BE49-F238E27FC236}">
                <a16:creationId xmlns:a16="http://schemas.microsoft.com/office/drawing/2014/main" id="{1D437307-14BE-4815-A5C1-396AAFF9B2EB}"/>
              </a:ext>
            </a:extLst>
          </p:cNvPr>
          <p:cNvPicPr>
            <a:picLocks noChangeAspect="1"/>
          </p:cNvPicPr>
          <p:nvPr/>
        </p:nvPicPr>
        <p:blipFill>
          <a:blip r:embed="rId2"/>
          <a:stretch>
            <a:fillRect/>
          </a:stretch>
        </p:blipFill>
        <p:spPr>
          <a:xfrm>
            <a:off x="716247" y="862066"/>
            <a:ext cx="5796235" cy="1573442"/>
          </a:xfrm>
          <a:prstGeom prst="rect">
            <a:avLst/>
          </a:prstGeom>
        </p:spPr>
      </p:pic>
      <p:sp>
        <p:nvSpPr>
          <p:cNvPr id="5" name="TextBox 4">
            <a:extLst>
              <a:ext uri="{FF2B5EF4-FFF2-40B4-BE49-F238E27FC236}">
                <a16:creationId xmlns:a16="http://schemas.microsoft.com/office/drawing/2014/main" id="{A32434E3-AF65-400B-AE8B-C5EBA451E0F8}"/>
              </a:ext>
            </a:extLst>
          </p:cNvPr>
          <p:cNvSpPr txBox="1"/>
          <p:nvPr/>
        </p:nvSpPr>
        <p:spPr>
          <a:xfrm>
            <a:off x="230344" y="523511"/>
            <a:ext cx="6519463" cy="338554"/>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Now we calculate each dog's difference from the Mean:</a:t>
            </a:r>
            <a:endParaRPr lang="en-US" sz="2000" dirty="0">
              <a:solidFill>
                <a:schemeClr val="bg2">
                  <a:lumMod val="50000"/>
                  <a:lumOff val="50000"/>
                </a:schemeClr>
              </a:solidFill>
              <a:latin typeface="+mn-lt"/>
            </a:endParaRPr>
          </a:p>
        </p:txBody>
      </p:sp>
      <p:sp>
        <p:nvSpPr>
          <p:cNvPr id="6" name="TextBox 5">
            <a:extLst>
              <a:ext uri="{FF2B5EF4-FFF2-40B4-BE49-F238E27FC236}">
                <a16:creationId xmlns:a16="http://schemas.microsoft.com/office/drawing/2014/main" id="{0CD470DC-9FC8-468B-BA20-CF437AFC230F}"/>
              </a:ext>
            </a:extLst>
          </p:cNvPr>
          <p:cNvSpPr txBox="1"/>
          <p:nvPr/>
        </p:nvSpPr>
        <p:spPr>
          <a:xfrm>
            <a:off x="90740" y="2571750"/>
            <a:ext cx="8794993" cy="584775"/>
          </a:xfrm>
          <a:prstGeom prst="rect">
            <a:avLst/>
          </a:prstGeom>
          <a:noFill/>
        </p:spPr>
        <p:txBody>
          <a:bodyPr wrap="square" rtlCol="0">
            <a:spAutoFit/>
          </a:bodyPr>
          <a:lstStyle/>
          <a:p>
            <a:pPr>
              <a:spcBef>
                <a:spcPts val="0"/>
              </a:spcBef>
              <a:spcAft>
                <a:spcPts val="0"/>
              </a:spcAft>
              <a:buClr>
                <a:schemeClr val="bg1"/>
              </a:buClr>
            </a:pPr>
            <a:r>
              <a:rPr lang="en-US" sz="1600" dirty="0">
                <a:solidFill>
                  <a:schemeClr val="bg2">
                    <a:lumMod val="50000"/>
                    <a:lumOff val="50000"/>
                  </a:schemeClr>
                </a:solidFill>
                <a:latin typeface="Verdana" panose="020B0604030504040204" pitchFamily="34" charset="0"/>
              </a:rPr>
              <a:t>To calculate the Variance, take each difference, square it, and then average the result:</a:t>
            </a:r>
          </a:p>
        </p:txBody>
      </p:sp>
    </p:spTree>
    <p:extLst>
      <p:ext uri="{BB962C8B-B14F-4D97-AF65-F5344CB8AC3E}">
        <p14:creationId xmlns:p14="http://schemas.microsoft.com/office/powerpoint/2010/main" val="4213750322"/>
      </p:ext>
    </p:extLst>
  </p:cSld>
  <p:clrMapOvr>
    <a:masterClrMapping/>
  </p:clrMapOvr>
  <p:transition spd="med">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6779-CD6A-4E57-AE1B-EF50594A725F}"/>
              </a:ext>
            </a:extLst>
          </p:cNvPr>
          <p:cNvSpPr>
            <a:spLocks noGrp="1"/>
          </p:cNvSpPr>
          <p:nvPr>
            <p:ph type="title"/>
          </p:nvPr>
        </p:nvSpPr>
        <p:spPr>
          <a:xfrm>
            <a:off x="0" y="0"/>
            <a:ext cx="8229600" cy="637794"/>
          </a:xfrm>
        </p:spPr>
        <p:txBody>
          <a:bodyPr/>
          <a:lstStyle/>
          <a:p>
            <a:r>
              <a:rPr lang="en-US" dirty="0"/>
              <a:t>Variance – Ex continued</a:t>
            </a:r>
          </a:p>
        </p:txBody>
      </p:sp>
      <p:pic>
        <p:nvPicPr>
          <p:cNvPr id="4" name="Picture 3">
            <a:extLst>
              <a:ext uri="{FF2B5EF4-FFF2-40B4-BE49-F238E27FC236}">
                <a16:creationId xmlns:a16="http://schemas.microsoft.com/office/drawing/2014/main" id="{1A86875E-99D1-4F9C-A42B-BF8A9B27E777}"/>
              </a:ext>
            </a:extLst>
          </p:cNvPr>
          <p:cNvPicPr>
            <a:picLocks noChangeAspect="1"/>
          </p:cNvPicPr>
          <p:nvPr/>
        </p:nvPicPr>
        <p:blipFill>
          <a:blip r:embed="rId2"/>
          <a:stretch>
            <a:fillRect/>
          </a:stretch>
        </p:blipFill>
        <p:spPr>
          <a:xfrm>
            <a:off x="1409627" y="1022430"/>
            <a:ext cx="4809689" cy="2271632"/>
          </a:xfrm>
          <a:prstGeom prst="rect">
            <a:avLst/>
          </a:prstGeom>
        </p:spPr>
      </p:pic>
      <p:sp>
        <p:nvSpPr>
          <p:cNvPr id="5" name="TextBox 4">
            <a:extLst>
              <a:ext uri="{FF2B5EF4-FFF2-40B4-BE49-F238E27FC236}">
                <a16:creationId xmlns:a16="http://schemas.microsoft.com/office/drawing/2014/main" id="{E8670F94-D7F9-4415-86ED-4018DED05897}"/>
              </a:ext>
            </a:extLst>
          </p:cNvPr>
          <p:cNvSpPr txBox="1"/>
          <p:nvPr/>
        </p:nvSpPr>
        <p:spPr>
          <a:xfrm>
            <a:off x="551432" y="3769282"/>
            <a:ext cx="4690663"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So, the Variance is </a:t>
            </a:r>
            <a:r>
              <a:rPr lang="en-US" sz="1100" b="1" i="0" dirty="0">
                <a:solidFill>
                  <a:schemeClr val="bg2">
                    <a:lumMod val="50000"/>
                    <a:lumOff val="50000"/>
                  </a:schemeClr>
                </a:solidFill>
                <a:effectLst/>
                <a:latin typeface="Verdana" panose="020B0604030504040204" pitchFamily="34" charset="0"/>
              </a:rPr>
              <a:t>21,704</a:t>
            </a:r>
            <a:endParaRPr lang="en-US" sz="1400" dirty="0">
              <a:solidFill>
                <a:schemeClr val="bg2">
                  <a:lumMod val="50000"/>
                  <a:lumOff val="50000"/>
                </a:schemeClr>
              </a:solidFill>
              <a:latin typeface="+mn-lt"/>
            </a:endParaRPr>
          </a:p>
        </p:txBody>
      </p:sp>
    </p:spTree>
    <p:extLst>
      <p:ext uri="{BB962C8B-B14F-4D97-AF65-F5344CB8AC3E}">
        <p14:creationId xmlns:p14="http://schemas.microsoft.com/office/powerpoint/2010/main" val="799166285"/>
      </p:ext>
    </p:extLst>
  </p:cSld>
  <p:clrMapOvr>
    <a:masterClrMapping/>
  </p:clrMapOvr>
  <p:transition spd="med">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620B-98F5-4335-AD5A-53E05E2B254D}"/>
              </a:ext>
            </a:extLst>
          </p:cNvPr>
          <p:cNvSpPr>
            <a:spLocks noGrp="1"/>
          </p:cNvSpPr>
          <p:nvPr>
            <p:ph type="title"/>
          </p:nvPr>
        </p:nvSpPr>
        <p:spPr>
          <a:xfrm>
            <a:off x="0" y="0"/>
            <a:ext cx="8229600" cy="637794"/>
          </a:xfrm>
        </p:spPr>
        <p:txBody>
          <a:bodyPr/>
          <a:lstStyle/>
          <a:p>
            <a:r>
              <a:rPr lang="en-US" dirty="0"/>
              <a:t>Standard Deviation </a:t>
            </a:r>
          </a:p>
        </p:txBody>
      </p:sp>
      <p:sp>
        <p:nvSpPr>
          <p:cNvPr id="3" name="TextBox 2">
            <a:extLst>
              <a:ext uri="{FF2B5EF4-FFF2-40B4-BE49-F238E27FC236}">
                <a16:creationId xmlns:a16="http://schemas.microsoft.com/office/drawing/2014/main" id="{AE4C90B8-F407-49EC-A54D-E9774AA2C94F}"/>
              </a:ext>
            </a:extLst>
          </p:cNvPr>
          <p:cNvSpPr txBox="1"/>
          <p:nvPr/>
        </p:nvSpPr>
        <p:spPr>
          <a:xfrm>
            <a:off x="0" y="579353"/>
            <a:ext cx="7489704" cy="307777"/>
          </a:xfrm>
          <a:prstGeom prst="rect">
            <a:avLst/>
          </a:prstGeom>
          <a:noFill/>
        </p:spPr>
        <p:txBody>
          <a:bodyPr wrap="square" rtlCol="0">
            <a:spAutoFit/>
          </a:bodyPr>
          <a:lstStyle/>
          <a:p>
            <a:pPr>
              <a:spcBef>
                <a:spcPts val="0"/>
              </a:spcBef>
              <a:spcAft>
                <a:spcPts val="0"/>
              </a:spcAft>
              <a:buClr>
                <a:schemeClr val="bg1"/>
              </a:buClr>
            </a:pPr>
            <a:r>
              <a:rPr lang="en-US" sz="1400" b="0" i="0" dirty="0">
                <a:solidFill>
                  <a:schemeClr val="bg2">
                    <a:lumMod val="50000"/>
                    <a:lumOff val="50000"/>
                  </a:schemeClr>
                </a:solidFill>
                <a:effectLst/>
                <a:latin typeface="Verdana" panose="020B0604030504040204" pitchFamily="34" charset="0"/>
              </a:rPr>
              <a:t>And the Standard Deviation is just the square root of Variance, so:</a:t>
            </a:r>
            <a:endParaRPr lang="en-US" sz="18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E5BC06AD-C58E-4108-9D27-4A78A855F4A5}"/>
              </a:ext>
            </a:extLst>
          </p:cNvPr>
          <p:cNvPicPr>
            <a:picLocks noChangeAspect="1"/>
          </p:cNvPicPr>
          <p:nvPr/>
        </p:nvPicPr>
        <p:blipFill>
          <a:blip r:embed="rId2"/>
          <a:stretch>
            <a:fillRect/>
          </a:stretch>
        </p:blipFill>
        <p:spPr>
          <a:xfrm>
            <a:off x="1986179" y="887130"/>
            <a:ext cx="2983690" cy="1263533"/>
          </a:xfrm>
          <a:prstGeom prst="rect">
            <a:avLst/>
          </a:prstGeom>
        </p:spPr>
      </p:pic>
      <p:pic>
        <p:nvPicPr>
          <p:cNvPr id="7" name="Picture 6">
            <a:extLst>
              <a:ext uri="{FF2B5EF4-FFF2-40B4-BE49-F238E27FC236}">
                <a16:creationId xmlns:a16="http://schemas.microsoft.com/office/drawing/2014/main" id="{931D458C-A0C9-4716-86D8-0E33FCB322A4}"/>
              </a:ext>
            </a:extLst>
          </p:cNvPr>
          <p:cNvPicPr>
            <a:picLocks noChangeAspect="1"/>
          </p:cNvPicPr>
          <p:nvPr/>
        </p:nvPicPr>
        <p:blipFill>
          <a:blip r:embed="rId3"/>
          <a:stretch>
            <a:fillRect/>
          </a:stretch>
        </p:blipFill>
        <p:spPr>
          <a:xfrm>
            <a:off x="211949" y="2966341"/>
            <a:ext cx="4904502" cy="1648486"/>
          </a:xfrm>
          <a:prstGeom prst="rect">
            <a:avLst/>
          </a:prstGeom>
        </p:spPr>
      </p:pic>
      <p:sp>
        <p:nvSpPr>
          <p:cNvPr id="8" name="TextBox 7">
            <a:extLst>
              <a:ext uri="{FF2B5EF4-FFF2-40B4-BE49-F238E27FC236}">
                <a16:creationId xmlns:a16="http://schemas.microsoft.com/office/drawing/2014/main" id="{E92EE6A2-F38C-4E19-BEA8-F4669A0C412E}"/>
              </a:ext>
            </a:extLst>
          </p:cNvPr>
          <p:cNvSpPr txBox="1"/>
          <p:nvPr/>
        </p:nvSpPr>
        <p:spPr>
          <a:xfrm>
            <a:off x="0" y="2387248"/>
            <a:ext cx="6324018" cy="430887"/>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And the good thing about the Standard Deviation is that it is useful. Now we can show which heights are within one Standard Deviation (147mm) of the Mean:</a:t>
            </a:r>
            <a:endParaRPr lang="en-US" sz="1400" dirty="0">
              <a:solidFill>
                <a:schemeClr val="bg2">
                  <a:lumMod val="50000"/>
                  <a:lumOff val="50000"/>
                </a:schemeClr>
              </a:solidFill>
              <a:latin typeface="+mn-lt"/>
            </a:endParaRPr>
          </a:p>
        </p:txBody>
      </p:sp>
      <p:sp>
        <p:nvSpPr>
          <p:cNvPr id="10" name="TextBox 9">
            <a:extLst>
              <a:ext uri="{FF2B5EF4-FFF2-40B4-BE49-F238E27FC236}">
                <a16:creationId xmlns:a16="http://schemas.microsoft.com/office/drawing/2014/main" id="{98B8F9D4-2C7B-451C-A083-7F06BA7A3569}"/>
              </a:ext>
            </a:extLst>
          </p:cNvPr>
          <p:cNvSpPr txBox="1"/>
          <p:nvPr/>
        </p:nvSpPr>
        <p:spPr>
          <a:xfrm>
            <a:off x="5263035" y="3462156"/>
            <a:ext cx="3880965" cy="738664"/>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accent1"/>
                </a:solidFill>
                <a:latin typeface="+mn-lt"/>
              </a:rPr>
              <a:t>So, using the Standard Deviation we have a "standard" way of knowing what is normal, and what is extra large or extra small.</a:t>
            </a:r>
          </a:p>
        </p:txBody>
      </p:sp>
    </p:spTree>
    <p:extLst>
      <p:ext uri="{BB962C8B-B14F-4D97-AF65-F5344CB8AC3E}">
        <p14:creationId xmlns:p14="http://schemas.microsoft.com/office/powerpoint/2010/main" val="2062386995"/>
      </p:ext>
    </p:extLst>
  </p:cSld>
  <p:clrMapOvr>
    <a:masterClrMapping/>
  </p:clrMapOvr>
  <p:transition spd="med">
    <p:wipe dir="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DA2E5-19BC-41C1-9716-CDA111BFDC1E}"/>
              </a:ext>
            </a:extLst>
          </p:cNvPr>
          <p:cNvSpPr>
            <a:spLocks noGrp="1"/>
          </p:cNvSpPr>
          <p:nvPr>
            <p:ph type="title"/>
          </p:nvPr>
        </p:nvSpPr>
        <p:spPr>
          <a:xfrm>
            <a:off x="171014" y="126370"/>
            <a:ext cx="8229600" cy="637794"/>
          </a:xfrm>
        </p:spPr>
        <p:txBody>
          <a:bodyPr/>
          <a:lstStyle/>
          <a:p>
            <a:r>
              <a:rPr lang="en-US" dirty="0"/>
              <a:t>Another Example – Standard Deviation </a:t>
            </a:r>
          </a:p>
        </p:txBody>
      </p:sp>
    </p:spTree>
    <p:extLst>
      <p:ext uri="{BB962C8B-B14F-4D97-AF65-F5344CB8AC3E}">
        <p14:creationId xmlns:p14="http://schemas.microsoft.com/office/powerpoint/2010/main" val="1577341905"/>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7E8FC-E53A-4E79-8F5A-821A8B64772A}"/>
              </a:ext>
            </a:extLst>
          </p:cNvPr>
          <p:cNvSpPr>
            <a:spLocks noGrp="1"/>
          </p:cNvSpPr>
          <p:nvPr>
            <p:ph type="title"/>
          </p:nvPr>
        </p:nvSpPr>
        <p:spPr>
          <a:xfrm>
            <a:off x="0" y="0"/>
            <a:ext cx="8229600" cy="637794"/>
          </a:xfrm>
        </p:spPr>
        <p:txBody>
          <a:bodyPr/>
          <a:lstStyle/>
          <a:p>
            <a:r>
              <a:rPr lang="en-US" dirty="0"/>
              <a:t>Standard Deviation – Population &amp; Sample</a:t>
            </a:r>
          </a:p>
        </p:txBody>
      </p:sp>
      <p:sp>
        <p:nvSpPr>
          <p:cNvPr id="3" name="TextBox 2">
            <a:extLst>
              <a:ext uri="{FF2B5EF4-FFF2-40B4-BE49-F238E27FC236}">
                <a16:creationId xmlns:a16="http://schemas.microsoft.com/office/drawing/2014/main" id="{FD0A08EA-D57C-4F83-A00F-9136C8E975A8}"/>
              </a:ext>
            </a:extLst>
          </p:cNvPr>
          <p:cNvSpPr txBox="1"/>
          <p:nvPr/>
        </p:nvSpPr>
        <p:spPr>
          <a:xfrm>
            <a:off x="97723" y="903040"/>
            <a:ext cx="8418064" cy="3077766"/>
          </a:xfrm>
          <a:prstGeom prst="rect">
            <a:avLst/>
          </a:prstGeom>
          <a:noFill/>
        </p:spPr>
        <p:txBody>
          <a:bodyPr wrap="square" rtlCol="0">
            <a:spAutoFit/>
          </a:bodyPr>
          <a:lstStyle/>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Example: if our 5 dogs are just a </a:t>
            </a:r>
            <a:r>
              <a:rPr lang="en-US" sz="2000" b="1" i="0" dirty="0">
                <a:solidFill>
                  <a:schemeClr val="bg2">
                    <a:lumMod val="50000"/>
                    <a:lumOff val="50000"/>
                  </a:schemeClr>
                </a:solidFill>
                <a:effectLst/>
                <a:latin typeface="Verdana" panose="020B0604030504040204" pitchFamily="34" charset="0"/>
              </a:rPr>
              <a:t>sample</a:t>
            </a:r>
            <a:r>
              <a:rPr lang="en-US" sz="2000" b="0" i="0" dirty="0">
                <a:solidFill>
                  <a:schemeClr val="bg2">
                    <a:lumMod val="50000"/>
                    <a:lumOff val="50000"/>
                  </a:schemeClr>
                </a:solidFill>
                <a:effectLst/>
                <a:latin typeface="Verdana" panose="020B0604030504040204" pitchFamily="34" charset="0"/>
              </a:rPr>
              <a:t> of a bigger population of dogs, we divide by </a:t>
            </a:r>
            <a:r>
              <a:rPr lang="en-US" sz="2000" b="1" i="0" dirty="0">
                <a:solidFill>
                  <a:schemeClr val="bg2">
                    <a:lumMod val="50000"/>
                    <a:lumOff val="50000"/>
                  </a:schemeClr>
                </a:solidFill>
                <a:effectLst/>
                <a:latin typeface="Verdana" panose="020B0604030504040204" pitchFamily="34" charset="0"/>
              </a:rPr>
              <a:t>4 instead of 5</a:t>
            </a:r>
            <a:r>
              <a:rPr lang="en-US" sz="2000" b="0" i="0" dirty="0">
                <a:solidFill>
                  <a:schemeClr val="bg2">
                    <a:lumMod val="50000"/>
                    <a:lumOff val="50000"/>
                  </a:schemeClr>
                </a:solidFill>
                <a:effectLst/>
                <a:latin typeface="Verdana" panose="020B0604030504040204" pitchFamily="34" charset="0"/>
              </a:rPr>
              <a:t> like this:</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Variance = 108,520 / </a:t>
            </a:r>
            <a:r>
              <a:rPr lang="en-US" sz="2000" b="1" i="0" dirty="0">
                <a:solidFill>
                  <a:schemeClr val="bg2">
                    <a:lumMod val="50000"/>
                    <a:lumOff val="50000"/>
                  </a:schemeClr>
                </a:solidFill>
                <a:effectLst/>
                <a:latin typeface="Verdana" panose="020B0604030504040204" pitchFamily="34" charset="0"/>
              </a:rPr>
              <a:t>4</a:t>
            </a:r>
            <a:r>
              <a:rPr lang="en-US" sz="2000" b="0" i="0" dirty="0">
                <a:solidFill>
                  <a:schemeClr val="bg2">
                    <a:lumMod val="50000"/>
                    <a:lumOff val="50000"/>
                  </a:schemeClr>
                </a:solidFill>
                <a:effectLst/>
                <a:latin typeface="Verdana" panose="020B0604030504040204" pitchFamily="34" charset="0"/>
              </a:rPr>
              <a:t> = </a:t>
            </a:r>
            <a:r>
              <a:rPr lang="en-US" sz="2000" b="1" i="0" dirty="0">
                <a:solidFill>
                  <a:schemeClr val="bg2">
                    <a:lumMod val="50000"/>
                    <a:lumOff val="50000"/>
                  </a:schemeClr>
                </a:solidFill>
                <a:effectLst/>
                <a:latin typeface="Verdana" panose="020B0604030504040204" pitchFamily="34" charset="0"/>
              </a:rPr>
              <a:t>27,130</a:t>
            </a:r>
          </a:p>
          <a:p>
            <a:pPr algn="l"/>
            <a:endParaRPr lang="en-US" sz="2000" b="0" i="0" dirty="0">
              <a:solidFill>
                <a:schemeClr val="bg2">
                  <a:lumMod val="50000"/>
                  <a:lumOff val="50000"/>
                </a:schemeClr>
              </a:solidFill>
              <a:effectLst/>
              <a:latin typeface="Verdana" panose="020B0604030504040204" pitchFamily="34" charset="0"/>
            </a:endParaRPr>
          </a:p>
          <a:p>
            <a:pPr marL="457200" indent="-4572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Sample Standard Deviation = √27,130 = </a:t>
            </a:r>
            <a:r>
              <a:rPr lang="en-US" sz="2000" b="1" i="0" dirty="0">
                <a:solidFill>
                  <a:schemeClr val="bg2">
                    <a:lumMod val="50000"/>
                    <a:lumOff val="50000"/>
                  </a:schemeClr>
                </a:solidFill>
                <a:effectLst/>
                <a:latin typeface="Verdana" panose="020B0604030504040204" pitchFamily="34" charset="0"/>
              </a:rPr>
              <a:t>165</a:t>
            </a:r>
            <a:r>
              <a:rPr lang="en-US" sz="2000" b="0" i="0" dirty="0">
                <a:solidFill>
                  <a:schemeClr val="bg2">
                    <a:lumMod val="50000"/>
                    <a:lumOff val="50000"/>
                  </a:schemeClr>
                </a:solidFill>
                <a:effectLst/>
                <a:latin typeface="Verdana" panose="020B0604030504040204" pitchFamily="34" charset="0"/>
              </a:rPr>
              <a:t> (to the nearest mm)</a:t>
            </a:r>
          </a:p>
          <a:p>
            <a:pPr algn="l"/>
            <a:endParaRPr lang="en-US" sz="2000" b="0" i="0" dirty="0">
              <a:solidFill>
                <a:schemeClr val="bg2">
                  <a:lumMod val="50000"/>
                  <a:lumOff val="50000"/>
                </a:schemeClr>
              </a:solidFill>
              <a:effectLst/>
              <a:latin typeface="Verdana" panose="020B0604030504040204" pitchFamily="34" charset="0"/>
            </a:endParaRPr>
          </a:p>
          <a:p>
            <a:pPr marL="342900" indent="-342900" algn="l">
              <a:buFont typeface="Wingdings" panose="05000000000000000000" pitchFamily="2" charset="2"/>
              <a:buChar char="q"/>
            </a:pPr>
            <a:r>
              <a:rPr lang="en-US" sz="2000" b="0" i="0" dirty="0">
                <a:solidFill>
                  <a:schemeClr val="bg2">
                    <a:lumMod val="50000"/>
                    <a:lumOff val="50000"/>
                  </a:schemeClr>
                </a:solidFill>
                <a:effectLst/>
                <a:latin typeface="Verdana" panose="020B0604030504040204" pitchFamily="34" charset="0"/>
              </a:rPr>
              <a:t>Think of it as a "correction" when your data is only a sample.</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1892214900"/>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C4E3-6B94-4D41-9DB2-4A1A4413DA08}"/>
              </a:ext>
            </a:extLst>
          </p:cNvPr>
          <p:cNvSpPr>
            <a:spLocks noGrp="1"/>
          </p:cNvSpPr>
          <p:nvPr>
            <p:ph type="title"/>
          </p:nvPr>
        </p:nvSpPr>
        <p:spPr>
          <a:xfrm>
            <a:off x="114300" y="112410"/>
            <a:ext cx="8229600" cy="637794"/>
          </a:xfrm>
        </p:spPr>
        <p:txBody>
          <a:bodyPr/>
          <a:lstStyle/>
          <a:p>
            <a:r>
              <a:rPr lang="en-US" dirty="0"/>
              <a:t>Standard Deviation - Formula</a:t>
            </a:r>
          </a:p>
        </p:txBody>
      </p:sp>
      <p:sp>
        <p:nvSpPr>
          <p:cNvPr id="10" name="TextBox 9">
            <a:extLst>
              <a:ext uri="{FF2B5EF4-FFF2-40B4-BE49-F238E27FC236}">
                <a16:creationId xmlns:a16="http://schemas.microsoft.com/office/drawing/2014/main" id="{933A42C8-B9B8-4D5C-B787-BC7681B6E0FD}"/>
              </a:ext>
            </a:extLst>
          </p:cNvPr>
          <p:cNvSpPr txBox="1"/>
          <p:nvPr/>
        </p:nvSpPr>
        <p:spPr>
          <a:xfrm>
            <a:off x="5309278" y="2087065"/>
            <a:ext cx="3720422" cy="1323439"/>
          </a:xfrm>
          <a:prstGeom prst="rect">
            <a:avLst/>
          </a:prstGeom>
          <a:noFill/>
        </p:spPr>
        <p:txBody>
          <a:bodyPr wrap="square" rtlCol="0">
            <a:spAutoFit/>
          </a:bodyPr>
          <a:lstStyle/>
          <a:p>
            <a:pPr>
              <a:spcBef>
                <a:spcPts val="0"/>
              </a:spcBef>
              <a:spcAft>
                <a:spcPts val="0"/>
              </a:spcAft>
              <a:buClr>
                <a:schemeClr val="bg1"/>
              </a:buClr>
            </a:pPr>
            <a:r>
              <a:rPr lang="en-US" sz="1600" b="0" i="0" dirty="0">
                <a:solidFill>
                  <a:schemeClr val="bg2">
                    <a:lumMod val="50000"/>
                    <a:lumOff val="50000"/>
                  </a:schemeClr>
                </a:solidFill>
                <a:effectLst/>
                <a:latin typeface="Verdana" panose="020B0604030504040204" pitchFamily="34" charset="0"/>
              </a:rPr>
              <a:t>Looks complicated, but the important change is to divide by </a:t>
            </a:r>
            <a:r>
              <a:rPr lang="en-US" sz="1600" b="1" i="0" dirty="0">
                <a:solidFill>
                  <a:schemeClr val="bg2">
                    <a:lumMod val="50000"/>
                    <a:lumOff val="50000"/>
                  </a:schemeClr>
                </a:solidFill>
                <a:effectLst/>
                <a:latin typeface="Verdana" panose="020B0604030504040204" pitchFamily="34" charset="0"/>
              </a:rPr>
              <a:t>N-1</a:t>
            </a:r>
            <a:r>
              <a:rPr lang="en-US" sz="1600" b="0" i="0" dirty="0">
                <a:solidFill>
                  <a:schemeClr val="bg2">
                    <a:lumMod val="50000"/>
                    <a:lumOff val="50000"/>
                  </a:schemeClr>
                </a:solidFill>
                <a:effectLst/>
                <a:latin typeface="Verdana" panose="020B0604030504040204" pitchFamily="34" charset="0"/>
              </a:rPr>
              <a:t> (instead of </a:t>
            </a:r>
            <a:r>
              <a:rPr lang="en-US" sz="1600" b="1" i="0" dirty="0">
                <a:solidFill>
                  <a:schemeClr val="bg2">
                    <a:lumMod val="50000"/>
                    <a:lumOff val="50000"/>
                  </a:schemeClr>
                </a:solidFill>
                <a:effectLst/>
                <a:latin typeface="Verdana" panose="020B0604030504040204" pitchFamily="34" charset="0"/>
              </a:rPr>
              <a:t>N</a:t>
            </a:r>
            <a:r>
              <a:rPr lang="en-US" sz="1600" b="0" i="0" dirty="0">
                <a:solidFill>
                  <a:schemeClr val="bg2">
                    <a:lumMod val="50000"/>
                    <a:lumOff val="50000"/>
                  </a:schemeClr>
                </a:solidFill>
                <a:effectLst/>
                <a:latin typeface="Verdana" panose="020B0604030504040204" pitchFamily="34" charset="0"/>
              </a:rPr>
              <a:t>) when calculating a Sample Standard Deviation</a:t>
            </a:r>
            <a:endParaRPr lang="en-US" sz="2000" dirty="0">
              <a:solidFill>
                <a:schemeClr val="bg2">
                  <a:lumMod val="50000"/>
                  <a:lumOff val="50000"/>
                </a:schemeClr>
              </a:solidFill>
              <a:latin typeface="+mn-lt"/>
            </a:endParaRPr>
          </a:p>
        </p:txBody>
      </p:sp>
      <p:pic>
        <p:nvPicPr>
          <p:cNvPr id="12" name="Picture 11">
            <a:extLst>
              <a:ext uri="{FF2B5EF4-FFF2-40B4-BE49-F238E27FC236}">
                <a16:creationId xmlns:a16="http://schemas.microsoft.com/office/drawing/2014/main" id="{653F05E3-1A06-4930-9772-3415C65D5046}"/>
              </a:ext>
            </a:extLst>
          </p:cNvPr>
          <p:cNvPicPr>
            <a:picLocks noChangeAspect="1"/>
          </p:cNvPicPr>
          <p:nvPr/>
        </p:nvPicPr>
        <p:blipFill>
          <a:blip r:embed="rId2"/>
          <a:stretch>
            <a:fillRect/>
          </a:stretch>
        </p:blipFill>
        <p:spPr>
          <a:xfrm>
            <a:off x="114300" y="851297"/>
            <a:ext cx="4724655" cy="1808141"/>
          </a:xfrm>
          <a:prstGeom prst="rect">
            <a:avLst/>
          </a:prstGeom>
        </p:spPr>
      </p:pic>
      <p:pic>
        <p:nvPicPr>
          <p:cNvPr id="14" name="Picture 13">
            <a:extLst>
              <a:ext uri="{FF2B5EF4-FFF2-40B4-BE49-F238E27FC236}">
                <a16:creationId xmlns:a16="http://schemas.microsoft.com/office/drawing/2014/main" id="{B435FB2B-9487-497B-8EF8-99AA21450932}"/>
              </a:ext>
            </a:extLst>
          </p:cNvPr>
          <p:cNvPicPr>
            <a:picLocks noChangeAspect="1"/>
          </p:cNvPicPr>
          <p:nvPr/>
        </p:nvPicPr>
        <p:blipFill>
          <a:blip r:embed="rId3"/>
          <a:stretch>
            <a:fillRect/>
          </a:stretch>
        </p:blipFill>
        <p:spPr>
          <a:xfrm>
            <a:off x="114300" y="2892968"/>
            <a:ext cx="4724655" cy="1672051"/>
          </a:xfrm>
          <a:prstGeom prst="rect">
            <a:avLst/>
          </a:prstGeom>
        </p:spPr>
      </p:pic>
    </p:spTree>
    <p:extLst>
      <p:ext uri="{BB962C8B-B14F-4D97-AF65-F5344CB8AC3E}">
        <p14:creationId xmlns:p14="http://schemas.microsoft.com/office/powerpoint/2010/main" val="3884285239"/>
      </p:ext>
    </p:extLst>
  </p:cSld>
  <p:clrMapOvr>
    <a:masterClrMapping/>
  </p:clrMapOvr>
  <p:transition spd="med">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3A06-D0A1-4D54-8804-1862AD402AE2}"/>
              </a:ext>
            </a:extLst>
          </p:cNvPr>
          <p:cNvSpPr>
            <a:spLocks noGrp="1"/>
          </p:cNvSpPr>
          <p:nvPr>
            <p:ph type="title"/>
          </p:nvPr>
        </p:nvSpPr>
        <p:spPr>
          <a:xfrm>
            <a:off x="0" y="0"/>
            <a:ext cx="8229600" cy="637794"/>
          </a:xfrm>
        </p:spPr>
        <p:txBody>
          <a:bodyPr/>
          <a:lstStyle/>
          <a:p>
            <a:r>
              <a:rPr lang="en-US" dirty="0"/>
              <a:t>Why Square the difference ? </a:t>
            </a:r>
          </a:p>
        </p:txBody>
      </p:sp>
      <p:sp>
        <p:nvSpPr>
          <p:cNvPr id="3" name="TextBox 2">
            <a:extLst>
              <a:ext uri="{FF2B5EF4-FFF2-40B4-BE49-F238E27FC236}">
                <a16:creationId xmlns:a16="http://schemas.microsoft.com/office/drawing/2014/main" id="{335ED887-CF6A-495E-9FF8-79FD8D96C0AD}"/>
              </a:ext>
            </a:extLst>
          </p:cNvPr>
          <p:cNvSpPr txBox="1"/>
          <p:nvPr/>
        </p:nvSpPr>
        <p:spPr>
          <a:xfrm>
            <a:off x="181484" y="558412"/>
            <a:ext cx="8048116" cy="3416320"/>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If we just add up the differences from the mean ... the negatives cancel the positives:</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that won't work. How about we use </a:t>
            </a:r>
            <a:r>
              <a:rPr lang="en-US" sz="1200" dirty="0">
                <a:solidFill>
                  <a:schemeClr val="bg2">
                    <a:lumMod val="50000"/>
                    <a:lumOff val="50000"/>
                  </a:schemeClr>
                </a:solidFill>
                <a:latin typeface="Verdana" panose="020B0604030504040204" pitchFamily="34" charset="0"/>
                <a:hlinkClick r:id="rId2">
                  <a:extLst>
                    <a:ext uri="{A12FA001-AC4F-418D-AE19-62706E023703}">
                      <ahyp:hlinkClr xmlns:ahyp="http://schemas.microsoft.com/office/drawing/2018/hyperlinkcolor" val="tx"/>
                    </a:ext>
                  </a:extLst>
                </a:hlinkClick>
              </a:rPr>
              <a:t>absolute values</a:t>
            </a:r>
            <a:r>
              <a:rPr lang="en-US" sz="1200" dirty="0">
                <a:solidFill>
                  <a:schemeClr val="bg2">
                    <a:lumMod val="50000"/>
                    <a:lumOff val="50000"/>
                  </a:schemeClr>
                </a:solidFill>
                <a:latin typeface="Verdana" panose="020B0604030504040204" pitchFamily="34" charset="0"/>
              </a:rPr>
              <a:t>?</a:t>
            </a:r>
            <a:br>
              <a:rPr lang="en-US" sz="1200" dirty="0">
                <a:solidFill>
                  <a:schemeClr val="bg2">
                    <a:lumMod val="50000"/>
                    <a:lumOff val="50000"/>
                  </a:schemeClr>
                </a:solidFill>
                <a:latin typeface="Verdana" panose="020B0604030504040204" pitchFamily="34" charset="0"/>
              </a:rPr>
            </a:b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looks good (and is the </a:t>
            </a:r>
            <a:r>
              <a:rPr lang="en-US" sz="1200" dirty="0">
                <a:solidFill>
                  <a:schemeClr val="bg2">
                    <a:lumMod val="50000"/>
                    <a:lumOff val="50000"/>
                  </a:schemeClr>
                </a:solidFill>
                <a:latin typeface="Verdana" panose="020B0604030504040204" pitchFamily="34" charset="0"/>
                <a:hlinkClick r:id="rId3">
                  <a:extLst>
                    <a:ext uri="{A12FA001-AC4F-418D-AE19-62706E023703}">
                      <ahyp:hlinkClr xmlns:ahyp="http://schemas.microsoft.com/office/drawing/2018/hyperlinkcolor" val="tx"/>
                    </a:ext>
                  </a:extLst>
                </a:hlinkClick>
              </a:rPr>
              <a:t>Mean Deviation</a:t>
            </a:r>
            <a:r>
              <a:rPr lang="en-US" sz="1200" dirty="0">
                <a:solidFill>
                  <a:schemeClr val="bg2">
                    <a:lumMod val="50000"/>
                    <a:lumOff val="50000"/>
                  </a:schemeClr>
                </a:solidFill>
                <a:latin typeface="Verdana" panose="020B0604030504040204" pitchFamily="34" charset="0"/>
              </a:rPr>
              <a:t>), but what about this case:</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Ex:</a:t>
            </a:r>
          </a:p>
        </p:txBody>
      </p:sp>
      <p:pic>
        <p:nvPicPr>
          <p:cNvPr id="5" name="Picture 4">
            <a:extLst>
              <a:ext uri="{FF2B5EF4-FFF2-40B4-BE49-F238E27FC236}">
                <a16:creationId xmlns:a16="http://schemas.microsoft.com/office/drawing/2014/main" id="{46EF63B6-C861-4B4A-BA4A-3E222C70C7D5}"/>
              </a:ext>
            </a:extLst>
          </p:cNvPr>
          <p:cNvPicPr>
            <a:picLocks noChangeAspect="1"/>
          </p:cNvPicPr>
          <p:nvPr/>
        </p:nvPicPr>
        <p:blipFill>
          <a:blip r:embed="rId4"/>
          <a:stretch>
            <a:fillRect/>
          </a:stretch>
        </p:blipFill>
        <p:spPr>
          <a:xfrm>
            <a:off x="654172" y="868666"/>
            <a:ext cx="2130910" cy="880711"/>
          </a:xfrm>
          <a:prstGeom prst="rect">
            <a:avLst/>
          </a:prstGeom>
        </p:spPr>
      </p:pic>
      <p:pic>
        <p:nvPicPr>
          <p:cNvPr id="7" name="Picture 6">
            <a:extLst>
              <a:ext uri="{FF2B5EF4-FFF2-40B4-BE49-F238E27FC236}">
                <a16:creationId xmlns:a16="http://schemas.microsoft.com/office/drawing/2014/main" id="{FF31FC51-1BB6-4110-984E-4ADCFEAD3B9D}"/>
              </a:ext>
            </a:extLst>
          </p:cNvPr>
          <p:cNvPicPr>
            <a:picLocks noChangeAspect="1"/>
          </p:cNvPicPr>
          <p:nvPr/>
        </p:nvPicPr>
        <p:blipFill>
          <a:blip r:embed="rId4"/>
          <a:stretch>
            <a:fillRect/>
          </a:stretch>
        </p:blipFill>
        <p:spPr>
          <a:xfrm>
            <a:off x="654173" y="2183727"/>
            <a:ext cx="2130910" cy="1048037"/>
          </a:xfrm>
          <a:prstGeom prst="rect">
            <a:avLst/>
          </a:prstGeom>
        </p:spPr>
      </p:pic>
      <p:pic>
        <p:nvPicPr>
          <p:cNvPr id="9" name="Picture 8">
            <a:extLst>
              <a:ext uri="{FF2B5EF4-FFF2-40B4-BE49-F238E27FC236}">
                <a16:creationId xmlns:a16="http://schemas.microsoft.com/office/drawing/2014/main" id="{64CAF348-C2B3-4FF9-97C9-997DD4E807AA}"/>
              </a:ext>
            </a:extLst>
          </p:cNvPr>
          <p:cNvPicPr>
            <a:picLocks noChangeAspect="1"/>
          </p:cNvPicPr>
          <p:nvPr/>
        </p:nvPicPr>
        <p:blipFill>
          <a:blip r:embed="rId5"/>
          <a:stretch>
            <a:fillRect/>
          </a:stretch>
        </p:blipFill>
        <p:spPr>
          <a:xfrm>
            <a:off x="654173" y="3666113"/>
            <a:ext cx="2130910" cy="1111583"/>
          </a:xfrm>
          <a:prstGeom prst="rect">
            <a:avLst/>
          </a:prstGeom>
        </p:spPr>
      </p:pic>
    </p:spTree>
    <p:extLst>
      <p:ext uri="{BB962C8B-B14F-4D97-AF65-F5344CB8AC3E}">
        <p14:creationId xmlns:p14="http://schemas.microsoft.com/office/powerpoint/2010/main" val="1560366396"/>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10AC9D2-C166-483A-A9F8-A47C63C5C8F9}"/>
              </a:ext>
            </a:extLst>
          </p:cNvPr>
          <p:cNvSpPr>
            <a:spLocks noGrp="1"/>
          </p:cNvSpPr>
          <p:nvPr>
            <p:ph type="title"/>
          </p:nvPr>
        </p:nvSpPr>
        <p:spPr>
          <a:xfrm>
            <a:off x="0" y="0"/>
            <a:ext cx="8229600" cy="637794"/>
          </a:xfrm>
        </p:spPr>
        <p:txBody>
          <a:bodyPr/>
          <a:lstStyle/>
          <a:p>
            <a:r>
              <a:rPr lang="en-US" dirty="0"/>
              <a:t>Why Square the difference ? - Continued </a:t>
            </a:r>
          </a:p>
        </p:txBody>
      </p:sp>
      <p:sp>
        <p:nvSpPr>
          <p:cNvPr id="4" name="TextBox 3">
            <a:extLst>
              <a:ext uri="{FF2B5EF4-FFF2-40B4-BE49-F238E27FC236}">
                <a16:creationId xmlns:a16="http://schemas.microsoft.com/office/drawing/2014/main" id="{F548E1AB-BBD9-419A-A5BF-9DF1DF5C418E}"/>
              </a:ext>
            </a:extLst>
          </p:cNvPr>
          <p:cNvSpPr txBox="1"/>
          <p:nvPr/>
        </p:nvSpPr>
        <p:spPr>
          <a:xfrm>
            <a:off x="97722" y="637794"/>
            <a:ext cx="7231438" cy="3970318"/>
          </a:xfrm>
          <a:prstGeom prst="rect">
            <a:avLst/>
          </a:prstGeom>
          <a:noFill/>
        </p:spPr>
        <p:txBody>
          <a:bodyPr wrap="square" rtlCol="0">
            <a:spAutoFit/>
          </a:bodyPr>
          <a:lstStyle/>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So let us try squaring each difference (and taking the square root at the end):</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r>
              <a:rPr lang="en-US" sz="1200" dirty="0">
                <a:solidFill>
                  <a:schemeClr val="bg2">
                    <a:lumMod val="50000"/>
                    <a:lumOff val="50000"/>
                  </a:schemeClr>
                </a:solidFill>
                <a:latin typeface="Verdana" panose="020B0604030504040204" pitchFamily="34" charset="0"/>
              </a:rPr>
              <a:t>That is nice! The Standard Deviation is bigger when the differences are more spread out ... just what we want.</a:t>
            </a: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a:p>
            <a:pPr>
              <a:spcBef>
                <a:spcPts val="0"/>
              </a:spcBef>
              <a:spcAft>
                <a:spcPts val="0"/>
              </a:spcAft>
              <a:buClr>
                <a:schemeClr val="bg1"/>
              </a:buClr>
            </a:pPr>
            <a:endParaRPr lang="en-US" sz="1200" dirty="0">
              <a:solidFill>
                <a:schemeClr val="bg2">
                  <a:lumMod val="50000"/>
                  <a:lumOff val="50000"/>
                </a:schemeClr>
              </a:solidFill>
              <a:latin typeface="Verdana" panose="020B0604030504040204" pitchFamily="34" charset="0"/>
            </a:endParaRPr>
          </a:p>
        </p:txBody>
      </p:sp>
      <p:pic>
        <p:nvPicPr>
          <p:cNvPr id="5" name="Picture 4">
            <a:extLst>
              <a:ext uri="{FF2B5EF4-FFF2-40B4-BE49-F238E27FC236}">
                <a16:creationId xmlns:a16="http://schemas.microsoft.com/office/drawing/2014/main" id="{EA9BD20E-FBEB-49E3-A54D-D22AB7DB24EA}"/>
              </a:ext>
            </a:extLst>
          </p:cNvPr>
          <p:cNvPicPr>
            <a:picLocks noChangeAspect="1"/>
          </p:cNvPicPr>
          <p:nvPr/>
        </p:nvPicPr>
        <p:blipFill>
          <a:blip r:embed="rId2"/>
          <a:stretch>
            <a:fillRect/>
          </a:stretch>
        </p:blipFill>
        <p:spPr>
          <a:xfrm>
            <a:off x="305891" y="967696"/>
            <a:ext cx="1439147" cy="2767590"/>
          </a:xfrm>
          <a:prstGeom prst="rect">
            <a:avLst/>
          </a:prstGeom>
        </p:spPr>
      </p:pic>
    </p:spTree>
    <p:extLst>
      <p:ext uri="{BB962C8B-B14F-4D97-AF65-F5344CB8AC3E}">
        <p14:creationId xmlns:p14="http://schemas.microsoft.com/office/powerpoint/2010/main" val="2153491599"/>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72BBF-B8CB-4B04-883C-EAE35BBFAAEE}"/>
              </a:ext>
            </a:extLst>
          </p:cNvPr>
          <p:cNvSpPr>
            <a:spLocks noGrp="1"/>
          </p:cNvSpPr>
          <p:nvPr>
            <p:ph type="title"/>
          </p:nvPr>
        </p:nvSpPr>
        <p:spPr>
          <a:xfrm>
            <a:off x="0" y="0"/>
            <a:ext cx="8229600" cy="637794"/>
          </a:xfrm>
        </p:spPr>
        <p:txBody>
          <a:bodyPr/>
          <a:lstStyle/>
          <a:p>
            <a:r>
              <a:rPr lang="en-US" dirty="0"/>
              <a:t>Range of Standard Deviation/ Empirical Formula</a:t>
            </a:r>
          </a:p>
        </p:txBody>
      </p:sp>
      <p:sp>
        <p:nvSpPr>
          <p:cNvPr id="3" name="TextBox 2">
            <a:extLst>
              <a:ext uri="{FF2B5EF4-FFF2-40B4-BE49-F238E27FC236}">
                <a16:creationId xmlns:a16="http://schemas.microsoft.com/office/drawing/2014/main" id="{3DA067BC-3687-477F-9DC3-3BDF694F3DCD}"/>
              </a:ext>
            </a:extLst>
          </p:cNvPr>
          <p:cNvSpPr txBox="1"/>
          <p:nvPr/>
        </p:nvSpPr>
        <p:spPr>
          <a:xfrm>
            <a:off x="0" y="855069"/>
            <a:ext cx="8348262" cy="261610"/>
          </a:xfrm>
          <a:prstGeom prst="rect">
            <a:avLst/>
          </a:prstGeom>
          <a:noFill/>
        </p:spPr>
        <p:txBody>
          <a:bodyPr wrap="square" rtlCol="0">
            <a:spAutoFit/>
          </a:bodyPr>
          <a:lstStyle/>
          <a:p>
            <a:pPr>
              <a:spcBef>
                <a:spcPts val="0"/>
              </a:spcBef>
              <a:spcAft>
                <a:spcPts val="0"/>
              </a:spcAft>
              <a:buClr>
                <a:schemeClr val="bg1"/>
              </a:buClr>
            </a:pPr>
            <a:r>
              <a:rPr lang="en-US" sz="1100" b="0" i="0" dirty="0">
                <a:solidFill>
                  <a:schemeClr val="bg2">
                    <a:lumMod val="50000"/>
                    <a:lumOff val="50000"/>
                  </a:schemeClr>
                </a:solidFill>
                <a:effectLst/>
                <a:latin typeface="Verdana" panose="020B0604030504040204" pitchFamily="34" charset="0"/>
              </a:rPr>
              <a:t>We can expect about 68% of values to be within plus-or-minus 1 standard deviation.</a:t>
            </a:r>
            <a:endParaRPr lang="en-US" sz="1400" dirty="0">
              <a:solidFill>
                <a:schemeClr val="bg2">
                  <a:lumMod val="50000"/>
                  <a:lumOff val="50000"/>
                </a:schemeClr>
              </a:solidFill>
              <a:latin typeface="+mn-lt"/>
            </a:endParaRPr>
          </a:p>
        </p:txBody>
      </p:sp>
      <p:pic>
        <p:nvPicPr>
          <p:cNvPr id="5" name="Picture 4">
            <a:extLst>
              <a:ext uri="{FF2B5EF4-FFF2-40B4-BE49-F238E27FC236}">
                <a16:creationId xmlns:a16="http://schemas.microsoft.com/office/drawing/2014/main" id="{79A5D72F-9407-40CB-B562-4DDFB8CB5986}"/>
              </a:ext>
            </a:extLst>
          </p:cNvPr>
          <p:cNvPicPr>
            <a:picLocks noChangeAspect="1"/>
          </p:cNvPicPr>
          <p:nvPr/>
        </p:nvPicPr>
        <p:blipFill>
          <a:blip r:embed="rId2"/>
          <a:stretch>
            <a:fillRect/>
          </a:stretch>
        </p:blipFill>
        <p:spPr>
          <a:xfrm>
            <a:off x="235035" y="1641788"/>
            <a:ext cx="4748795" cy="2515838"/>
          </a:xfrm>
          <a:prstGeom prst="rect">
            <a:avLst/>
          </a:prstGeom>
        </p:spPr>
      </p:pic>
      <p:sp>
        <p:nvSpPr>
          <p:cNvPr id="6" name="TextBox 5">
            <a:extLst>
              <a:ext uri="{FF2B5EF4-FFF2-40B4-BE49-F238E27FC236}">
                <a16:creationId xmlns:a16="http://schemas.microsoft.com/office/drawing/2014/main" id="{7A1F70E6-13D8-4A77-9FAF-ACD6F5789C79}"/>
              </a:ext>
            </a:extLst>
          </p:cNvPr>
          <p:cNvSpPr txBox="1"/>
          <p:nvPr/>
        </p:nvSpPr>
        <p:spPr>
          <a:xfrm>
            <a:off x="5060612" y="1354894"/>
            <a:ext cx="3925135" cy="3077766"/>
          </a:xfrm>
          <a:prstGeom prst="rect">
            <a:avLst/>
          </a:prstGeom>
          <a:noFill/>
        </p:spPr>
        <p:txBody>
          <a:bodyPr wrap="square" rtlCol="0">
            <a:spAutoFit/>
          </a:bodyPr>
          <a:lstStyle/>
          <a:p>
            <a:pPr>
              <a:spcBef>
                <a:spcPts val="0"/>
              </a:spcBef>
              <a:spcAft>
                <a:spcPts val="0"/>
              </a:spcAft>
              <a:buClr>
                <a:schemeClr val="bg1"/>
              </a:buClr>
            </a:pPr>
            <a:r>
              <a:rPr lang="en-US" sz="1800" dirty="0">
                <a:solidFill>
                  <a:schemeClr val="bg2">
                    <a:lumMod val="50000"/>
                    <a:lumOff val="50000"/>
                  </a:schemeClr>
                </a:solidFill>
                <a:latin typeface="Verdana" panose="020B0604030504040204" pitchFamily="34" charset="0"/>
              </a:rPr>
              <a:t>Following the empirical rule:.</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68% of scores are between 40 and 6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5% of scores are between 30 and 70</a:t>
            </a:r>
          </a:p>
          <a:p>
            <a:pPr>
              <a:spcBef>
                <a:spcPts val="0"/>
              </a:spcBef>
              <a:spcAft>
                <a:spcPts val="0"/>
              </a:spcAft>
              <a:buClr>
                <a:schemeClr val="bg1"/>
              </a:buClr>
            </a:pPr>
            <a:endParaRPr lang="en-US" sz="1800" dirty="0">
              <a:solidFill>
                <a:schemeClr val="bg2">
                  <a:lumMod val="50000"/>
                  <a:lumOff val="50000"/>
                </a:schemeClr>
              </a:solidFill>
              <a:latin typeface="Verdana" panose="020B0604030504040204" pitchFamily="34" charset="0"/>
            </a:endParaRPr>
          </a:p>
          <a:p>
            <a:pPr marL="285750" indent="-285750">
              <a:spcBef>
                <a:spcPts val="0"/>
              </a:spcBef>
              <a:spcAft>
                <a:spcPts val="0"/>
              </a:spcAft>
              <a:buClr>
                <a:schemeClr val="bg1"/>
              </a:buClr>
              <a:buFont typeface="Wingdings" panose="05000000000000000000" pitchFamily="2" charset="2"/>
              <a:buChar char="q"/>
            </a:pPr>
            <a:r>
              <a:rPr lang="en-US" sz="1800" dirty="0">
                <a:solidFill>
                  <a:schemeClr val="bg2">
                    <a:lumMod val="50000"/>
                    <a:lumOff val="50000"/>
                  </a:schemeClr>
                </a:solidFill>
                <a:latin typeface="Verdana" panose="020B0604030504040204" pitchFamily="34" charset="0"/>
              </a:rPr>
              <a:t>Around 99.7% of scores are between 20 and 80.</a:t>
            </a:r>
          </a:p>
          <a:p>
            <a:pPr>
              <a:spcBef>
                <a:spcPts val="0"/>
              </a:spcBef>
              <a:spcAft>
                <a:spcPts val="0"/>
              </a:spcAft>
              <a:buClr>
                <a:schemeClr val="bg1"/>
              </a:buClr>
            </a:pPr>
            <a:endParaRPr lang="en-US" sz="1400" dirty="0" err="1">
              <a:solidFill>
                <a:schemeClr val="bg2"/>
              </a:solidFill>
              <a:latin typeface="+mn-lt"/>
            </a:endParaRPr>
          </a:p>
        </p:txBody>
      </p:sp>
    </p:spTree>
    <p:extLst>
      <p:ext uri="{BB962C8B-B14F-4D97-AF65-F5344CB8AC3E}">
        <p14:creationId xmlns:p14="http://schemas.microsoft.com/office/powerpoint/2010/main" val="3825623888"/>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421</TotalTime>
  <Words>9077</Words>
  <Application>Microsoft Office PowerPoint</Application>
  <PresentationFormat>On-screen Show (16:9)</PresentationFormat>
  <Paragraphs>954</Paragraphs>
  <Slides>154</Slides>
  <Notes>7</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154</vt:i4>
      </vt:variant>
    </vt:vector>
  </HeadingPairs>
  <TitlesOfParts>
    <vt:vector size="172" baseType="lpstr">
      <vt:lpstr>champ</vt:lpstr>
      <vt:lpstr>inherit</vt:lpstr>
      <vt:lpstr>Inter</vt:lpstr>
      <vt:lpstr>Museo For Dell 300</vt:lpstr>
      <vt:lpstr>museo sans for dell</vt:lpstr>
      <vt:lpstr>museo sans for dell</vt:lpstr>
      <vt:lpstr>Arial</vt:lpstr>
      <vt:lpstr>Arial Black</vt:lpstr>
      <vt:lpstr>Calibri</vt:lpstr>
      <vt:lpstr>Courier New</vt:lpstr>
      <vt:lpstr>Lato</vt:lpstr>
      <vt:lpstr>Open Sans</vt:lpstr>
      <vt:lpstr>pt sans</vt:lpstr>
      <vt:lpstr>Raleway</vt:lpstr>
      <vt:lpstr>Verdana</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lpstr>Types of Statistical Studies</vt:lpstr>
      <vt:lpstr>Understanding Observational Study &amp; Experiment              With an Example</vt:lpstr>
      <vt:lpstr>Understanding Observational Study &amp; Experiment              With an Example</vt:lpstr>
      <vt:lpstr>Understanding Observational Study &amp; Experiment              With an Example</vt:lpstr>
      <vt:lpstr>Control Experiment – drug test example</vt:lpstr>
      <vt:lpstr>Controlled Experiment</vt:lpstr>
      <vt:lpstr>Correlation and Causation</vt:lpstr>
      <vt:lpstr>Confounding Variable</vt:lpstr>
      <vt:lpstr>Confounding variable – another example</vt:lpstr>
      <vt:lpstr>What is hypothesis ? </vt:lpstr>
      <vt:lpstr>Blinding</vt:lpstr>
      <vt:lpstr>Double Blinding</vt:lpstr>
      <vt:lpstr>Why blinding is important in Statistics?</vt:lpstr>
      <vt:lpstr>Describing Data through Statistics   </vt:lpstr>
      <vt:lpstr>Measure of   Central Tendency   </vt:lpstr>
      <vt:lpstr>Finding Central Value</vt:lpstr>
      <vt:lpstr>Measure of Central Tendency</vt:lpstr>
      <vt:lpstr>Ready ??????????????</vt:lpstr>
      <vt:lpstr>Mean </vt:lpstr>
      <vt:lpstr>Median</vt:lpstr>
      <vt:lpstr>Median – Two middle numbers</vt:lpstr>
      <vt:lpstr>Mode</vt:lpstr>
      <vt:lpstr>Mode</vt:lpstr>
      <vt:lpstr>Grouping</vt:lpstr>
      <vt:lpstr>Grouping another example</vt:lpstr>
      <vt:lpstr>Outlier </vt:lpstr>
      <vt:lpstr>Outlier - continued</vt:lpstr>
      <vt:lpstr>Mean – Continued Different types of Mean</vt:lpstr>
      <vt:lpstr>Geometric Mean</vt:lpstr>
      <vt:lpstr>Harmonic Mean</vt:lpstr>
      <vt:lpstr>Harmonic Mean - Continued</vt:lpstr>
      <vt:lpstr>Harmonic Mean</vt:lpstr>
      <vt:lpstr>Conclusion : Mean, Median, Mode</vt:lpstr>
      <vt:lpstr>The Mean from a Frequency Table</vt:lpstr>
      <vt:lpstr>The Mean from a Frequency Table - Continued</vt:lpstr>
      <vt:lpstr>Another example of Mean from a Freq Table</vt:lpstr>
      <vt:lpstr>Weighted Mean</vt:lpstr>
      <vt:lpstr>Weighted Mean</vt:lpstr>
      <vt:lpstr>Weighted Mean – Example </vt:lpstr>
      <vt:lpstr>What if the weights don’t add to 1 ?</vt:lpstr>
      <vt:lpstr>What if the weights don’t add to 1 ?</vt:lpstr>
      <vt:lpstr>What if the weights don’t add to 1 ?</vt:lpstr>
      <vt:lpstr>What if the weights don’t add to 1 ?</vt:lpstr>
      <vt:lpstr>Weighted Mean : Summary</vt:lpstr>
      <vt:lpstr>Measure of   Variability   </vt:lpstr>
      <vt:lpstr>Measure of Variability </vt:lpstr>
      <vt:lpstr>Why does variability matters? </vt:lpstr>
      <vt:lpstr>Range</vt:lpstr>
      <vt:lpstr>Range can be misleading</vt:lpstr>
      <vt:lpstr>Quartiles</vt:lpstr>
      <vt:lpstr>Quartile</vt:lpstr>
      <vt:lpstr>Quartile</vt:lpstr>
      <vt:lpstr>How to find Q1, Q2, Q3 ? lets do a small example to get the understanding </vt:lpstr>
      <vt:lpstr>Interquartile Range</vt:lpstr>
      <vt:lpstr>Interquartile Range</vt:lpstr>
      <vt:lpstr>Interquartile Range</vt:lpstr>
      <vt:lpstr>Worksheet</vt:lpstr>
      <vt:lpstr>Box and Whiskers Plot</vt:lpstr>
      <vt:lpstr>Putting it all together – Quartiles &amp; Box and Whisker Plot</vt:lpstr>
      <vt:lpstr>Quartile – Five-number summary</vt:lpstr>
      <vt:lpstr>Mean Deviation</vt:lpstr>
      <vt:lpstr>Mean Deviation</vt:lpstr>
      <vt:lpstr>Mean Deviation</vt:lpstr>
      <vt:lpstr>Mean Deviation - Formula</vt:lpstr>
      <vt:lpstr>Mean Deviation – Real life example </vt:lpstr>
      <vt:lpstr>Mean Deviation – Ex continued</vt:lpstr>
      <vt:lpstr>Mean Deviation – A useful check</vt:lpstr>
      <vt:lpstr>Mean Deviation – A useful check</vt:lpstr>
      <vt:lpstr>Standard Deviation</vt:lpstr>
      <vt:lpstr>Variance - Ex</vt:lpstr>
      <vt:lpstr>Variance – Ex continued</vt:lpstr>
      <vt:lpstr>Standard Deviation </vt:lpstr>
      <vt:lpstr>Another Example – Standard Deviation </vt:lpstr>
      <vt:lpstr>Standard Deviation – Population &amp; Sample</vt:lpstr>
      <vt:lpstr>Standard Deviation - Formula</vt:lpstr>
      <vt:lpstr>Why Square the difference ? </vt:lpstr>
      <vt:lpstr>Why Square the difference ? - Continued </vt:lpstr>
      <vt:lpstr>Range of Standard Deviation/ Empirical Formula</vt:lpstr>
      <vt:lpstr>Coefficient of Variance (CV)</vt:lpstr>
      <vt:lpstr>Example :   The CV is particularly useful when you want to compare results from two different surveys or tests that have different measures or values. For example, if you are comparing the results from two tests that have different scoring mechanisms. </vt:lpstr>
      <vt:lpstr>Standard deviation - Example</vt:lpstr>
      <vt:lpstr>Standard Scores – Z score</vt:lpstr>
      <vt:lpstr>Standard Scores – Z score</vt:lpstr>
      <vt:lpstr>Histograms</vt:lpstr>
      <vt:lpstr>Histograms</vt:lpstr>
      <vt:lpstr>Difference between Bar chart and Histogram? </vt:lpstr>
      <vt:lpstr>Frequency Histogram</vt:lpstr>
      <vt:lpstr>Normal Distribution</vt:lpstr>
      <vt:lpstr>Normal Distribution - Continued</vt:lpstr>
      <vt:lpstr>Correlation</vt:lpstr>
      <vt:lpstr>Correlation - continued</vt:lpstr>
      <vt:lpstr>Correlation is NOT Causation</vt:lpstr>
      <vt:lpstr>Correlation is NOT Causation</vt:lpstr>
      <vt:lpstr>Correlation is NOT Causation – A real case</vt:lpstr>
      <vt:lpstr>Skewness</vt:lpstr>
      <vt:lpstr>Skewness</vt:lpstr>
      <vt:lpstr>Kurtosis</vt:lpstr>
      <vt:lpstr>Kurtosis - Leptokurtic (kurtosis &gt; 3)</vt:lpstr>
      <vt:lpstr>Kurtosis - Platykurtic (kurtosis &lt; 3)</vt:lpstr>
      <vt:lpstr>Kurtosis - Mesokurtic (kurtosis = 3)</vt:lpstr>
      <vt:lpstr>Skewness - Summary</vt:lpstr>
      <vt:lpstr>Central Limit Theorem</vt:lpstr>
      <vt:lpstr>Central Limit Theorem</vt:lpstr>
      <vt:lpstr>Central Limit Theorem</vt:lpstr>
      <vt:lpstr>Central Limit Theorem</vt:lpstr>
      <vt:lpstr>Central Limit Theorem</vt:lpstr>
      <vt:lpstr>Why CLT is important ? </vt:lpstr>
      <vt:lpstr>Probability</vt:lpstr>
      <vt:lpstr>Probability</vt:lpstr>
      <vt:lpstr>Probability Example</vt:lpstr>
      <vt:lpstr>Probability Line</vt:lpstr>
      <vt:lpstr>Probability - Words</vt:lpstr>
      <vt:lpstr>Probability - Words</vt:lpstr>
      <vt:lpstr>Probability - Words</vt:lpstr>
      <vt:lpstr>Probability - Words</vt:lpstr>
      <vt:lpstr>Probability - Words</vt:lpstr>
      <vt:lpstr>Probability – Let’s use the words</vt:lpstr>
      <vt:lpstr>Basic Counting Principle</vt:lpstr>
      <vt:lpstr>Basic Counting Principle</vt:lpstr>
      <vt:lpstr>Basic Counting Principle – Ex continued</vt:lpstr>
      <vt:lpstr>Independent or Dependent </vt:lpstr>
      <vt:lpstr>Independent or Dependent – Ex continued </vt:lpstr>
      <vt:lpstr>Mutually Exclusive Events</vt:lpstr>
      <vt:lpstr>Mutually Exclusive Events</vt:lpstr>
      <vt:lpstr>Mutually Exclusive Events</vt:lpstr>
      <vt:lpstr>Mutually Exclusive Events</vt:lpstr>
      <vt:lpstr>Mutually exclusive events</vt:lpstr>
      <vt:lpstr>When events are not Mutually exclusive – be careful in calculation !! </vt:lpstr>
      <vt:lpstr>When events are not Mutually exclusive – be careful in calculation !!</vt:lpstr>
      <vt:lpstr>Confusion Matrix</vt:lpstr>
      <vt:lpstr>Confusion Matrix</vt:lpstr>
      <vt:lpstr>Confusion Matrix</vt:lpstr>
      <vt:lpstr>Example : Allergy or Not ? </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481</cp:revision>
  <dcterms:created xsi:type="dcterms:W3CDTF">2016-10-16T11:20:54Z</dcterms:created>
  <dcterms:modified xsi:type="dcterms:W3CDTF">2022-02-12T16:0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